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5.xml" ContentType="application/vnd.openxmlformats-officedocument.presentationml.tags+xml"/>
  <Override PartName="/ppt/notesSlides/notesSlide6.xml" ContentType="application/vnd.openxmlformats-officedocument.presentationml.notesSlide+xml"/>
  <Override PartName="/ppt/tags/tag76.xml" ContentType="application/vnd.openxmlformats-officedocument.presentationml.tags+xml"/>
  <Override PartName="/ppt/notesSlides/notesSlide7.xml" ContentType="application/vnd.openxmlformats-officedocument.presentationml.notesSlide+xml"/>
  <Override PartName="/ppt/tags/tag77.xml" ContentType="application/vnd.openxmlformats-officedocument.presentationml.tags+xml"/>
  <Override PartName="/ppt/notesSlides/notesSlide8.xml" ContentType="application/vnd.openxmlformats-officedocument.presentationml.notesSlide+xml"/>
  <Override PartName="/ppt/tags/tag7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9.xml" ContentType="application/vnd.openxmlformats-officedocument.presentationml.tags+xml"/>
  <Override PartName="/ppt/notesSlides/notesSlide13.xml" ContentType="application/vnd.openxmlformats-officedocument.presentationml.notesSlide+xml"/>
  <Override PartName="/ppt/tags/tag80.xml" ContentType="application/vnd.openxmlformats-officedocument.presentationml.tags+xml"/>
  <Override PartName="/ppt/notesSlides/notesSlide14.xml" ContentType="application/vnd.openxmlformats-officedocument.presentationml.notesSlide+xml"/>
  <Override PartName="/ppt/tags/tag81.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2"/>
  </p:notesMasterIdLst>
  <p:sldIdLst>
    <p:sldId id="2147475647" r:id="rId5"/>
    <p:sldId id="2147475819" r:id="rId6"/>
    <p:sldId id="2147475710" r:id="rId7"/>
    <p:sldId id="314" r:id="rId8"/>
    <p:sldId id="2147475719" r:id="rId9"/>
    <p:sldId id="2147475654" r:id="rId10"/>
    <p:sldId id="2147475713" r:id="rId11"/>
    <p:sldId id="6342" r:id="rId12"/>
    <p:sldId id="4186" r:id="rId13"/>
    <p:sldId id="2147475716" r:id="rId14"/>
    <p:sldId id="2147475649" r:id="rId15"/>
    <p:sldId id="2147475718" r:id="rId16"/>
    <p:sldId id="4400" r:id="rId17"/>
    <p:sldId id="4193" r:id="rId18"/>
    <p:sldId id="2147475712" r:id="rId19"/>
    <p:sldId id="2147475820" r:id="rId20"/>
    <p:sldId id="2147475717"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483D701-9781-3C41-5B89-73D86382B0C7}" name="Kayla Carey" initials="KC" userId="S::kcarey@climeco.com::e1c9ea17-7c07-4e46-a847-8e476963917b" providerId="AD"/>
  <p188:author id="{450E8D0D-0521-1E5C-161A-78653F3BE080}" name="Tori Rocha" initials="TR" userId="Tori Rocha" providerId="None"/>
  <p188:author id="{0F3FA51A-71F6-8B79-973F-6A0B8DD98096}" name="Antoine Kunsch" initials="AK" userId="S::akunsch@climeco.com::802494e5-ba5a-4c71-bb52-03f530584e3e" providerId="AD"/>
  <p188:author id="{152A7B2F-F225-743C-0C75-36820E5604E3}" name="Caroline Kelleher" initials="CK" userId="S::ckelleher@climeco.com::b6f47b27-409c-4c82-aebb-083f312359d1" providerId="AD"/>
  <p188:author id="{A32D0556-052A-824D-C3AA-9A19055095FD}" name="Susana Abraham" initials="SA" userId="S::sabraham@climeco.com::3a2bed91-d321-4f22-9a3e-df051395438c" providerId="AD"/>
  <p188:author id="{B8C75D59-3038-F19D-C7C1-57F390B2EEC5}" name="Kamayani Barshilia" initials="KB" userId="S::kbarshilia@climeco.com::ede7fcd1-fe00-4815-a706-f154a7462fa1" providerId="AD"/>
  <p188:author id="{4B007566-D6D3-44A0-BF3B-98C07B44BAB9}" name="Amanda Mast" initials="AM" userId="S::amast@climeco.com::ea2602af-55f2-4944-9cfe-e4e05195c459" providerId="AD"/>
  <p188:author id="{ADE97881-9E93-C972-6AE0-E89601356ACB}" name="Rosemary O'Brien" initials="RO" userId="S::robrien@climeco.com::c14aaf5c-a8bd-45ed-b53b-4bea6e38e79b" providerId="AD"/>
  <p188:author id="{0B8E6194-C05F-48A6-5820-CAF99D1662EF}" name="Wilson Fong" initials="WF" userId="S::wfong@climeco.com::3e2aab36-d1d9-4287-8c05-19a7c042c7b2" providerId="AD"/>
  <p188:author id="{65EB5DAF-8E22-CD22-E39B-2369B1A536BD}" name="Braeden Larson" initials="BL" userId="S::blarson@climeco.com::2a7eccef-307b-4006-8407-ab1a15b3e67b" providerId="AD"/>
  <p188:author id="{58F732B5-22AC-96E4-CF9F-5D8BC7DA838E}" name="Pranjal Malu" initials="PM" userId="S::pmalu@climeco.com::53fff232-383a-434d-9fe0-e8b6173bfbeb" providerId="AD"/>
  <p188:author id="{4C03A4B6-75AD-B2F8-CA14-4D57350E5207}" name="Cheyenne Vance" initials="CV" userId="S::cvance@climeco.com::5b1e6336-4d44-437b-9b12-2b6de50af809" providerId="AD"/>
  <p188:author id="{E170CBBF-AEDC-D89F-C684-79D32DD04104}" name="Jacob Wills" initials="JW" userId="S::jwills@climeco.com::051774d4-2423-4358-9875-81c954ed9951" providerId="AD"/>
  <p188:author id="{6C9E67DA-91E0-C1E2-60C8-2EACF015E847}" name="Emma Cox" initials="" userId="S::ecox@climeco.com::46876b78-daf2-4f0a-b2c8-dacf6e880933" providerId="AD"/>
  <p188:author id="{491BF7EE-AF64-7613-49E3-A2398D36BFAD}" name="Noah Godfrey" initials="NG" userId="S::ngodfrey@climeco.com::2b0bcc71-1c49-47fe-9dd9-5c28d5b459f1" providerId="AD"/>
  <p188:author id="{5D1BA0F6-3017-550F-2466-E5C54B2764A8}" name="David Prieto" initials="DP" userId="S::dprieto@climeco.com::bfe30d9a-3282-4da5-b2d4-2dac3e1d5d69" providerId="AD"/>
  <p188:author id="{5DC333FE-0353-BADD-C7D0-5903EB136258}" name="Garrett Keraga" initials="GK" userId="S::gkeraga@climeco.com::58ad1021-f610-48f1-93a6-9523225e925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D1F6"/>
    <a:srgbClr val="CCF072"/>
    <a:srgbClr val="CDFFCD"/>
    <a:srgbClr val="E7FFE7"/>
    <a:srgbClr val="FF6600"/>
    <a:srgbClr val="FF9933"/>
    <a:srgbClr val="FFCC66"/>
    <a:srgbClr val="DFB014"/>
    <a:srgbClr val="CCA012"/>
    <a:srgbClr val="0076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079" autoAdjust="0"/>
  </p:normalViewPr>
  <p:slideViewPr>
    <p:cSldViewPr snapToGrid="0">
      <p:cViewPr varScale="1">
        <p:scale>
          <a:sx n="82" d="100"/>
          <a:sy n="82" d="100"/>
        </p:scale>
        <p:origin x="148"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Townsend" userId="afc4c6f2-969c-4b9c-8d71-7694020d9f08" providerId="ADAL" clId="{2C65D562-6594-4082-A690-68172465D20B}"/>
    <pc:docChg chg="delSld">
      <pc:chgData name="David Townsend" userId="afc4c6f2-969c-4b9c-8d71-7694020d9f08" providerId="ADAL" clId="{2C65D562-6594-4082-A690-68172465D20B}" dt="2025-11-05T20:49:14.886" v="0" actId="47"/>
      <pc:docMkLst>
        <pc:docMk/>
      </pc:docMkLst>
      <pc:sldChg chg="del">
        <pc:chgData name="David Townsend" userId="afc4c6f2-969c-4b9c-8d71-7694020d9f08" providerId="ADAL" clId="{2C65D562-6594-4082-A690-68172465D20B}" dt="2025-11-05T20:49:14.886" v="0" actId="47"/>
        <pc:sldMkLst>
          <pc:docMk/>
          <pc:sldMk cId="0" sldId="256"/>
        </pc:sldMkLst>
      </pc:sldChg>
      <pc:sldChg chg="del">
        <pc:chgData name="David Townsend" userId="afc4c6f2-969c-4b9c-8d71-7694020d9f08" providerId="ADAL" clId="{2C65D562-6594-4082-A690-68172465D20B}" dt="2025-11-05T20:49:14.886" v="0" actId="47"/>
        <pc:sldMkLst>
          <pc:docMk/>
          <pc:sldMk cId="0" sldId="285"/>
        </pc:sldMkLst>
      </pc:sldChg>
      <pc:sldChg chg="del">
        <pc:chgData name="David Townsend" userId="afc4c6f2-969c-4b9c-8d71-7694020d9f08" providerId="ADAL" clId="{2C65D562-6594-4082-A690-68172465D20B}" dt="2025-11-05T20:49:14.886" v="0" actId="47"/>
        <pc:sldMkLst>
          <pc:docMk/>
          <pc:sldMk cId="0" sldId="286"/>
        </pc:sldMkLst>
      </pc:sldChg>
      <pc:sldChg chg="del">
        <pc:chgData name="David Townsend" userId="afc4c6f2-969c-4b9c-8d71-7694020d9f08" providerId="ADAL" clId="{2C65D562-6594-4082-A690-68172465D20B}" dt="2025-11-05T20:49:14.886" v="0" actId="47"/>
        <pc:sldMkLst>
          <pc:docMk/>
          <pc:sldMk cId="0" sldId="288"/>
        </pc:sldMkLst>
      </pc:sldChg>
      <pc:sldMasterChg chg="delSldLayout">
        <pc:chgData name="David Townsend" userId="afc4c6f2-969c-4b9c-8d71-7694020d9f08" providerId="ADAL" clId="{2C65D562-6594-4082-A690-68172465D20B}" dt="2025-11-05T20:49:14.886" v="0" actId="47"/>
        <pc:sldMasterMkLst>
          <pc:docMk/>
          <pc:sldMasterMk cId="3867777965" sldId="2147483660"/>
        </pc:sldMasterMkLst>
        <pc:sldLayoutChg chg="del">
          <pc:chgData name="David Townsend" userId="afc4c6f2-969c-4b9c-8d71-7694020d9f08" providerId="ADAL" clId="{2C65D562-6594-4082-A690-68172465D20B}" dt="2025-11-05T20:49:14.886" v="0" actId="47"/>
          <pc:sldLayoutMkLst>
            <pc:docMk/>
            <pc:sldMasterMk cId="3867777965" sldId="2147483660"/>
            <pc:sldLayoutMk cId="2658244750" sldId="214748398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EA234C-620D-4CD5-A496-6174C864E5DF}" type="datetimeFigureOut">
              <a:rPr lang="en-CA" smtClean="0"/>
              <a:t>2025-11-05</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0F826C-E993-491B-BAC1-BFA8F105FA99}" type="slidenum">
              <a:rPr lang="en-CA" smtClean="0"/>
              <a:t>‹#›</a:t>
            </a:fld>
            <a:endParaRPr lang="en-CA" dirty="0"/>
          </a:p>
        </p:txBody>
      </p:sp>
    </p:spTree>
    <p:extLst>
      <p:ext uri="{BB962C8B-B14F-4D97-AF65-F5344CB8AC3E}">
        <p14:creationId xmlns:p14="http://schemas.microsoft.com/office/powerpoint/2010/main" val="24125213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2.arb.ca.gov/our-work/programs/corporate-ghg-reporting/resourc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Alice, for inviting us to speak. </a:t>
            </a:r>
          </a:p>
          <a:p>
            <a:r>
              <a:rPr lang="en-US" dirty="0"/>
              <a:t>we’ll covering some best practices we’re seeing on California climate disclosures as companies are getting ready for 2026 deadlines.</a:t>
            </a:r>
          </a:p>
        </p:txBody>
      </p:sp>
      <p:sp>
        <p:nvSpPr>
          <p:cNvPr id="4" name="Slide Number Placeholder 3"/>
          <p:cNvSpPr>
            <a:spLocks noGrp="1"/>
          </p:cNvSpPr>
          <p:nvPr>
            <p:ph type="sldNum" sz="quarter" idx="5"/>
          </p:nvPr>
        </p:nvSpPr>
        <p:spPr/>
        <p:txBody>
          <a:bodyPr/>
          <a:lstStyle/>
          <a:p>
            <a:fld id="{040F826C-E993-491B-BAC1-BFA8F105FA99}" type="slidenum">
              <a:rPr lang="en-CA" smtClean="0"/>
              <a:t>1</a:t>
            </a:fld>
            <a:endParaRPr lang="en-CA" dirty="0"/>
          </a:p>
        </p:txBody>
      </p:sp>
    </p:spTree>
    <p:extLst>
      <p:ext uri="{BB962C8B-B14F-4D97-AF65-F5344CB8AC3E}">
        <p14:creationId xmlns:p14="http://schemas.microsoft.com/office/powerpoint/2010/main" val="33632143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ilson: For the firms who are reporting risks or emissions for the first time, the requirements can be daunting. What is the minimum we have to do in year 1?</a:t>
            </a:r>
          </a:p>
          <a:p>
            <a:r>
              <a:rPr lang="en-CA" dirty="0"/>
              <a:t> </a:t>
            </a:r>
          </a:p>
          <a:p>
            <a:r>
              <a:rPr lang="en-CA" dirty="0"/>
              <a:t>Amanda: </a:t>
            </a:r>
          </a:p>
          <a:p>
            <a:r>
              <a:rPr lang="en-CA" dirty="0"/>
              <a:t>Fortunately for many firms who are new to these disclosures, CARB has already made statements that they will “exercise their enforcement discretion for companies that show a “good faith effort” to comply with the law. </a:t>
            </a:r>
          </a:p>
          <a:p>
            <a:endParaRPr lang="en-CA" dirty="0"/>
          </a:p>
          <a:p>
            <a:r>
              <a:rPr lang="en-CA" dirty="0"/>
              <a:t>I always recommend clients discuss with their legal teams, what “good faith” could mean for them; However, these statements from CARB indicate some flexibility for firms in year 1 </a:t>
            </a:r>
          </a:p>
          <a:p>
            <a:endParaRPr lang="en-CA" dirty="0"/>
          </a:p>
          <a:p>
            <a:r>
              <a:rPr lang="en-CA" dirty="0"/>
              <a:t>and some acknowledgement that good risks management, good emissions accounting takes time to build.</a:t>
            </a:r>
          </a:p>
        </p:txBody>
      </p:sp>
      <p:sp>
        <p:nvSpPr>
          <p:cNvPr id="4" name="Slide Number Placeholder 3"/>
          <p:cNvSpPr>
            <a:spLocks noGrp="1"/>
          </p:cNvSpPr>
          <p:nvPr>
            <p:ph type="sldNum" sz="quarter" idx="5"/>
          </p:nvPr>
        </p:nvSpPr>
        <p:spPr/>
        <p:txBody>
          <a:bodyPr/>
          <a:lstStyle/>
          <a:p>
            <a:fld id="{040F826C-E993-491B-BAC1-BFA8F105FA99}" type="slidenum">
              <a:rPr lang="en-CA" smtClean="0"/>
              <a:t>10</a:t>
            </a:fld>
            <a:endParaRPr lang="en-CA" dirty="0"/>
          </a:p>
        </p:txBody>
      </p:sp>
    </p:spTree>
    <p:extLst>
      <p:ext uri="{BB962C8B-B14F-4D97-AF65-F5344CB8AC3E}">
        <p14:creationId xmlns:p14="http://schemas.microsoft.com/office/powerpoint/2010/main" val="79631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CA" dirty="0"/>
              <a:t>Wilson: A lot of our partners represent the north American branches of global organizations with operations in Europe and Asia. They often ask us for help navigating and aligning global disclosures when this is just one of many reports required?  I am seeing overlap, How can we harmonize these requirements?</a:t>
            </a:r>
          </a:p>
          <a:p>
            <a:endParaRPr lang="en-CA" dirty="0"/>
          </a:p>
          <a:p>
            <a:r>
              <a:rPr lang="en-CA" dirty="0"/>
              <a:t>Amanda: </a:t>
            </a:r>
          </a:p>
          <a:p>
            <a:r>
              <a:rPr lang="en-CA" dirty="0"/>
              <a:t>these companies can save money and effort on disclosure, bc there is a lot of overlap across standards. </a:t>
            </a:r>
          </a:p>
          <a:p>
            <a:r>
              <a:rPr lang="en-CA" dirty="0"/>
              <a:t>Some of these firms had a head start from content developed for CSRD which we could use and build on, </a:t>
            </a:r>
          </a:p>
          <a:p>
            <a:r>
              <a:rPr lang="en-CA" dirty="0"/>
              <a:t>Through gathering information globally our Point of contact were able to identify helpful partners  across different functions from risks management, legal, and marketing or comms.</a:t>
            </a:r>
          </a:p>
          <a:p>
            <a:r>
              <a:rPr lang="en-CA" dirty="0"/>
              <a:t>We helped engage those partners throughout the reporting process, educating them on requirements and approach.</a:t>
            </a:r>
          </a:p>
          <a:p>
            <a:r>
              <a:rPr lang="en-CA" dirty="0"/>
              <a:t>Because, we’d engaged them early, and create alignment, we’ve been able to simplify report reviews and avoid last-minute surprises</a:t>
            </a:r>
          </a:p>
          <a:p>
            <a:endParaRPr lang="en-CA" dirty="0"/>
          </a:p>
          <a:p>
            <a:r>
              <a:rPr lang="en-CA" dirty="0"/>
              <a:t>Coordinating a global committee even for California requirements is a best practices – so you can leverage and align global reporting efforts</a:t>
            </a:r>
          </a:p>
          <a:p>
            <a:endParaRPr lang="en-CA" dirty="0"/>
          </a:p>
          <a:p>
            <a:endParaRPr lang="en-CA" dirty="0"/>
          </a:p>
        </p:txBody>
      </p:sp>
      <p:sp>
        <p:nvSpPr>
          <p:cNvPr id="4" name="Slide Number Placeholder 3"/>
          <p:cNvSpPr>
            <a:spLocks noGrp="1"/>
          </p:cNvSpPr>
          <p:nvPr>
            <p:ph type="sldNum" sz="quarter" idx="5"/>
          </p:nvPr>
        </p:nvSpPr>
        <p:spPr/>
        <p:txBody>
          <a:bodyPr/>
          <a:lstStyle/>
          <a:p>
            <a:fld id="{1929CE55-482A-45FF-8168-795C8E903FED}" type="slidenum">
              <a:rPr lang="en-US" smtClean="0"/>
              <a:t>11</a:t>
            </a:fld>
            <a:endParaRPr lang="en-US" dirty="0"/>
          </a:p>
        </p:txBody>
      </p:sp>
    </p:spTree>
    <p:extLst>
      <p:ext uri="{BB962C8B-B14F-4D97-AF65-F5344CB8AC3E}">
        <p14:creationId xmlns:p14="http://schemas.microsoft.com/office/powerpoint/2010/main" val="16574728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son: Even for our clients who’ve been pursuing footprinting for a while, the verification portion of the requirements can seem daunting. What’s the best way to ensure a footprint is ready for verification?</a:t>
            </a:r>
          </a:p>
          <a:p>
            <a:endParaRPr lang="en-US" dirty="0"/>
          </a:p>
          <a:p>
            <a:r>
              <a:rPr lang="en-US" dirty="0"/>
              <a:t>Amanda: Run a pilot. There’s so much variation depending on the assurance provider – whether they are an accounting firm or an environmental consulting firm. The clients I think are most prepared are ones who have already gone through the process at least once with their verification partner.</a:t>
            </a:r>
          </a:p>
          <a:p>
            <a:r>
              <a:rPr lang="en-US" dirty="0"/>
              <a:t>These are the ones who know the steps and that their data collection and results can stand up to scrutiny.</a:t>
            </a:r>
          </a:p>
          <a:p>
            <a:endParaRPr lang="en-US" dirty="0"/>
          </a:p>
          <a:p>
            <a:r>
              <a:rPr lang="en-US" dirty="0"/>
              <a:t>I’ll ask the last question:</a:t>
            </a:r>
          </a:p>
          <a:p>
            <a:endParaRPr lang="en-US" dirty="0"/>
          </a:p>
        </p:txBody>
      </p:sp>
      <p:sp>
        <p:nvSpPr>
          <p:cNvPr id="4" name="Slide Number Placeholder 3"/>
          <p:cNvSpPr>
            <a:spLocks noGrp="1"/>
          </p:cNvSpPr>
          <p:nvPr>
            <p:ph type="sldNum" sz="quarter" idx="5"/>
          </p:nvPr>
        </p:nvSpPr>
        <p:spPr/>
        <p:txBody>
          <a:bodyPr/>
          <a:lstStyle/>
          <a:p>
            <a:fld id="{040F826C-E993-491B-BAC1-BFA8F105FA99}" type="slidenum">
              <a:rPr lang="en-CA" smtClean="0"/>
              <a:t>12</a:t>
            </a:fld>
            <a:endParaRPr lang="en-CA" dirty="0"/>
          </a:p>
        </p:txBody>
      </p:sp>
    </p:spTree>
    <p:extLst>
      <p:ext uri="{BB962C8B-B14F-4D97-AF65-F5344CB8AC3E}">
        <p14:creationId xmlns:p14="http://schemas.microsoft.com/office/powerpoint/2010/main" val="2521602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EA77A-9F2D-0BE3-ED59-ECB2D6BD5B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D3612C-501E-A49F-CB74-C4FC072B669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8B8CC470-651B-E633-409C-A75A78539F41}"/>
              </a:ext>
            </a:extLst>
          </p:cNvPr>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CA" b="0" dirty="0"/>
              <a:t>Amanda:  Some firms are facing California’s requirements with fewer preparations than they would have liked.</a:t>
            </a:r>
          </a:p>
          <a:p>
            <a:pPr marL="0" marR="0" lvl="0" indent="0" defTabSz="914400" eaLnBrk="1" fontAlgn="auto" latinLnBrk="0" hangingPunct="1">
              <a:lnSpc>
                <a:spcPct val="100000"/>
              </a:lnSpc>
              <a:spcBef>
                <a:spcPts val="0"/>
              </a:spcBef>
              <a:spcAft>
                <a:spcPts val="0"/>
              </a:spcAft>
              <a:buClrTx/>
              <a:buSzTx/>
              <a:buFontTx/>
              <a:buNone/>
              <a:tabLst/>
              <a:defRPr/>
            </a:pPr>
            <a:r>
              <a:rPr lang="en-CA" b="0" dirty="0"/>
              <a:t>One of the questions we get asked often is what’s coming next so we don’t get surprised again?</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Wilson: Existing mandates- flagging regions it may be helpful to coordinate with</a:t>
            </a:r>
          </a:p>
          <a:p>
            <a:pPr marL="0" marR="0" lvl="0" indent="0" defTabSz="914400" eaLnBrk="1" fontAlgn="auto" latinLnBrk="0" hangingPunct="1">
              <a:lnSpc>
                <a:spcPct val="100000"/>
              </a:lnSpc>
              <a:spcBef>
                <a:spcPts val="0"/>
              </a:spcBef>
              <a:spcAft>
                <a:spcPts val="0"/>
              </a:spcAft>
              <a:buClrTx/>
              <a:buSzTx/>
              <a:buFontTx/>
              <a:buNone/>
              <a:tabLst/>
              <a:defRPr/>
            </a:pPr>
            <a:r>
              <a:rPr lang="en-CA" b="0" dirty="0"/>
              <a:t>Potential mandates to monitor going forward – (including various US states)</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US" b="0" dirty="0"/>
              <a:t>Across the world, we’re seeing real momentum. Ten jurisdictions highlighted in blue here already require some sort of climate-related disclosure, with thresholds often tied to the size of the company or its geographic footprint.</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US" b="0" dirty="0"/>
              <a:t>And this momentum is accelerating. The areas shown in green highlight places where new disclosure rules are in development or under consideration. To note, this map would be filled in even further had we considered sustainability-related disclosures broadly, Bill C-59 in Canada, for example. To wrap this up, there is a growing patchwork of pressure for climate disclosure, and regulatory expectations are broadly aligned and may pull you in based on your supply and value chains. Emphasizing the significance of this webinar and why we need to be on top of climate-related disclosures and ready for the next wave of change. </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End final point &gt; with that I will hand it back to Amanda to provide some important questions we should all be asking ourselves]</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California</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SB 261 </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Australia</a:t>
            </a:r>
          </a:p>
          <a:p>
            <a:pPr marL="0" marR="0" lvl="0" indent="0" defTabSz="914400" eaLnBrk="1" fontAlgn="auto" latinLnBrk="0" hangingPunct="1">
              <a:lnSpc>
                <a:spcPct val="100000"/>
              </a:lnSpc>
              <a:spcBef>
                <a:spcPts val="0"/>
              </a:spcBef>
              <a:spcAft>
                <a:spcPts val="0"/>
              </a:spcAft>
              <a:buClrTx/>
              <a:buSzTx/>
              <a:buFontTx/>
              <a:buNone/>
              <a:tabLst/>
              <a:defRPr/>
            </a:pPr>
            <a:r>
              <a:rPr lang="en-CA" b="0" dirty="0"/>
              <a:t>- https://www.finance.gov.au/government/climate-action-government-operations/commonwealth-climate-disclosure-requirements</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UK</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www.legislation.gov.uk/uksi/2022/31/contents/made?utm_source=chatgpt.com</a:t>
            </a:r>
          </a:p>
          <a:p>
            <a:pPr marL="171450" marR="0" lvl="0" indent="-171450" defTabSz="914400" eaLnBrk="1" fontAlgn="auto" latinLnBrk="0" hangingPunct="1">
              <a:lnSpc>
                <a:spcPct val="100000"/>
              </a:lnSpc>
              <a:spcBef>
                <a:spcPts val="0"/>
              </a:spcBef>
              <a:spcAft>
                <a:spcPts val="0"/>
              </a:spcAft>
              <a:buClrTx/>
              <a:buSzTx/>
              <a:buFontTx/>
              <a:buChar char="-"/>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Turkey</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US" dirty="0"/>
              <a:t>The amendment to Turkish Commercial Code No. 6102 (Article 88) that authorised the Public Oversight, Accounting and Auditing Standards Authority (KGK) to set the national sustainability reporting standards (TSRS). </a:t>
            </a:r>
            <a:endParaRPr lang="en-CA" b="0" dirty="0"/>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Japan</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www.ssb-j.jp/en/ssbj_standards/2025-0305.html?utm_source=chatgpt.com</a:t>
            </a:r>
          </a:p>
          <a:p>
            <a:pPr marL="171450" marR="0" lvl="0" indent="-171450" defTabSz="914400" eaLnBrk="1" fontAlgn="auto" latinLnBrk="0" hangingPunct="1">
              <a:lnSpc>
                <a:spcPct val="100000"/>
              </a:lnSpc>
              <a:spcBef>
                <a:spcPts val="0"/>
              </a:spcBef>
              <a:spcAft>
                <a:spcPts val="0"/>
              </a:spcAft>
              <a:buClrTx/>
              <a:buSzTx/>
              <a:buFontTx/>
              <a:buChar char="-"/>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New Zealand </a:t>
            </a:r>
          </a:p>
          <a:p>
            <a:pPr marL="0" marR="0" lvl="0" indent="0" defTabSz="914400" eaLnBrk="1" fontAlgn="auto" latinLnBrk="0" hangingPunct="1">
              <a:lnSpc>
                <a:spcPct val="100000"/>
              </a:lnSpc>
              <a:spcBef>
                <a:spcPts val="0"/>
              </a:spcBef>
              <a:spcAft>
                <a:spcPts val="0"/>
              </a:spcAft>
              <a:buClrTx/>
              <a:buSzTx/>
              <a:buFontTx/>
              <a:buNone/>
              <a:tabLst/>
              <a:defRPr/>
            </a:pPr>
            <a:r>
              <a:rPr lang="en-CA" b="0" dirty="0"/>
              <a:t>- https://environment.govt.nz/what-government-is-doing/areas-of-work/climate-change/mandatory-climate-related-financial-disclosures/?utm_source=chatgpt.com</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Singapore</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www.lw.com/en/insights/sgx-regco-to-incorporate-ifrs-standards-into-mandatory-climate-reporting-rules?utm_source=chatgpt.com</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www.sgx.com/sustainable-finance/sustainability-reporting?utm_source=chatgpt.com</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Mexico</a:t>
            </a:r>
          </a:p>
          <a:p>
            <a:pPr marL="171450" indent="-171450">
              <a:buFontTx/>
              <a:buChar char="-"/>
            </a:pPr>
            <a:r>
              <a:rPr lang="en-US" sz="1200" b="0" i="0" kern="1200" dirty="0">
                <a:solidFill>
                  <a:schemeClr val="tx1"/>
                </a:solidFill>
                <a:effectLst/>
                <a:latin typeface="+mn-lt"/>
                <a:ea typeface="+mn-ea"/>
                <a:cs typeface="+mn-cs"/>
              </a:rPr>
              <a:t>Official Gazette of the Federation (DOF): 28/01/2025</a:t>
            </a:r>
          </a:p>
          <a:p>
            <a:pPr marL="171450" indent="-171450">
              <a:buFontTx/>
              <a:buChar char="-"/>
            </a:pPr>
            <a:r>
              <a:rPr lang="en-US" dirty="0"/>
              <a:t>https://www.dof.gob.mx/nota_detalle.php?codigo=5747872&amp;fecha=28/01/2025#gsc.tab=0</a:t>
            </a:r>
          </a:p>
          <a:p>
            <a:pPr marL="171450" indent="-171450">
              <a:buFontTx/>
              <a:buChar char="-"/>
            </a:pPr>
            <a:r>
              <a:rPr lang="en-US" dirty="0"/>
              <a:t>Annual</a:t>
            </a:r>
            <a:endParaRPr lang="en-CA" b="0" dirty="0"/>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Brazil</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US" sz="1200" b="0" i="0" kern="1200" dirty="0">
                <a:solidFill>
                  <a:schemeClr val="tx1"/>
                </a:solidFill>
                <a:effectLst/>
                <a:latin typeface="+mn-lt"/>
                <a:ea typeface="+mn-ea"/>
                <a:cs typeface="+mn-cs"/>
              </a:rPr>
              <a:t>CVM Resolution 193, 227 and 231/232</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US" sz="1200" b="0" i="0" kern="1200" dirty="0">
                <a:solidFill>
                  <a:schemeClr val="tx1"/>
                </a:solidFill>
                <a:effectLst/>
                <a:latin typeface="+mn-lt"/>
                <a:ea typeface="+mn-ea"/>
                <a:cs typeface="+mn-cs"/>
              </a:rPr>
              <a:t>2025 limited assurance</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US" sz="1200" b="0" i="0" kern="1200" dirty="0">
                <a:solidFill>
                  <a:schemeClr val="tx1"/>
                </a:solidFill>
                <a:effectLst/>
                <a:latin typeface="+mn-lt"/>
                <a:ea typeface="+mn-ea"/>
                <a:cs typeface="+mn-cs"/>
              </a:rPr>
              <a:t>2026 reasonable assurance</a:t>
            </a:r>
            <a:endParaRPr lang="en-CA" b="0" dirty="0"/>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China (Partial Implementation)</a:t>
            </a:r>
          </a:p>
          <a:p>
            <a:pPr marL="0" marR="0" lvl="0" indent="0" defTabSz="914400" eaLnBrk="1" fontAlgn="auto" latinLnBrk="0" hangingPunct="1">
              <a:lnSpc>
                <a:spcPct val="100000"/>
              </a:lnSpc>
              <a:spcBef>
                <a:spcPts val="0"/>
              </a:spcBef>
              <a:spcAft>
                <a:spcPts val="0"/>
              </a:spcAft>
              <a:buClrTx/>
              <a:buSzTx/>
              <a:buFontTx/>
              <a:buNone/>
              <a:tabLst/>
              <a:defRPr/>
            </a:pPr>
            <a:r>
              <a:rPr lang="en-CA" b="0" dirty="0"/>
              <a:t>Companies that operate on the three major indexes must disclose. Everyone else is voluntary</a:t>
            </a:r>
          </a:p>
          <a:p>
            <a:r>
              <a:rPr lang="en-CA" b="1" dirty="0"/>
              <a:t>The Rule </a:t>
            </a:r>
            <a:r>
              <a:rPr lang="en-CA" b="0" dirty="0"/>
              <a:t>“</a:t>
            </a:r>
            <a:r>
              <a:rPr lang="en-US" sz="1200" b="0" i="0" u="none" strike="noStrike" kern="1200" baseline="0" dirty="0">
                <a:solidFill>
                  <a:schemeClr val="tx1"/>
                </a:solidFill>
                <a:latin typeface="+mn-lt"/>
                <a:ea typeface="+mn-ea"/>
                <a:cs typeface="+mn-cs"/>
              </a:rPr>
              <a:t> Guidelines No. 14 of Shanghai Stock Exchange for Self-Regulation of Listed Companies—Sustainability Report (Trial)“</a:t>
            </a:r>
          </a:p>
          <a:p>
            <a:pPr marL="0" marR="0" lvl="0" indent="0" defTabSz="914400" eaLnBrk="1" fontAlgn="auto" latinLnBrk="0" hangingPunct="1">
              <a:lnSpc>
                <a:spcPct val="100000"/>
              </a:lnSpc>
              <a:spcBef>
                <a:spcPts val="0"/>
              </a:spcBef>
              <a:spcAft>
                <a:spcPts val="0"/>
              </a:spcAft>
              <a:buClrTx/>
              <a:buSzTx/>
              <a:buFontTx/>
              <a:buNone/>
              <a:tabLst/>
              <a:defRPr/>
            </a:pPr>
            <a:r>
              <a:rPr lang="en-CA" b="0" dirty="0"/>
              <a:t>- https://www.bse.cn/important_news/200020878.html</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kjs.mof.gov.cn/zhengcefabu/202509/t20250912_3972190.htm</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www.china-briefing.com/news/chinas-new-application-guide-for-esg-disclosure-standards-implications-for-businesses/</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www.china-briefing.com/news/china-unveils-basic-standards-for-corporate-sustainability-esg-disclosure/</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www.china-briefing.com/news/chinas-stock-exchanges-announce-esg-reporting-guidelines-for-listed-companies/#submissionofmandatoryesgreportsHeader</a:t>
            </a:r>
          </a:p>
          <a:p>
            <a:pPr marL="171450" marR="0" lvl="0" indent="-171450" defTabSz="914400" eaLnBrk="1" fontAlgn="auto" latinLnBrk="0" hangingPunct="1">
              <a:lnSpc>
                <a:spcPct val="100000"/>
              </a:lnSpc>
              <a:spcBef>
                <a:spcPts val="0"/>
              </a:spcBef>
              <a:spcAft>
                <a:spcPts val="0"/>
              </a:spcAft>
              <a:buClrTx/>
              <a:buSzTx/>
              <a:buFontTx/>
              <a:buChar char="-"/>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1" dirty="0"/>
              <a:t>PLANNED/INTRODUCED/DISCUSSION</a:t>
            </a:r>
          </a:p>
          <a:p>
            <a:pPr marL="0" marR="0" lvl="0" indent="0" defTabSz="914400" eaLnBrk="1" fontAlgn="auto" latinLnBrk="0" hangingPunct="1">
              <a:lnSpc>
                <a:spcPct val="100000"/>
              </a:lnSpc>
              <a:spcBef>
                <a:spcPts val="0"/>
              </a:spcBef>
              <a:spcAft>
                <a:spcPts val="0"/>
              </a:spcAft>
              <a:buClrTx/>
              <a:buSzTx/>
              <a:buFontTx/>
              <a:buNone/>
              <a:tabLst/>
              <a:defRPr/>
            </a:pPr>
            <a:r>
              <a:rPr lang="en-CA" b="0" dirty="0"/>
              <a:t>Canada (planned)</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www.canada.ca/en/department-finance/news/2024/10/government-advances-made-in-canada-sustainable-investment-guidelines-and-mandatory-climate-disclosures-to-accelerate-progress-to-net-zero-emissions.html</a:t>
            </a:r>
          </a:p>
          <a:p>
            <a:pPr marL="171450" marR="0" lvl="0" indent="-171450" defTabSz="914400" eaLnBrk="1" fontAlgn="auto" latinLnBrk="0" hangingPunct="1">
              <a:lnSpc>
                <a:spcPct val="100000"/>
              </a:lnSpc>
              <a:spcBef>
                <a:spcPts val="0"/>
              </a:spcBef>
              <a:spcAft>
                <a:spcPts val="0"/>
              </a:spcAft>
              <a:buClrTx/>
              <a:buSzTx/>
              <a:buFontTx/>
              <a:buChar char="-"/>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India Planned</a:t>
            </a:r>
            <a:br>
              <a:rPr lang="en-CA" b="0" dirty="0"/>
            </a:br>
            <a:r>
              <a:rPr lang="en-CA" b="0" dirty="0"/>
              <a:t>- ESG information - https://www.sebi.gov.in/legal/circulars/jul-2023/brsr-core-framework-for-assurance-and-esg-disclosures-for-value-chain_73854.html?utm_source=chatgpt.co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b="0" dirty="0"/>
              <a:t>Climate-related information is </a:t>
            </a:r>
            <a:r>
              <a:rPr lang="en-CA" b="1" dirty="0"/>
              <a:t>RBI Climate Disclosure</a:t>
            </a:r>
            <a:endParaRPr lang="en-CA" b="0" dirty="0"/>
          </a:p>
          <a:p>
            <a:pPr marL="0" marR="0" lvl="0" indent="0" defTabSz="914400" eaLnBrk="1" fontAlgn="auto" latinLnBrk="0" hangingPunct="1">
              <a:lnSpc>
                <a:spcPct val="100000"/>
              </a:lnSpc>
              <a:spcBef>
                <a:spcPts val="0"/>
              </a:spcBef>
              <a:spcAft>
                <a:spcPts val="0"/>
              </a:spcAft>
              <a:buClrTx/>
              <a:buSzTx/>
              <a:buFontTx/>
              <a:buNone/>
              <a:tabLst/>
              <a:defRPr/>
            </a:pPr>
            <a:endParaRPr lang="en-CA" b="1"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Nigeria (pg 16, planned)</a:t>
            </a:r>
          </a:p>
          <a:p>
            <a:r>
              <a:rPr lang="en-US" b="1" dirty="0"/>
              <a:t>Financial Reporting Council of Nigeria Act, No. 6 of 2011 </a:t>
            </a:r>
            <a:r>
              <a:rPr lang="en-US" b="0" dirty="0"/>
              <a:t>was amended to empower the council. The “Roadmap Report for Adoption of IFRS Sustainability Disclosure Standards in Nigeria” (April 2024) was released pursuant to those powers.</a:t>
            </a:r>
          </a:p>
          <a:p>
            <a:r>
              <a:rPr lang="en-US" b="0" dirty="0"/>
              <a:t>It sets the policy pathway for how Nigeria will domesticate IFRS S1/S2 into “Nigerian Sustainability Reporting Standards (NSRS)”, to be issued via an FRCN regulation or directive under the 2011 Act. </a:t>
            </a:r>
          </a:p>
          <a:p>
            <a:r>
              <a:rPr lang="en-US" b="1" dirty="0"/>
              <a:t>The regulation has yet to be created and gazetted</a:t>
            </a:r>
            <a:endParaRPr lang="en-CA" b="1" dirty="0"/>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https://frcnigeria.gov.ng/2024/04/22/frc-releases-roadmap-report-for-adoption-of-ifrs-sustainability-disclosure-standards-in-nigeria/?utm_source=chatgpt.com</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US" b="0" dirty="0"/>
              <a:t>ROADMAP REPORT FOR ADOPTION OF IFRS SUSTAINABILITY DISCLOSURE STANDARDS IN NIGERIA (PDF) google search this</a:t>
            </a:r>
            <a:endParaRPr lang="en-CA" b="1" dirty="0"/>
          </a:p>
          <a:p>
            <a:pPr marL="0" marR="0" lvl="0" indent="0" defTabSz="914400" eaLnBrk="1" fontAlgn="auto" latinLnBrk="0" hangingPunct="1">
              <a:lnSpc>
                <a:spcPct val="100000"/>
              </a:lnSpc>
              <a:spcBef>
                <a:spcPts val="0"/>
              </a:spcBef>
              <a:spcAft>
                <a:spcPts val="0"/>
              </a:spcAft>
              <a:buClrTx/>
              <a:buSzTx/>
              <a:buFontTx/>
              <a:buNone/>
              <a:tabLst/>
              <a:defRPr/>
            </a:pPr>
            <a:endParaRPr lang="en-CA" b="1"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Thailand Planned</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US" dirty="0"/>
              <a:t>Climate Change Bill (Thailand) – in government draft/public consultation </a:t>
            </a:r>
          </a:p>
          <a:p>
            <a:pPr marL="171450" marR="0" lvl="0" indent="-171450" defTabSz="914400" eaLnBrk="1" fontAlgn="auto" latinLnBrk="0" hangingPunct="1">
              <a:lnSpc>
                <a:spcPct val="100000"/>
              </a:lnSpc>
              <a:spcBef>
                <a:spcPts val="0"/>
              </a:spcBef>
              <a:spcAft>
                <a:spcPts val="0"/>
              </a:spcAft>
              <a:buClrTx/>
              <a:buSzTx/>
              <a:buFontTx/>
              <a:buChar char="-"/>
              <a:tabLst/>
              <a:defRPr/>
            </a:pPr>
            <a:endParaRPr lang="en-US" b="0" dirty="0"/>
          </a:p>
          <a:p>
            <a:pPr marL="0" marR="0" lvl="0" indent="0" defTabSz="914400" eaLnBrk="1" fontAlgn="auto" latinLnBrk="0" hangingPunct="1">
              <a:lnSpc>
                <a:spcPct val="100000"/>
              </a:lnSpc>
              <a:spcBef>
                <a:spcPts val="0"/>
              </a:spcBef>
              <a:spcAft>
                <a:spcPts val="0"/>
              </a:spcAft>
              <a:buClrTx/>
              <a:buSzTx/>
              <a:buFontTx/>
              <a:buNone/>
              <a:tabLst/>
              <a:defRPr/>
            </a:pPr>
            <a:r>
              <a:rPr lang="en-US" b="0" dirty="0"/>
              <a:t>Taiwan </a:t>
            </a:r>
            <a:r>
              <a:rPr lang="en-CA" b="0" dirty="0"/>
              <a:t>Planned</a:t>
            </a:r>
            <a:endParaRPr lang="en-US" b="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Regulatory advance notice by Financial Supervisory Commission Taiwan (FSC) to embed ISSB S2 for listed issuers (draft statu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outh Africa </a:t>
            </a:r>
            <a:r>
              <a:rPr lang="en-CA" b="0" dirty="0"/>
              <a:t>Planned</a:t>
            </a:r>
            <a:endParaRPr lang="en-US" b="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Financial Sector Conduct Authority (South Africa) roadmap for mandatory climate-financial-risk disclosures (financial sector)</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Columbia </a:t>
            </a:r>
            <a:r>
              <a:rPr lang="en-CA" b="0" dirty="0"/>
              <a:t>Planned</a:t>
            </a:r>
            <a:endParaRPr lang="en-US" b="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Superintendencia Financiera de Colombia – “Proyecto de Circular Externa 0402/2025” for enviro &amp; climate risk disclosures under review </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CA"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b="0" dirty="0"/>
              <a:t>Indonesia Plann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Otoritas Jasa Keuangan (OJK) sustainability disclosure roadmap including IFRS S1/S2 alignment for financial &amp; capital-market institutions</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Qatar Planned</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US" dirty="0"/>
              <a:t>2025 Governance Code for listed companies references </a:t>
            </a:r>
            <a:r>
              <a:rPr lang="en-US" b="1" dirty="0"/>
              <a:t>ISSB</a:t>
            </a:r>
            <a:r>
              <a:rPr lang="en-US" dirty="0"/>
              <a:t> and introduces enhanced governance/disclosure expectations (step toward sustainability reporting framework). </a:t>
            </a:r>
          </a:p>
          <a:p>
            <a:pPr marL="171450" marR="0" lvl="0" indent="-171450" defTabSz="914400" eaLnBrk="1" fontAlgn="auto" latinLnBrk="0" hangingPunct="1">
              <a:lnSpc>
                <a:spcPct val="100000"/>
              </a:lnSpc>
              <a:spcBef>
                <a:spcPts val="0"/>
              </a:spcBef>
              <a:spcAft>
                <a:spcPts val="0"/>
              </a:spcAft>
              <a:buClrTx/>
              <a:buSzTx/>
              <a:buFontTx/>
              <a:buChar char="-"/>
              <a:tabLst/>
              <a:defRPr/>
            </a:pPr>
            <a:endParaRPr lang="en-US" b="0" dirty="0"/>
          </a:p>
          <a:p>
            <a:pPr marL="0" marR="0" lvl="0" indent="0" defTabSz="914400" eaLnBrk="1" fontAlgn="auto" latinLnBrk="0" hangingPunct="1">
              <a:lnSpc>
                <a:spcPct val="100000"/>
              </a:lnSpc>
              <a:spcBef>
                <a:spcPts val="0"/>
              </a:spcBef>
              <a:spcAft>
                <a:spcPts val="0"/>
              </a:spcAft>
              <a:buClrTx/>
              <a:buSzTx/>
              <a:buFontTx/>
              <a:buNone/>
              <a:tabLst/>
              <a:defRPr/>
            </a:pPr>
            <a:r>
              <a:rPr lang="en-US" b="0" dirty="0"/>
              <a:t>UAE </a:t>
            </a:r>
            <a:r>
              <a:rPr lang="en-CA" b="0" dirty="0"/>
              <a:t>Planned</a:t>
            </a:r>
            <a:endParaRPr lang="en-US" b="0" dirty="0"/>
          </a:p>
          <a:p>
            <a:pPr marL="171450" marR="0" lvl="0" indent="-171450" defTabSz="914400" eaLnBrk="1" fontAlgn="auto" latinLnBrk="0" hangingPunct="1">
              <a:lnSpc>
                <a:spcPct val="100000"/>
              </a:lnSpc>
              <a:spcBef>
                <a:spcPts val="0"/>
              </a:spcBef>
              <a:spcAft>
                <a:spcPts val="0"/>
              </a:spcAft>
              <a:buClrTx/>
              <a:buSzTx/>
              <a:buFontTx/>
              <a:buChar char="-"/>
              <a:tabLst/>
              <a:defRPr/>
            </a:pPr>
            <a:r>
              <a:rPr lang="en-US" dirty="0"/>
              <a:t>Regulators running consultations and guidance on sustainability-related disclosures and climate transition planning principles (federal supervisors’ SFWG principles under consultation).</a:t>
            </a:r>
          </a:p>
          <a:p>
            <a:pPr marL="171450" marR="0" lvl="0" indent="-171450" defTabSz="914400" eaLnBrk="1" fontAlgn="auto" latinLnBrk="0" hangingPunct="1">
              <a:lnSpc>
                <a:spcPct val="100000"/>
              </a:lnSpc>
              <a:spcBef>
                <a:spcPts val="0"/>
              </a:spcBef>
              <a:spcAft>
                <a:spcPts val="0"/>
              </a:spcAft>
              <a:buClrTx/>
              <a:buSzTx/>
              <a:buFontTx/>
              <a:buChar char="-"/>
              <a:tabLst/>
              <a:defRPr/>
            </a:pPr>
            <a:endParaRPr lang="en-US" dirty="0"/>
          </a:p>
          <a:p>
            <a:pPr marL="0" marR="0" lvl="0" indent="0" defTabSz="914400" eaLnBrk="1" fontAlgn="auto" latinLnBrk="0" hangingPunct="1">
              <a:lnSpc>
                <a:spcPct val="100000"/>
              </a:lnSpc>
              <a:spcBef>
                <a:spcPts val="0"/>
              </a:spcBef>
              <a:spcAft>
                <a:spcPts val="0"/>
              </a:spcAft>
              <a:buClrTx/>
              <a:buSzTx/>
              <a:buFontTx/>
              <a:buNone/>
              <a:tabLst/>
              <a:defRPr/>
            </a:pPr>
            <a:r>
              <a:rPr lang="en-US" dirty="0"/>
              <a:t>Malaysia </a:t>
            </a:r>
            <a:r>
              <a:rPr lang="en-CA" b="0" dirty="0"/>
              <a:t>Planned</a:t>
            </a:r>
            <a:endParaRPr lang="en-US" dirty="0"/>
          </a:p>
          <a:p>
            <a:pPr marL="171450" marR="0" lvl="0" indent="-171450" defTabSz="914400" eaLnBrk="1" fontAlgn="auto" latinLnBrk="0" hangingPunct="1">
              <a:lnSpc>
                <a:spcPct val="100000"/>
              </a:lnSpc>
              <a:spcBef>
                <a:spcPts val="0"/>
              </a:spcBef>
              <a:spcAft>
                <a:spcPts val="0"/>
              </a:spcAft>
              <a:buClrTx/>
              <a:buSzTx/>
              <a:buFontTx/>
              <a:buChar char="-"/>
              <a:tabLst/>
              <a:defRPr/>
            </a:pPr>
            <a:r>
              <a:rPr lang="en-US" dirty="0"/>
              <a:t>Bursa Malaysia </a:t>
            </a:r>
            <a:r>
              <a:rPr lang="en-US" b="1" dirty="0"/>
              <a:t>Consultation Paper No. 1/2024</a:t>
            </a:r>
            <a:r>
              <a:rPr lang="en-US" dirty="0"/>
              <a:t> proposes Listing Rule changes to strengthen climate/ISSB-aligned reporting</a:t>
            </a:r>
          </a:p>
          <a:p>
            <a:pPr marL="171450" marR="0" lvl="0" indent="-171450" defTabSz="914400" eaLnBrk="1" fontAlgn="auto" latinLnBrk="0" hangingPunct="1">
              <a:lnSpc>
                <a:spcPct val="100000"/>
              </a:lnSpc>
              <a:spcBef>
                <a:spcPts val="0"/>
              </a:spcBef>
              <a:spcAft>
                <a:spcPts val="0"/>
              </a:spcAft>
              <a:buClrTx/>
              <a:buSzTx/>
              <a:buFontTx/>
              <a:buChar char="-"/>
              <a:tabLst/>
              <a:defRPr/>
            </a:pPr>
            <a:endParaRPr lang="en-US" dirty="0"/>
          </a:p>
          <a:p>
            <a:pPr marL="0" marR="0" lvl="0" indent="0" defTabSz="914400" eaLnBrk="1" fontAlgn="auto" latinLnBrk="0" hangingPunct="1">
              <a:lnSpc>
                <a:spcPct val="100000"/>
              </a:lnSpc>
              <a:spcBef>
                <a:spcPts val="0"/>
              </a:spcBef>
              <a:spcAft>
                <a:spcPts val="0"/>
              </a:spcAft>
              <a:buClrTx/>
              <a:buSzTx/>
              <a:buFontTx/>
              <a:buNone/>
              <a:tabLst/>
              <a:defRPr/>
            </a:pPr>
            <a:r>
              <a:rPr lang="en-US" b="0" dirty="0"/>
              <a:t>Jordan </a:t>
            </a:r>
            <a:r>
              <a:rPr lang="en-CA" b="0" dirty="0"/>
              <a:t>Planned</a:t>
            </a:r>
            <a:endParaRPr lang="en-US" b="0" dirty="0"/>
          </a:p>
          <a:p>
            <a:pPr marL="171450" marR="0" lvl="0" indent="-171450" defTabSz="914400" eaLnBrk="1" fontAlgn="auto" latinLnBrk="0" hangingPunct="1">
              <a:lnSpc>
                <a:spcPct val="100000"/>
              </a:lnSpc>
              <a:spcBef>
                <a:spcPts val="0"/>
              </a:spcBef>
              <a:spcAft>
                <a:spcPts val="0"/>
              </a:spcAft>
              <a:buClrTx/>
              <a:buSzTx/>
              <a:buFontTx/>
              <a:buChar char="-"/>
              <a:tabLst/>
              <a:defRPr/>
            </a:pPr>
            <a:r>
              <a:rPr lang="en-US" dirty="0"/>
              <a:t>Amman Stock Exchange has issued </a:t>
            </a:r>
            <a:r>
              <a:rPr lang="en-US" b="1" dirty="0"/>
              <a:t>Sustainability &amp; Climate</a:t>
            </a:r>
            <a:r>
              <a:rPr lang="en-US" dirty="0"/>
              <a:t> disclosure guidance and touts market-level sustainability reporting—continuing enhancements signaled by ASE</a:t>
            </a:r>
            <a:endParaRPr lang="en-CA" b="0" dirty="0"/>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r>
              <a:rPr lang="en-CA" b="0" dirty="0"/>
              <a:t>Chile Planned</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dirty="0"/>
              <a:t>NCG 461</a:t>
            </a:r>
          </a:p>
          <a:p>
            <a:pPr marL="171450" marR="0" lvl="0" indent="-171450" defTabSz="914400" eaLnBrk="1" fontAlgn="auto" latinLnBrk="0" hangingPunct="1">
              <a:lnSpc>
                <a:spcPct val="100000"/>
              </a:lnSpc>
              <a:spcBef>
                <a:spcPts val="0"/>
              </a:spcBef>
              <a:spcAft>
                <a:spcPts val="0"/>
              </a:spcAft>
              <a:buClrTx/>
              <a:buSzTx/>
              <a:buFontTx/>
              <a:buChar char="-"/>
              <a:tabLst/>
              <a:defRPr/>
            </a:pPr>
            <a:r>
              <a:rPr lang="en-CA" b="0" dirty="0"/>
              <a:t>Amendments are currently underway</a:t>
            </a:r>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a:p>
            <a:pPr marL="0" marR="0" lvl="0" indent="0" defTabSz="914400" eaLnBrk="1" fontAlgn="auto" latinLnBrk="0" hangingPunct="1">
              <a:lnSpc>
                <a:spcPct val="100000"/>
              </a:lnSpc>
              <a:spcBef>
                <a:spcPts val="0"/>
              </a:spcBef>
              <a:spcAft>
                <a:spcPts val="0"/>
              </a:spcAft>
              <a:buClrTx/>
              <a:buSzTx/>
              <a:buFontTx/>
              <a:buNone/>
              <a:tabLst/>
              <a:defRPr/>
            </a:pPr>
            <a:endParaRPr lang="en-CA" b="0" dirty="0"/>
          </a:p>
        </p:txBody>
      </p:sp>
    </p:spTree>
    <p:extLst>
      <p:ext uri="{BB962C8B-B14F-4D97-AF65-F5344CB8AC3E}">
        <p14:creationId xmlns:p14="http://schemas.microsoft.com/office/powerpoint/2010/main" val="23173063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CA" dirty="0"/>
              <a:t>To close out our conversation today, we’d tie this work back to strategy.</a:t>
            </a:r>
          </a:p>
          <a:p>
            <a:endParaRPr lang="en-CA" dirty="0"/>
          </a:p>
          <a:p>
            <a:r>
              <a:rPr lang="en-CA" dirty="0"/>
              <a:t>While California’s bills are reporting exercise – all the information gathered is designed to provide some strategic insights:</a:t>
            </a:r>
          </a:p>
          <a:p>
            <a:endParaRPr lang="en-CA" dirty="0"/>
          </a:p>
          <a:p>
            <a:pPr marL="0" indent="0">
              <a:buNone/>
            </a:pPr>
            <a:r>
              <a:rPr lang="en-CA" dirty="0"/>
              <a:t>1) It can help identify proposed policies to monitor/manage</a:t>
            </a:r>
          </a:p>
          <a:p>
            <a:r>
              <a:rPr lang="en-CA" dirty="0"/>
              <a:t>2) Especially in the fertilizer industry, this information can show resilience of the business to changes in future weather, especially for risks emerging over the mid-term and long-term</a:t>
            </a:r>
          </a:p>
          <a:p>
            <a:r>
              <a:rPr lang="en-CA" dirty="0"/>
              <a:t>3) reviewing/approving reports helps make sure company execs and Board been informed of the risks/Opps so you can get the resources needed to manage them effectively.</a:t>
            </a:r>
          </a:p>
          <a:p>
            <a:r>
              <a:rPr lang="en-CA" dirty="0"/>
              <a:t>4) Public reporting from your customers will help indicate demand upstream for emissions reductions  - that can make these a business opportunity for your firm? </a:t>
            </a:r>
          </a:p>
        </p:txBody>
      </p:sp>
    </p:spTree>
    <p:extLst>
      <p:ext uri="{BB962C8B-B14F-4D97-AF65-F5344CB8AC3E}">
        <p14:creationId xmlns:p14="http://schemas.microsoft.com/office/powerpoint/2010/main" val="3925061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hope this provided at least a few helpful teams. Every firms’ situation is different so please feel free to reach out and get connect. And best of luck with upcoming reports!</a:t>
            </a:r>
          </a:p>
          <a:p>
            <a:endParaRPr lang="en-US" dirty="0"/>
          </a:p>
          <a:p>
            <a:r>
              <a:rPr lang="en-US" dirty="0"/>
              <a:t>First question – you mention a lot of CARB resources, where can I find them?</a:t>
            </a:r>
          </a:p>
        </p:txBody>
      </p:sp>
      <p:sp>
        <p:nvSpPr>
          <p:cNvPr id="4" name="Slide Number Placeholder 3"/>
          <p:cNvSpPr>
            <a:spLocks noGrp="1"/>
          </p:cNvSpPr>
          <p:nvPr>
            <p:ph type="sldNum" sz="quarter" idx="5"/>
          </p:nvPr>
        </p:nvSpPr>
        <p:spPr/>
        <p:txBody>
          <a:bodyPr/>
          <a:lstStyle/>
          <a:p>
            <a:fld id="{040F826C-E993-491B-BAC1-BFA8F105FA99}" type="slidenum">
              <a:rPr lang="en-CA" smtClean="0"/>
              <a:t>15</a:t>
            </a:fld>
            <a:endParaRPr lang="en-CA" dirty="0"/>
          </a:p>
        </p:txBody>
      </p:sp>
    </p:spTree>
    <p:extLst>
      <p:ext uri="{BB962C8B-B14F-4D97-AF65-F5344CB8AC3E}">
        <p14:creationId xmlns:p14="http://schemas.microsoft.com/office/powerpoint/2010/main" val="3378767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Before jumping in, I’d like to share a little about who we are. </a:t>
            </a:r>
          </a:p>
          <a:p>
            <a:r>
              <a:rPr lang="en-US" sz="1200" dirty="0">
                <a:solidFill>
                  <a:srgbClr val="1B4171"/>
                </a:solidFill>
                <a:effectLst/>
                <a:latin typeface="Arial" panose="020B0604020202020204" pitchFamily="34" charset="0"/>
                <a:ea typeface="Aptos" panose="020B0004020202020204" pitchFamily="34" charset="0"/>
                <a:cs typeface="Aptos" panose="020B0004020202020204" pitchFamily="34" charset="0"/>
              </a:rPr>
              <a:t>ClimeCo is a global sustainability company, with a focus on climate.</a:t>
            </a:r>
          </a:p>
          <a:p>
            <a:pPr marL="0" indent="0">
              <a:buFontTx/>
              <a:buNone/>
            </a:pPr>
            <a:r>
              <a:rPr lang="en-US" sz="1200" dirty="0">
                <a:solidFill>
                  <a:srgbClr val="1B4171"/>
                </a:solidFill>
                <a:effectLst/>
                <a:latin typeface="Arial" panose="020B0604020202020204" pitchFamily="34" charset="0"/>
                <a:ea typeface="Aptos" panose="020B0004020202020204" pitchFamily="34" charset="0"/>
                <a:cs typeface="Aptos" panose="020B0004020202020204" pitchFamily="34" charset="0"/>
              </a:rPr>
              <a:t>The company initially worked with industrial manufacturers, so we have a strong focus on industry, but we’re proud to have grown to support consumer facing brands.</a:t>
            </a:r>
          </a:p>
          <a:p>
            <a:pPr marL="0" indent="0">
              <a:buFontTx/>
              <a:buNone/>
            </a:pPr>
            <a:r>
              <a:rPr lang="en-US" sz="1200" dirty="0">
                <a:solidFill>
                  <a:srgbClr val="1B4171"/>
                </a:solidFill>
                <a:effectLst/>
                <a:latin typeface="Arial" panose="020B0604020202020204" pitchFamily="34" charset="0"/>
                <a:ea typeface="Aptos" panose="020B0004020202020204" pitchFamily="34" charset="0"/>
                <a:cs typeface="Aptos" panose="020B0004020202020204" pitchFamily="34" charset="0"/>
              </a:rPr>
              <a:t>Since our founding 15 years ago, we have reduced, avoided or removed more than 40 millions tonnes of carbon equivalents, impact we’re proud of and also a revenue driver for our clients.</a:t>
            </a:r>
          </a:p>
          <a:p>
            <a:endParaRPr lang="en-US" dirty="0"/>
          </a:p>
          <a:p>
            <a:r>
              <a:rPr lang="en-US" dirty="0"/>
              <a:t>I work in the Sustainability Advisory arm of the company, where we get to help clients meet customer, investor, or regulatory sustainability mandates. – including California. </a:t>
            </a:r>
          </a:p>
          <a:p>
            <a:endParaRPr lang="en-US" dirty="0"/>
          </a:p>
          <a:p>
            <a:r>
              <a:rPr lang="en-US" dirty="0"/>
              <a:t>I’m grateful to be joined today by my colleague, Wilson Fong who will run us through the agenda</a:t>
            </a:r>
          </a:p>
        </p:txBody>
      </p:sp>
    </p:spTree>
    <p:extLst>
      <p:ext uri="{BB962C8B-B14F-4D97-AF65-F5344CB8AC3E}">
        <p14:creationId xmlns:p14="http://schemas.microsoft.com/office/powerpoint/2010/main" val="1759144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a:latin typeface="Calibri"/>
                <a:ea typeface="Calibri"/>
                <a:cs typeface="Calibri"/>
              </a:rPr>
              <a:t>We heard that California requirements were of interest to TFI members so </a:t>
            </a:r>
            <a:r>
              <a:rPr lang="en-US" dirty="0">
                <a:latin typeface="Calibri"/>
                <a:ea typeface="Calibri"/>
                <a:cs typeface="Calibri"/>
              </a:rPr>
              <a:t>today we’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a:ea typeface="Calibri"/>
                <a:cs typeface="Calibri"/>
              </a:rPr>
              <a:t>1) Cover a brief overview of require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a:ea typeface="Calibri"/>
                <a:cs typeface="Calibri"/>
              </a:rPr>
              <a:t>2) Share tips from early adopters through FAQ, to ease prepar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a:ea typeface="Calibri"/>
                <a:cs typeface="Calibri"/>
              </a:rPr>
              <a:t>3) And look ahead at what’s emerging in the policy landscape, as California is not the only jurisdiction considering and implementing this type of legisl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a:ea typeface="Calibri"/>
                <a:cs typeface="Calibri"/>
              </a:rPr>
              <a:t>4) And as time allows, we’ll field question at the e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Calibri"/>
              <a:ea typeface="Calibri"/>
              <a:cs typeface="Calibri"/>
            </a:endParaRPr>
          </a:p>
          <a:p>
            <a:pPr lvl="0"/>
            <a:r>
              <a:rPr lang="en-US" dirty="0">
                <a:latin typeface="Calibri"/>
                <a:ea typeface="Calibri"/>
                <a:cs typeface="Calibri"/>
              </a:rPr>
              <a:t>Handing it back to Amanda to run us through these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dirty="0">
                <a:latin typeface="Calibri"/>
                <a:ea typeface="Calibri"/>
                <a:cs typeface="Calibri"/>
              </a:rPr>
              <a:t>Our focus right now is helping our partners efficiently comply with California disclosures on emissions and risk. But we’re also seeing a lot of firms take away other benefits gain a better understanding of their emissions and risks to build more resilient busines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sngStrike" dirty="0">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sngStrike" dirty="0">
              <a:latin typeface="Calibri"/>
              <a:ea typeface="Calibri"/>
              <a:cs typeface="Calibri"/>
            </a:endParaRPr>
          </a:p>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040F826C-E993-491B-BAC1-BFA8F105FA99}" type="slidenum">
              <a:rPr lang="en-CA" smtClean="0"/>
              <a:t>3</a:t>
            </a:fld>
            <a:endParaRPr lang="en-CA" dirty="0"/>
          </a:p>
        </p:txBody>
      </p:sp>
    </p:spTree>
    <p:extLst>
      <p:ext uri="{BB962C8B-B14F-4D97-AF65-F5344CB8AC3E}">
        <p14:creationId xmlns:p14="http://schemas.microsoft.com/office/powerpoint/2010/main" val="1553201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ighlight>
                  <a:srgbClr val="FFFFFF"/>
                </a:highlight>
                <a:sym typeface="Arial"/>
              </a:rPr>
              <a:t>Thanks wilson</a:t>
            </a:r>
          </a:p>
          <a:p>
            <a:endParaRPr lang="en-US" dirty="0"/>
          </a:p>
        </p:txBody>
      </p:sp>
    </p:spTree>
    <p:extLst>
      <p:ext uri="{BB962C8B-B14F-4D97-AF65-F5344CB8AC3E}">
        <p14:creationId xmlns:p14="http://schemas.microsoft.com/office/powerpoint/2010/main" val="1321438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pPr marL="0" indent="0">
              <a:lnSpc>
                <a:spcPct val="100000"/>
              </a:lnSpc>
              <a:spcBef>
                <a:spcPts val="0"/>
              </a:spcBef>
              <a:buFont typeface="Arial" panose="020B0604020202020204" pitchFamily="34" charset="0"/>
              <a:buNone/>
            </a:pPr>
            <a:r>
              <a:rPr lang="en-US" sz="1200" dirty="0">
                <a:highlight>
                  <a:srgbClr val="FFFFFF"/>
                </a:highlight>
                <a:sym typeface="Arial"/>
              </a:rPr>
              <a:t>As a refresher:</a:t>
            </a:r>
          </a:p>
          <a:p>
            <a:pPr marL="171450" indent="-171450">
              <a:lnSpc>
                <a:spcPct val="100000"/>
              </a:lnSpc>
              <a:spcBef>
                <a:spcPts val="0"/>
              </a:spcBef>
              <a:buFont typeface="Arial" panose="020B0604020202020204" pitchFamily="34" charset="0"/>
              <a:buChar char="•"/>
            </a:pPr>
            <a:r>
              <a:rPr lang="en-US" sz="1200" dirty="0">
                <a:highlight>
                  <a:srgbClr val="FFFFFF"/>
                </a:highlight>
                <a:sym typeface="Arial"/>
              </a:rPr>
              <a:t>First, these bill apply to BOTH Public and private companies “doing business in California” with revenues exceeding the thresholds $500M for climate risks $1B for emissions disclosures</a:t>
            </a:r>
          </a:p>
          <a:p>
            <a:pPr marL="628650" lvl="1" indent="-171450">
              <a:lnSpc>
                <a:spcPct val="100000"/>
              </a:lnSpc>
              <a:spcBef>
                <a:spcPts val="0"/>
              </a:spcBef>
              <a:buFont typeface="Arial" panose="020B0604020202020204" pitchFamily="34" charset="0"/>
              <a:buChar char="•"/>
            </a:pPr>
            <a:r>
              <a:rPr lang="en-US" sz="1200" dirty="0">
                <a:highlight>
                  <a:srgbClr val="FFFFFF"/>
                </a:highlight>
                <a:sym typeface="Arial"/>
              </a:rPr>
              <a:t>California Air Resources Board (CARB) has released a draft list of covered entities, which is a helpful place to start to see if you may be subject to these requirements</a:t>
            </a:r>
          </a:p>
          <a:p>
            <a:pPr marL="628650" lvl="1" indent="-171450">
              <a:lnSpc>
                <a:spcPct val="100000"/>
              </a:lnSpc>
              <a:spcBef>
                <a:spcPts val="0"/>
              </a:spcBef>
              <a:buFont typeface="Arial" panose="020B0604020202020204" pitchFamily="34" charset="0"/>
              <a:buChar char="•"/>
            </a:pPr>
            <a:r>
              <a:rPr lang="en-US" sz="1200" dirty="0">
                <a:highlight>
                  <a:srgbClr val="FFFFFF"/>
                </a:highlight>
                <a:sym typeface="Arial"/>
              </a:rPr>
              <a:t>What’s significant about the programs created by this legislation is the breadth of firms covered, including many private firms who have never reporting on sustainability topics </a:t>
            </a:r>
          </a:p>
          <a:p>
            <a:pPr marL="457200" lvl="1" indent="0">
              <a:lnSpc>
                <a:spcPct val="100000"/>
              </a:lnSpc>
              <a:spcBef>
                <a:spcPts val="0"/>
              </a:spcBef>
              <a:buFont typeface="Arial" panose="020B0604020202020204" pitchFamily="34" charset="0"/>
              <a:buNone/>
            </a:pPr>
            <a:endParaRPr lang="en-US" sz="1200" dirty="0">
              <a:highlight>
                <a:srgbClr val="FFFFFF"/>
              </a:highlight>
              <a:sym typeface="Arial"/>
            </a:endParaRPr>
          </a:p>
          <a:p>
            <a:pPr marL="171450" indent="-171450">
              <a:lnSpc>
                <a:spcPct val="100000"/>
              </a:lnSpc>
              <a:spcBef>
                <a:spcPts val="0"/>
              </a:spcBef>
              <a:buFont typeface="Arial" panose="020B0604020202020204" pitchFamily="34" charset="0"/>
              <a:buChar char="•"/>
            </a:pPr>
            <a:r>
              <a:rPr lang="en-US" sz="1200" dirty="0">
                <a:highlight>
                  <a:srgbClr val="FFFFFF"/>
                </a:highlight>
                <a:sym typeface="Arial"/>
              </a:rPr>
              <a:t>In addition to the breadth of coverage, the Penalties for non-compliance are also notable - range from $50,000-$500,000 per year; </a:t>
            </a:r>
          </a:p>
          <a:p>
            <a:pPr marL="628650" lvl="1" indent="-171450">
              <a:lnSpc>
                <a:spcPct val="100000"/>
              </a:lnSpc>
              <a:spcBef>
                <a:spcPts val="0"/>
              </a:spcBef>
              <a:buFont typeface="Arial" panose="020B0604020202020204" pitchFamily="34" charset="0"/>
              <a:buChar char="•"/>
            </a:pPr>
            <a:r>
              <a:rPr lang="en-US" sz="1200" dirty="0">
                <a:highlight>
                  <a:srgbClr val="FFFFFF"/>
                </a:highlight>
                <a:sym typeface="Arial"/>
              </a:rPr>
              <a:t>At the same time, there are also reputational risks of sharing performance that lags behind peers.</a:t>
            </a:r>
          </a:p>
          <a:p>
            <a:pPr marL="457200" lvl="1" indent="0">
              <a:lnSpc>
                <a:spcPct val="100000"/>
              </a:lnSpc>
              <a:spcBef>
                <a:spcPts val="0"/>
              </a:spcBef>
              <a:buFont typeface="Arial" panose="020B0604020202020204" pitchFamily="34" charset="0"/>
              <a:buNone/>
            </a:pPr>
            <a:endParaRPr lang="en-US" sz="1200" dirty="0">
              <a:highlight>
                <a:srgbClr val="FFFFFF"/>
              </a:highlight>
              <a:sym typeface="Arial"/>
            </a:endParaRPr>
          </a:p>
          <a:p>
            <a:pPr marL="171450" indent="-171450">
              <a:lnSpc>
                <a:spcPct val="100000"/>
              </a:lnSpc>
              <a:spcBef>
                <a:spcPts val="0"/>
              </a:spcBef>
              <a:buFont typeface="Arial" panose="020B0604020202020204" pitchFamily="34" charset="0"/>
              <a:buChar char="•"/>
            </a:pPr>
            <a:r>
              <a:rPr lang="en-US" sz="1200" dirty="0">
                <a:highlight>
                  <a:srgbClr val="FFFFFF"/>
                </a:highlight>
                <a:sym typeface="Arial"/>
              </a:rPr>
              <a:t>CARB is targeting end of 2025 for regulation, but has provided </a:t>
            </a:r>
            <a:r>
              <a:rPr lang="en-US" sz="1200" dirty="0">
                <a:highlight>
                  <a:srgbClr val="FFFFFF"/>
                </a:highlight>
                <a:sym typeface="Arial"/>
                <a:hlinkClick r:id="rId3">
                  <a:extLst>
                    <a:ext uri="{A12FA001-AC4F-418D-AE19-62706E023703}">
                      <ahyp:hlinkClr xmlns:ahyp="http://schemas.microsoft.com/office/drawing/2018/hyperlinkcolor" val="tx"/>
                    </a:ext>
                  </a:extLst>
                </a:hlinkClick>
              </a:rPr>
              <a:t>initial guidance</a:t>
            </a:r>
            <a:r>
              <a:rPr lang="en-US" sz="1200" dirty="0">
                <a:highlight>
                  <a:srgbClr val="FFFFFF"/>
                </a:highlight>
                <a:sym typeface="Arial"/>
              </a:rPr>
              <a:t> including checklists and templates</a:t>
            </a:r>
          </a:p>
          <a:p>
            <a:pPr marL="171450" indent="-171450">
              <a:lnSpc>
                <a:spcPct val="100000"/>
              </a:lnSpc>
              <a:spcBef>
                <a:spcPts val="0"/>
              </a:spcBef>
              <a:buFont typeface="Arial" panose="020B0604020202020204" pitchFamily="34" charset="0"/>
              <a:buChar char="•"/>
            </a:pPr>
            <a:r>
              <a:rPr lang="en-US" sz="1200" dirty="0">
                <a:highlight>
                  <a:srgbClr val="FFFFFF"/>
                </a:highlight>
                <a:sym typeface="Arial"/>
              </a:rPr>
              <a:t>However, As you see on this timeline, deadlines start as soon as Jan 1 2026, so firms are moving forward without regulatory guidance.</a:t>
            </a:r>
          </a:p>
          <a:p>
            <a:pPr marL="171450" indent="-171450">
              <a:lnSpc>
                <a:spcPct val="100000"/>
              </a:lnSpc>
              <a:spcBef>
                <a:spcPts val="0"/>
              </a:spcBef>
              <a:buFont typeface="Arial" panose="020B0604020202020204" pitchFamily="34" charset="0"/>
              <a:buChar char="•"/>
            </a:pPr>
            <a:endParaRPr lang="en-US" sz="1200" dirty="0">
              <a:highlight>
                <a:srgbClr val="FFFFFF"/>
              </a:highlight>
              <a:sym typeface="Arial"/>
            </a:endParaRPr>
          </a:p>
          <a:p>
            <a:pPr marL="171450" indent="-171450">
              <a:lnSpc>
                <a:spcPct val="100000"/>
              </a:lnSpc>
              <a:spcBef>
                <a:spcPts val="0"/>
              </a:spcBef>
              <a:buFont typeface="Arial" panose="020B0604020202020204" pitchFamily="34" charset="0"/>
              <a:buChar char="•"/>
            </a:pPr>
            <a:r>
              <a:rPr lang="en-US" sz="1200" dirty="0">
                <a:highlight>
                  <a:srgbClr val="FFFFFF"/>
                </a:highlight>
                <a:sym typeface="Arial"/>
              </a:rPr>
              <a:t>The good news is that both bills align to existing standards, we do have a good sense of what compliant reports will look like</a:t>
            </a:r>
          </a:p>
          <a:p>
            <a:endParaRPr lang="en-US" b="0" i="0" dirty="0">
              <a:solidFill>
                <a:srgbClr val="111111"/>
              </a:solidFill>
              <a:effectLst/>
              <a:highlight>
                <a:srgbClr val="FFFFFF"/>
              </a:highlight>
              <a:latin typeface="-apple-system"/>
            </a:endParaRPr>
          </a:p>
        </p:txBody>
      </p:sp>
    </p:spTree>
    <p:extLst>
      <p:ext uri="{BB962C8B-B14F-4D97-AF65-F5344CB8AC3E}">
        <p14:creationId xmlns:p14="http://schemas.microsoft.com/office/powerpoint/2010/main" val="7230633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9109C7-D3A6-742A-42CF-F2D0A6FB91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32C3DA-0FC6-FEAF-464A-3696F0C1C498}"/>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A2601A73-1797-D9D9-D6A9-284B67F82ECF}"/>
              </a:ext>
            </a:extLst>
          </p:cNvPr>
          <p:cNvSpPr>
            <a:spLocks noGrp="1"/>
          </p:cNvSpPr>
          <p:nvPr>
            <p:ph type="body" idx="1"/>
          </p:nvPr>
        </p:nvSpPr>
        <p:spPr/>
        <p:txBody>
          <a:bodyPr/>
          <a:lstStyle/>
          <a:p>
            <a:pPr algn="just">
              <a:lnSpc>
                <a:spcPct val="120000"/>
              </a:lnSpc>
              <a:spcAft>
                <a:spcPts val="300"/>
              </a:spcAft>
            </a:pPr>
            <a:r>
              <a:rPr lang="en-US" b="0" dirty="0"/>
              <a:t>First - For SB 261, a compliant report means one that aligns with  </a:t>
            </a:r>
            <a:r>
              <a:rPr lang="en-US" sz="1200" b="0" dirty="0">
                <a:solidFill>
                  <a:schemeClr val="bg1"/>
                </a:solidFill>
                <a:sym typeface="Arial"/>
              </a:rPr>
              <a:t>guidance from the Task force on climate related financial disclosures (TCFD) or an equivalent framework. </a:t>
            </a:r>
          </a:p>
          <a:p>
            <a:pPr algn="just">
              <a:lnSpc>
                <a:spcPct val="120000"/>
              </a:lnSpc>
              <a:spcAft>
                <a:spcPts val="300"/>
              </a:spcAft>
            </a:pPr>
            <a:endParaRPr lang="en-US" sz="1200" b="0" dirty="0">
              <a:solidFill>
                <a:schemeClr val="bg1"/>
              </a:solidFill>
              <a:sym typeface="Arial"/>
            </a:endParaRPr>
          </a:p>
          <a:p>
            <a:pPr algn="just">
              <a:lnSpc>
                <a:spcPct val="120000"/>
              </a:lnSpc>
              <a:spcAft>
                <a:spcPts val="300"/>
              </a:spcAft>
            </a:pPr>
            <a:r>
              <a:rPr lang="en-US" sz="1200" b="0" dirty="0">
                <a:solidFill>
                  <a:schemeClr val="bg1"/>
                </a:solidFill>
                <a:sym typeface="Arial"/>
              </a:rPr>
              <a:t>The TCFD released their guidance back in 2017. Since then many firms have reported their climate risks voluntary.,  so there are public examples available to references </a:t>
            </a:r>
          </a:p>
          <a:p>
            <a:pPr algn="just">
              <a:lnSpc>
                <a:spcPct val="120000"/>
              </a:lnSpc>
              <a:spcAft>
                <a:spcPts val="300"/>
              </a:spcAft>
            </a:pPr>
            <a:endParaRPr lang="en-US" sz="1200" b="0" dirty="0">
              <a:solidFill>
                <a:schemeClr val="bg1"/>
              </a:solidFill>
              <a:sym typeface="Arial"/>
            </a:endParaRPr>
          </a:p>
          <a:p>
            <a:pPr algn="just">
              <a:lnSpc>
                <a:spcPct val="120000"/>
              </a:lnSpc>
              <a:spcAft>
                <a:spcPts val="300"/>
              </a:spcAft>
            </a:pPr>
            <a:r>
              <a:rPr lang="en-US" sz="1200" b="0" dirty="0">
                <a:solidFill>
                  <a:schemeClr val="bg1"/>
                </a:solidFill>
                <a:sym typeface="Arial"/>
              </a:rPr>
              <a:t>The framework covers 4 pillars – </a:t>
            </a:r>
          </a:p>
          <a:p>
            <a:pPr algn="just">
              <a:lnSpc>
                <a:spcPct val="120000"/>
              </a:lnSpc>
              <a:spcAft>
                <a:spcPts val="300"/>
              </a:spcAft>
            </a:pPr>
            <a:r>
              <a:rPr lang="en-US" sz="1200" b="0" dirty="0">
                <a:solidFill>
                  <a:schemeClr val="bg1"/>
                </a:solidFill>
                <a:sym typeface="Arial"/>
              </a:rPr>
              <a:t>Climate governance, strategy, risk management and metrics and targets.</a:t>
            </a:r>
          </a:p>
          <a:p>
            <a:pPr algn="just">
              <a:lnSpc>
                <a:spcPct val="120000"/>
              </a:lnSpc>
              <a:spcAft>
                <a:spcPts val="300"/>
              </a:spcAft>
            </a:pPr>
            <a:endParaRPr lang="en-US" sz="1200" b="0" dirty="0">
              <a:solidFill>
                <a:schemeClr val="bg1"/>
              </a:solidFill>
              <a:sym typeface="Arial"/>
            </a:endParaRPr>
          </a:p>
          <a:p>
            <a:pPr algn="just">
              <a:lnSpc>
                <a:spcPct val="120000"/>
              </a:lnSpc>
              <a:spcAft>
                <a:spcPts val="300"/>
              </a:spcAft>
            </a:pPr>
            <a:r>
              <a:rPr lang="en-US" sz="1200" b="0" dirty="0">
                <a:solidFill>
                  <a:schemeClr val="bg1"/>
                </a:solidFill>
                <a:sym typeface="Arial"/>
              </a:rPr>
              <a:t>CARB has also released a draft checklist firms can use in preparing reports which aligns very closely to TCFD.</a:t>
            </a:r>
          </a:p>
          <a:p>
            <a:pPr algn="just">
              <a:lnSpc>
                <a:spcPct val="120000"/>
              </a:lnSpc>
              <a:spcAft>
                <a:spcPts val="300"/>
              </a:spcAft>
            </a:pPr>
            <a:endParaRPr lang="en-US" b="1" dirty="0"/>
          </a:p>
        </p:txBody>
      </p:sp>
      <p:sp>
        <p:nvSpPr>
          <p:cNvPr id="4" name="Slide Number Placeholder 3">
            <a:extLst>
              <a:ext uri="{FF2B5EF4-FFF2-40B4-BE49-F238E27FC236}">
                <a16:creationId xmlns:a16="http://schemas.microsoft.com/office/drawing/2014/main" id="{5517DFB5-D4EB-6D1C-3969-159404190A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D80941-F44B-A84A-BFC5-71266149E8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Calibri"/>
              <a:cs typeface="Calibri"/>
              <a:sym typeface="Calibri"/>
            </a:endParaRPr>
          </a:p>
        </p:txBody>
      </p:sp>
    </p:spTree>
    <p:extLst>
      <p:ext uri="{BB962C8B-B14F-4D97-AF65-F5344CB8AC3E}">
        <p14:creationId xmlns:p14="http://schemas.microsoft.com/office/powerpoint/2010/main" val="2732528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123CB-2469-9E45-BFEA-DE7EC9492F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1019CD-C751-2442-AE38-90A637BC448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BCB10327-CF36-C2B2-F4DF-E905734BC612}"/>
              </a:ext>
            </a:extLst>
          </p:cNvPr>
          <p:cNvSpPr>
            <a:spLocks noGrp="1"/>
          </p:cNvSpPr>
          <p:nvPr>
            <p:ph type="body" idx="1"/>
          </p:nvPr>
        </p:nvSpPr>
        <p:spPr/>
        <p:txBody>
          <a:bodyPr/>
          <a:lstStyle/>
          <a:p>
            <a:pPr algn="just">
              <a:lnSpc>
                <a:spcPct val="120000"/>
              </a:lnSpc>
              <a:spcAft>
                <a:spcPts val="300"/>
              </a:spcAft>
            </a:pPr>
            <a:r>
              <a:rPr lang="en-US" b="1" dirty="0"/>
              <a:t>For SB 253, </a:t>
            </a:r>
          </a:p>
          <a:p>
            <a:pPr algn="just">
              <a:lnSpc>
                <a:spcPct val="120000"/>
              </a:lnSpc>
              <a:spcAft>
                <a:spcPts val="300"/>
              </a:spcAft>
            </a:pPr>
            <a:r>
              <a:rPr lang="en-US" b="0" dirty="0"/>
              <a:t>Firms must report scope 1 &amp; 2 emissions</a:t>
            </a:r>
            <a:r>
              <a:rPr lang="en-US" b="1" dirty="0"/>
              <a:t>, </a:t>
            </a:r>
            <a:r>
              <a:rPr lang="en-US" b="0" dirty="0"/>
              <a:t>direct emission and electricity/steam/heating based. The proposed deadlines is currently June 2026, and annually thereafter.</a:t>
            </a:r>
          </a:p>
          <a:p>
            <a:pPr algn="just">
              <a:lnSpc>
                <a:spcPct val="120000"/>
              </a:lnSpc>
              <a:spcAft>
                <a:spcPts val="300"/>
              </a:spcAft>
            </a:pPr>
            <a:r>
              <a:rPr lang="en-US" b="0" dirty="0"/>
              <a:t>Luckily Scope 3 emissions are not required in the initial reporting year. Firms have until 2027 to capture those additional upstream and downstream emissions.</a:t>
            </a:r>
          </a:p>
          <a:p>
            <a:pPr algn="just">
              <a:lnSpc>
                <a:spcPct val="120000"/>
              </a:lnSpc>
              <a:spcAft>
                <a:spcPts val="300"/>
              </a:spcAft>
            </a:pPr>
            <a:r>
              <a:rPr lang="en-US" b="0" dirty="0"/>
              <a:t>And for all emissions, third–party verification is required</a:t>
            </a:r>
          </a:p>
          <a:p>
            <a:pPr marL="0" marR="0" lvl="0" indent="0" algn="just" defTabSz="914400" rtl="0" eaLnBrk="1" fontAlgn="auto" latinLnBrk="0" hangingPunct="1">
              <a:lnSpc>
                <a:spcPct val="120000"/>
              </a:lnSpc>
              <a:spcBef>
                <a:spcPts val="0"/>
              </a:spcBef>
              <a:spcAft>
                <a:spcPts val="300"/>
              </a:spcAft>
              <a:buClrTx/>
              <a:buSzTx/>
              <a:buFontTx/>
              <a:buNone/>
              <a:tabLst/>
              <a:defRPr/>
            </a:pPr>
            <a:endParaRPr lang="en-US" sz="1200" b="0" i="0" kern="1200" dirty="0">
              <a:solidFill>
                <a:schemeClr val="tx1"/>
              </a:solidFill>
              <a:effectLst/>
              <a:latin typeface="+mn-lt"/>
              <a:ea typeface="+mn-ea"/>
              <a:cs typeface="+mn-cs"/>
            </a:endParaRPr>
          </a:p>
          <a:p>
            <a:pPr marL="0" marR="0" lvl="0" indent="0" algn="just" defTabSz="914400" rtl="0" eaLnBrk="1" fontAlgn="auto" latinLnBrk="0" hangingPunct="1">
              <a:lnSpc>
                <a:spcPct val="120000"/>
              </a:lnSpc>
              <a:spcBef>
                <a:spcPts val="0"/>
              </a:spcBef>
              <a:spcAft>
                <a:spcPts val="300"/>
              </a:spcAft>
              <a:buClrTx/>
              <a:buSzTx/>
              <a:buFontTx/>
              <a:buNone/>
              <a:tabLst/>
              <a:defRPr/>
            </a:pPr>
            <a:r>
              <a:rPr lang="en-US" sz="1200" b="0" i="0" kern="1200" dirty="0">
                <a:solidFill>
                  <a:schemeClr val="tx1"/>
                </a:solidFill>
                <a:effectLst/>
                <a:latin typeface="+mn-lt"/>
                <a:ea typeface="+mn-ea"/>
                <a:cs typeface="+mn-cs"/>
              </a:rPr>
              <a:t>Fortunately, the bill itself asks companies to align the Greenhouse Gas Protocol which is the leading voluntary reporting standard, so practitioners do have a good sense of what a compliant footprint should look like</a:t>
            </a:r>
            <a:endParaRPr lang="en-US" b="0" dirty="0"/>
          </a:p>
          <a:p>
            <a:pPr algn="just">
              <a:lnSpc>
                <a:spcPct val="120000"/>
              </a:lnSpc>
              <a:spcAft>
                <a:spcPts val="300"/>
              </a:spcAft>
            </a:pPr>
            <a:endParaRPr lang="en-US" b="0" dirty="0"/>
          </a:p>
        </p:txBody>
      </p:sp>
      <p:sp>
        <p:nvSpPr>
          <p:cNvPr id="4" name="Slide Number Placeholder 3">
            <a:extLst>
              <a:ext uri="{FF2B5EF4-FFF2-40B4-BE49-F238E27FC236}">
                <a16:creationId xmlns:a16="http://schemas.microsoft.com/office/drawing/2014/main" id="{F154EE56-9F9C-54C7-3AEF-C1E4C8FC57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D80941-F44B-A84A-BFC5-71266149E8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Calibri"/>
              <a:cs typeface="Calibri"/>
              <a:sym typeface="Calibri"/>
            </a:endParaRPr>
          </a:p>
        </p:txBody>
      </p:sp>
    </p:spTree>
    <p:extLst>
      <p:ext uri="{BB962C8B-B14F-4D97-AF65-F5344CB8AC3E}">
        <p14:creationId xmlns:p14="http://schemas.microsoft.com/office/powerpoint/2010/main" val="2641985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1856A-7B67-22FA-2BFE-D3738A3E78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A71F61-B048-4F05-21F9-F6C18B2D63DB}"/>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E2165EA8-7265-1BC4-66EF-A8CFF69224EE}"/>
              </a:ext>
            </a:extLst>
          </p:cNvPr>
          <p:cNvSpPr>
            <a:spLocks noGrp="1"/>
          </p:cNvSpPr>
          <p:nvPr>
            <p:ph type="body" idx="1"/>
          </p:nvPr>
        </p:nvSpPr>
        <p:spPr/>
        <p:txBody>
          <a:bodyPr/>
          <a:lstStyle/>
          <a:p>
            <a:pPr marL="0" indent="0">
              <a:buFont typeface="+mj-lt"/>
              <a:buNone/>
            </a:pPr>
            <a:r>
              <a:rPr lang="en-US" b="0" dirty="0"/>
              <a:t>There is a lot to prepare for both bills, so we recommend a few steps to focus efforts</a:t>
            </a:r>
          </a:p>
          <a:p>
            <a:pPr marL="171450" indent="-171450">
              <a:buFont typeface="Arial" panose="020B0604020202020204" pitchFamily="34" charset="0"/>
              <a:buChar char="•"/>
            </a:pPr>
            <a:r>
              <a:rPr lang="en-US" b="0" dirty="0"/>
              <a:t>A readiness assessment – to inventory internal and external documentation globally to leverage as much existing work as possible; </a:t>
            </a:r>
          </a:p>
          <a:p>
            <a:pPr marL="628650" lvl="1" indent="-171450">
              <a:buFont typeface="Arial" panose="020B0604020202020204" pitchFamily="34" charset="0"/>
              <a:buChar char="•"/>
            </a:pPr>
            <a:r>
              <a:rPr lang="en-US" b="0" dirty="0"/>
              <a:t>our clients are often surprised by how much their existing governance and risk management practices count for California.</a:t>
            </a:r>
          </a:p>
          <a:p>
            <a:pPr marL="171450" indent="-171450">
              <a:buFont typeface="Arial" panose="020B0604020202020204" pitchFamily="34" charset="0"/>
              <a:buChar char="•"/>
            </a:pPr>
            <a:r>
              <a:rPr lang="en-US" b="0" dirty="0"/>
              <a:t>The next step is to thoroughly assess climate risks and opportunities, evaluating the company’s resilience under different future scenarios – through a scenario analysis (latter is recommended not required by CARB in year 1)</a:t>
            </a:r>
          </a:p>
          <a:p>
            <a:pPr marL="171450" indent="-171450">
              <a:buFont typeface="Arial" panose="020B0604020202020204" pitchFamily="34" charset="0"/>
              <a:buChar char="•"/>
            </a:pPr>
            <a:r>
              <a:rPr lang="en-US" b="0" dirty="0"/>
              <a:t>SB 261 prep finish with drafting a compliant risk report ahead of the January deadline</a:t>
            </a:r>
          </a:p>
          <a:p>
            <a:pPr marL="171450" indent="-171450">
              <a:buFont typeface="Arial" panose="020B0604020202020204" pitchFamily="34" charset="0"/>
              <a:buChar char="•"/>
            </a:pPr>
            <a:r>
              <a:rPr lang="en-US" b="0" dirty="0"/>
              <a:t>And for SB 253 coming a little later in 2026, companies need to develop that GHG footprint with verification</a:t>
            </a:r>
          </a:p>
          <a:p>
            <a:pPr marL="171450" indent="-171450">
              <a:buFont typeface="Arial" panose="020B0604020202020204" pitchFamily="34" charset="0"/>
              <a:buChar char="•"/>
            </a:pPr>
            <a:endParaRPr lang="en-US" b="0" dirty="0"/>
          </a:p>
          <a:p>
            <a:pPr marL="0" indent="0">
              <a:buFont typeface="Arial" panose="020B0604020202020204" pitchFamily="34" charset="0"/>
              <a:buNone/>
            </a:pPr>
            <a:r>
              <a:rPr lang="en-US" b="0" dirty="0"/>
              <a:t>Its not a small amount of work in the first year, but if you set up the right processes, it can save a ton of time and headaches in future years.</a:t>
            </a:r>
          </a:p>
          <a:p>
            <a:pPr marL="0" indent="0">
              <a:buFont typeface="Arial" panose="020B0604020202020204" pitchFamily="34" charset="0"/>
              <a:buNone/>
            </a:pPr>
            <a:endParaRPr lang="en-US" b="0" dirty="0"/>
          </a:p>
          <a:p>
            <a:pPr marL="0" indent="0">
              <a:buFont typeface="Arial" panose="020B0604020202020204" pitchFamily="34" charset="0"/>
              <a:buNone/>
            </a:pPr>
            <a:r>
              <a:rPr lang="en-US" b="0" dirty="0"/>
              <a:t>Now I’m going to hand it back to Wilson to help with FAQs</a:t>
            </a:r>
          </a:p>
          <a:p>
            <a:pPr marL="0" indent="0">
              <a:buFont typeface="Arial" panose="020B0604020202020204" pitchFamily="34" charset="0"/>
              <a:buNone/>
            </a:pPr>
            <a:endParaRPr lang="en-US" b="0" dirty="0"/>
          </a:p>
          <a:p>
            <a:pPr marL="0" indent="0">
              <a:buFont typeface="Arial" panose="020B0604020202020204" pitchFamily="34" charset="0"/>
              <a:buNone/>
            </a:pPr>
            <a:endParaRPr lang="en-US" b="0" dirty="0"/>
          </a:p>
        </p:txBody>
      </p:sp>
    </p:spTree>
    <p:extLst>
      <p:ext uri="{BB962C8B-B14F-4D97-AF65-F5344CB8AC3E}">
        <p14:creationId xmlns:p14="http://schemas.microsoft.com/office/powerpoint/2010/main" val="3706411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1EA7A-DA7F-CB66-9006-4B540B744D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551F07-466E-2EBF-DE6B-33FC0709EE5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335F326F-53A1-3511-5467-45CDCB77E2FC}"/>
              </a:ext>
            </a:extLst>
          </p:cNvPr>
          <p:cNvSpPr>
            <a:spLocks noGrp="1"/>
          </p:cNvSpPr>
          <p:nvPr>
            <p:ph type="body" idx="1"/>
          </p:nvPr>
        </p:nvSpPr>
        <p:spPr/>
        <p:txBody>
          <a:bodyPr/>
          <a:lstStyle/>
          <a:p>
            <a:r>
              <a:rPr lang="en-US" dirty="0"/>
              <a:t>Amanda: ask for Wilson’s help for the upcoming slides.</a:t>
            </a:r>
          </a:p>
          <a:p>
            <a:endParaRPr lang="en-US" dirty="0"/>
          </a:p>
          <a:p>
            <a:r>
              <a:rPr lang="en-US" dirty="0"/>
              <a:t>Wilson: While we have the expert on the line, next we’d like to highlights some frequently asked questions we’ve heard from our clients, </a:t>
            </a:r>
          </a:p>
          <a:p>
            <a:r>
              <a:rPr lang="en-US" dirty="0"/>
              <a:t>with some best practices from those who are moving quickly to prepare for CA </a:t>
            </a:r>
          </a:p>
        </p:txBody>
      </p:sp>
    </p:spTree>
    <p:extLst>
      <p:ext uri="{BB962C8B-B14F-4D97-AF65-F5344CB8AC3E}">
        <p14:creationId xmlns:p14="http://schemas.microsoft.com/office/powerpoint/2010/main" val="2660009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0.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1.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7.bin"/><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5.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5.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5.emf"/><Relationship Id="rId4" Type="http://schemas.openxmlformats.org/officeDocument/2006/relationships/oleObject" Target="../embeddings/oleObject6.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png"/><Relationship Id="rId5" Type="http://schemas.openxmlformats.org/officeDocument/2006/relationships/image" Target="../media/image15.emf"/><Relationship Id="rId4" Type="http://schemas.openxmlformats.org/officeDocument/2006/relationships/oleObject" Target="../embeddings/oleObject6.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7.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7.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8.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7_Title Slid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9D2A16-24A6-AA7D-BFB7-9E6C4A3A004A}"/>
              </a:ext>
            </a:extLst>
          </p:cNvPr>
          <p:cNvGraphicFramePr>
            <a:graphicFrameLocks noChangeAspect="1"/>
          </p:cNvGraphicFramePr>
          <p:nvPr>
            <p:custDataLst>
              <p:tags r:id="rId1"/>
            </p:custDataLst>
            <p:extLst>
              <p:ext uri="{D42A27DB-BD31-4B8C-83A1-F6EECF244321}">
                <p14:modId xmlns:p14="http://schemas.microsoft.com/office/powerpoint/2010/main" val="42800514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A39D2A16-24A6-AA7D-BFB7-9E6C4A3A00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FF7C56F3-4ADE-C7DC-42AE-FDA780D7467C}"/>
              </a:ext>
            </a:extLst>
          </p:cNvPr>
          <p:cNvSpPr/>
          <p:nvPr userDrawn="1"/>
        </p:nvSpPr>
        <p:spPr>
          <a:xfrm>
            <a:off x="2" y="-7496"/>
            <a:ext cx="11961045" cy="6865497"/>
          </a:xfrm>
          <a:custGeom>
            <a:avLst/>
            <a:gdLst>
              <a:gd name="connsiteX0" fmla="*/ 0 w 11961045"/>
              <a:gd name="connsiteY0" fmla="*/ 0 h 6865497"/>
              <a:gd name="connsiteX1" fmla="*/ 11465408 w 11961045"/>
              <a:gd name="connsiteY1" fmla="*/ 0 h 6865497"/>
              <a:gd name="connsiteX2" fmla="*/ 11609808 w 11961045"/>
              <a:gd name="connsiteY2" fmla="*/ 524966 h 6865497"/>
              <a:gd name="connsiteX3" fmla="*/ 11961045 w 11961045"/>
              <a:gd name="connsiteY3" fmla="*/ 3436498 h 6865497"/>
              <a:gd name="connsiteX4" fmla="*/ 11609807 w 11961045"/>
              <a:gd name="connsiteY4" fmla="*/ 6348030 h 6865497"/>
              <a:gd name="connsiteX5" fmla="*/ 11467471 w 11961045"/>
              <a:gd name="connsiteY5" fmla="*/ 6865497 h 6865497"/>
              <a:gd name="connsiteX6" fmla="*/ 0 w 11961045"/>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1045" h="6865497">
                <a:moveTo>
                  <a:pt x="0" y="0"/>
                </a:moveTo>
                <a:lnTo>
                  <a:pt x="11465408" y="0"/>
                </a:lnTo>
                <a:lnTo>
                  <a:pt x="11609808" y="524966"/>
                </a:lnTo>
                <a:cubicBezTo>
                  <a:pt x="11837817" y="1441845"/>
                  <a:pt x="11961045" y="2420383"/>
                  <a:pt x="11961045" y="3436498"/>
                </a:cubicBezTo>
                <a:cubicBezTo>
                  <a:pt x="11961045" y="4452613"/>
                  <a:pt x="11837817" y="5431152"/>
                  <a:pt x="11609807" y="6348030"/>
                </a:cubicBezTo>
                <a:lnTo>
                  <a:pt x="11467471" y="6865497"/>
                </a:lnTo>
                <a:lnTo>
                  <a:pt x="0" y="6865497"/>
                </a:ln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pic>
        <p:nvPicPr>
          <p:cNvPr id="16" name="Picture 6">
            <a:extLst>
              <a:ext uri="{FF2B5EF4-FFF2-40B4-BE49-F238E27FC236}">
                <a16:creationId xmlns:a16="http://schemas.microsoft.com/office/drawing/2014/main" id="{1C6FDF36-0C66-F390-7047-913673055650}"/>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45388" y="2494061"/>
            <a:ext cx="3270086" cy="585687"/>
          </a:xfrm>
          <a:prstGeom prst="rect">
            <a:avLst/>
          </a:prstGeom>
        </p:spPr>
      </p:pic>
      <p:sp>
        <p:nvSpPr>
          <p:cNvPr id="15" name="TextBox 14">
            <a:extLst>
              <a:ext uri="{FF2B5EF4-FFF2-40B4-BE49-F238E27FC236}">
                <a16:creationId xmlns:a16="http://schemas.microsoft.com/office/drawing/2014/main" id="{DDB29623-A0A4-8CEA-693E-925A835FC35B}"/>
              </a:ext>
            </a:extLst>
          </p:cNvPr>
          <p:cNvSpPr txBox="1">
            <a:spLocks/>
          </p:cNvSpPr>
          <p:nvPr userDrawn="1"/>
        </p:nvSpPr>
        <p:spPr>
          <a:xfrm>
            <a:off x="-2" y="1929384"/>
            <a:ext cx="5295272" cy="2999232"/>
          </a:xfrm>
          <a:custGeom>
            <a:avLst/>
            <a:gdLst>
              <a:gd name="connsiteX0" fmla="*/ 1027075 w 5295272"/>
              <a:gd name="connsiteY0" fmla="*/ 1126219 h 2999232"/>
              <a:gd name="connsiteX1" fmla="*/ 1028413 w 5295272"/>
              <a:gd name="connsiteY1" fmla="*/ 1126219 h 2999232"/>
              <a:gd name="connsiteX2" fmla="*/ 1032059 w 5295272"/>
              <a:gd name="connsiteY2" fmla="*/ 1126458 h 2999232"/>
              <a:gd name="connsiteX3" fmla="*/ 1033154 w 5295272"/>
              <a:gd name="connsiteY3" fmla="*/ 1127175 h 2999232"/>
              <a:gd name="connsiteX4" fmla="*/ 1033518 w 5295272"/>
              <a:gd name="connsiteY4" fmla="*/ 1128370 h 2999232"/>
              <a:gd name="connsiteX5" fmla="*/ 1033154 w 5295272"/>
              <a:gd name="connsiteY5" fmla="*/ 1129566 h 2999232"/>
              <a:gd name="connsiteX6" fmla="*/ 1032059 w 5295272"/>
              <a:gd name="connsiteY6" fmla="*/ 1130402 h 2999232"/>
              <a:gd name="connsiteX7" fmla="*/ 1028413 w 5295272"/>
              <a:gd name="connsiteY7" fmla="*/ 1130641 h 2999232"/>
              <a:gd name="connsiteX8" fmla="*/ 1027075 w 5295272"/>
              <a:gd name="connsiteY8" fmla="*/ 1130641 h 2999232"/>
              <a:gd name="connsiteX9" fmla="*/ 1023672 w 5295272"/>
              <a:gd name="connsiteY9" fmla="*/ 1123589 h 2999232"/>
              <a:gd name="connsiteX10" fmla="*/ 1023672 w 5295272"/>
              <a:gd name="connsiteY10" fmla="*/ 1139965 h 2999232"/>
              <a:gd name="connsiteX11" fmla="*/ 1023793 w 5295272"/>
              <a:gd name="connsiteY11" fmla="*/ 1139965 h 2999232"/>
              <a:gd name="connsiteX12" fmla="*/ 1027197 w 5295272"/>
              <a:gd name="connsiteY12" fmla="*/ 1139965 h 2999232"/>
              <a:gd name="connsiteX13" fmla="*/ 1027197 w 5295272"/>
              <a:gd name="connsiteY13" fmla="*/ 1133271 h 2999232"/>
              <a:gd name="connsiteX14" fmla="*/ 1028048 w 5295272"/>
              <a:gd name="connsiteY14" fmla="*/ 1133271 h 2999232"/>
              <a:gd name="connsiteX15" fmla="*/ 1030358 w 5295272"/>
              <a:gd name="connsiteY15" fmla="*/ 1133988 h 2999232"/>
              <a:gd name="connsiteX16" fmla="*/ 1032667 w 5295272"/>
              <a:gd name="connsiteY16" fmla="*/ 1137335 h 2999232"/>
              <a:gd name="connsiteX17" fmla="*/ 1034126 w 5295272"/>
              <a:gd name="connsiteY17" fmla="*/ 1139965 h 2999232"/>
              <a:gd name="connsiteX18" fmla="*/ 1038259 w 5295272"/>
              <a:gd name="connsiteY18" fmla="*/ 1139965 h 2999232"/>
              <a:gd name="connsiteX19" fmla="*/ 1036314 w 5295272"/>
              <a:gd name="connsiteY19" fmla="*/ 1136618 h 2999232"/>
              <a:gd name="connsiteX20" fmla="*/ 1035099 w 5295272"/>
              <a:gd name="connsiteY20" fmla="*/ 1134586 h 2999232"/>
              <a:gd name="connsiteX21" fmla="*/ 1034004 w 5295272"/>
              <a:gd name="connsiteY21" fmla="*/ 1133271 h 2999232"/>
              <a:gd name="connsiteX22" fmla="*/ 1032789 w 5295272"/>
              <a:gd name="connsiteY22" fmla="*/ 1132673 h 2999232"/>
              <a:gd name="connsiteX23" fmla="*/ 1036071 w 5295272"/>
              <a:gd name="connsiteY23" fmla="*/ 1131119 h 2999232"/>
              <a:gd name="connsiteX24" fmla="*/ 1037287 w 5295272"/>
              <a:gd name="connsiteY24" fmla="*/ 1128131 h 2999232"/>
              <a:gd name="connsiteX25" fmla="*/ 1036679 w 5295272"/>
              <a:gd name="connsiteY25" fmla="*/ 1125741 h 2999232"/>
              <a:gd name="connsiteX26" fmla="*/ 1035099 w 5295272"/>
              <a:gd name="connsiteY26" fmla="*/ 1124187 h 2999232"/>
              <a:gd name="connsiteX27" fmla="*/ 1032424 w 5295272"/>
              <a:gd name="connsiteY27" fmla="*/ 1123589 h 2999232"/>
              <a:gd name="connsiteX28" fmla="*/ 1027075 w 5295272"/>
              <a:gd name="connsiteY28" fmla="*/ 1123589 h 2999232"/>
              <a:gd name="connsiteX29" fmla="*/ 1030844 w 5295272"/>
              <a:gd name="connsiteY29" fmla="*/ 1119286 h 2999232"/>
              <a:gd name="connsiteX30" fmla="*/ 1037044 w 5295272"/>
              <a:gd name="connsiteY30" fmla="*/ 1120840 h 2999232"/>
              <a:gd name="connsiteX31" fmla="*/ 1041785 w 5295272"/>
              <a:gd name="connsiteY31" fmla="*/ 1125382 h 2999232"/>
              <a:gd name="connsiteX32" fmla="*/ 1043487 w 5295272"/>
              <a:gd name="connsiteY32" fmla="*/ 1131598 h 2999232"/>
              <a:gd name="connsiteX33" fmla="*/ 1041785 w 5295272"/>
              <a:gd name="connsiteY33" fmla="*/ 1137813 h 2999232"/>
              <a:gd name="connsiteX34" fmla="*/ 1037165 w 5295272"/>
              <a:gd name="connsiteY34" fmla="*/ 1142355 h 2999232"/>
              <a:gd name="connsiteX35" fmla="*/ 1030844 w 5295272"/>
              <a:gd name="connsiteY35" fmla="*/ 1144028 h 2999232"/>
              <a:gd name="connsiteX36" fmla="*/ 1024522 w 5295272"/>
              <a:gd name="connsiteY36" fmla="*/ 1142355 h 2999232"/>
              <a:gd name="connsiteX37" fmla="*/ 1019903 w 5295272"/>
              <a:gd name="connsiteY37" fmla="*/ 1137813 h 2999232"/>
              <a:gd name="connsiteX38" fmla="*/ 1018201 w 5295272"/>
              <a:gd name="connsiteY38" fmla="*/ 1131598 h 2999232"/>
              <a:gd name="connsiteX39" fmla="*/ 1019903 w 5295272"/>
              <a:gd name="connsiteY39" fmla="*/ 1125382 h 2999232"/>
              <a:gd name="connsiteX40" fmla="*/ 1024644 w 5295272"/>
              <a:gd name="connsiteY40" fmla="*/ 1120840 h 2999232"/>
              <a:gd name="connsiteX41" fmla="*/ 1030844 w 5295272"/>
              <a:gd name="connsiteY41" fmla="*/ 1119286 h 2999232"/>
              <a:gd name="connsiteX42" fmla="*/ 1030844 w 5295272"/>
              <a:gd name="connsiteY42" fmla="*/ 1116298 h 2999232"/>
              <a:gd name="connsiteX43" fmla="*/ 1023064 w 5295272"/>
              <a:gd name="connsiteY43" fmla="*/ 1118330 h 2999232"/>
              <a:gd name="connsiteX44" fmla="*/ 1017229 w 5295272"/>
              <a:gd name="connsiteY44" fmla="*/ 1124067 h 2999232"/>
              <a:gd name="connsiteX45" fmla="*/ 1015162 w 5295272"/>
              <a:gd name="connsiteY45" fmla="*/ 1131837 h 2999232"/>
              <a:gd name="connsiteX46" fmla="*/ 1017229 w 5295272"/>
              <a:gd name="connsiteY46" fmla="*/ 1139486 h 2999232"/>
              <a:gd name="connsiteX47" fmla="*/ 1023064 w 5295272"/>
              <a:gd name="connsiteY47" fmla="*/ 1145224 h 2999232"/>
              <a:gd name="connsiteX48" fmla="*/ 1030844 w 5295272"/>
              <a:gd name="connsiteY48" fmla="*/ 1147256 h 2999232"/>
              <a:gd name="connsiteX49" fmla="*/ 1038624 w 5295272"/>
              <a:gd name="connsiteY49" fmla="*/ 1145224 h 2999232"/>
              <a:gd name="connsiteX50" fmla="*/ 1044459 w 5295272"/>
              <a:gd name="connsiteY50" fmla="*/ 1139486 h 2999232"/>
              <a:gd name="connsiteX51" fmla="*/ 1046526 w 5295272"/>
              <a:gd name="connsiteY51" fmla="*/ 1131837 h 2999232"/>
              <a:gd name="connsiteX52" fmla="*/ 1044459 w 5295272"/>
              <a:gd name="connsiteY52" fmla="*/ 1124067 h 2999232"/>
              <a:gd name="connsiteX53" fmla="*/ 1038624 w 5295272"/>
              <a:gd name="connsiteY53" fmla="*/ 1118330 h 2999232"/>
              <a:gd name="connsiteX54" fmla="*/ 1030844 w 5295272"/>
              <a:gd name="connsiteY54" fmla="*/ 1116298 h 2999232"/>
              <a:gd name="connsiteX55" fmla="*/ 577408 w 5295272"/>
              <a:gd name="connsiteY55" fmla="*/ 905570 h 2999232"/>
              <a:gd name="connsiteX56" fmla="*/ 577287 w 5295272"/>
              <a:gd name="connsiteY56" fmla="*/ 905690 h 2999232"/>
              <a:gd name="connsiteX57" fmla="*/ 454628 w 5295272"/>
              <a:gd name="connsiteY57" fmla="*/ 1026293 h 2999232"/>
              <a:gd name="connsiteX58" fmla="*/ 577408 w 5295272"/>
              <a:gd name="connsiteY58" fmla="*/ 1146777 h 2999232"/>
              <a:gd name="connsiteX59" fmla="*/ 700067 w 5295272"/>
              <a:gd name="connsiteY59" fmla="*/ 1026174 h 2999232"/>
              <a:gd name="connsiteX60" fmla="*/ 577408 w 5295272"/>
              <a:gd name="connsiteY60" fmla="*/ 905570 h 2999232"/>
              <a:gd name="connsiteX61" fmla="*/ 3534223 w 5295272"/>
              <a:gd name="connsiteY61" fmla="*/ 817120 h 2999232"/>
              <a:gd name="connsiteX62" fmla="*/ 3568869 w 5295272"/>
              <a:gd name="connsiteY62" fmla="*/ 824411 h 2999232"/>
              <a:gd name="connsiteX63" fmla="*/ 3596707 w 5295272"/>
              <a:gd name="connsiteY63" fmla="*/ 844850 h 2999232"/>
              <a:gd name="connsiteX64" fmla="*/ 3615307 w 5295272"/>
              <a:gd name="connsiteY64" fmla="*/ 876406 h 2999232"/>
              <a:gd name="connsiteX65" fmla="*/ 3621993 w 5295272"/>
              <a:gd name="connsiteY65" fmla="*/ 916089 h 2999232"/>
              <a:gd name="connsiteX66" fmla="*/ 3615307 w 5295272"/>
              <a:gd name="connsiteY66" fmla="*/ 956489 h 2999232"/>
              <a:gd name="connsiteX67" fmla="*/ 3596707 w 5295272"/>
              <a:gd name="connsiteY67" fmla="*/ 988045 h 2999232"/>
              <a:gd name="connsiteX68" fmla="*/ 3568869 w 5295272"/>
              <a:gd name="connsiteY68" fmla="*/ 1008484 h 2999232"/>
              <a:gd name="connsiteX69" fmla="*/ 3534223 w 5295272"/>
              <a:gd name="connsiteY69" fmla="*/ 1015775 h 2999232"/>
              <a:gd name="connsiteX70" fmla="*/ 3499577 w 5295272"/>
              <a:gd name="connsiteY70" fmla="*/ 1008484 h 2999232"/>
              <a:gd name="connsiteX71" fmla="*/ 3471739 w 5295272"/>
              <a:gd name="connsiteY71" fmla="*/ 988045 h 2999232"/>
              <a:gd name="connsiteX72" fmla="*/ 3453139 w 5295272"/>
              <a:gd name="connsiteY72" fmla="*/ 956848 h 2999232"/>
              <a:gd name="connsiteX73" fmla="*/ 3446453 w 5295272"/>
              <a:gd name="connsiteY73" fmla="*/ 916806 h 2999232"/>
              <a:gd name="connsiteX74" fmla="*/ 3446453 w 5295272"/>
              <a:gd name="connsiteY74" fmla="*/ 916687 h 2999232"/>
              <a:gd name="connsiteX75" fmla="*/ 3453139 w 5295272"/>
              <a:gd name="connsiteY75" fmla="*/ 877003 h 2999232"/>
              <a:gd name="connsiteX76" fmla="*/ 3471739 w 5295272"/>
              <a:gd name="connsiteY76" fmla="*/ 845448 h 2999232"/>
              <a:gd name="connsiteX77" fmla="*/ 3499577 w 5295272"/>
              <a:gd name="connsiteY77" fmla="*/ 824650 h 2999232"/>
              <a:gd name="connsiteX78" fmla="*/ 3534223 w 5295272"/>
              <a:gd name="connsiteY78" fmla="*/ 817120 h 2999232"/>
              <a:gd name="connsiteX79" fmla="*/ 2694576 w 5295272"/>
              <a:gd name="connsiteY79" fmla="*/ 808155 h 2999232"/>
              <a:gd name="connsiteX80" fmla="*/ 2753535 w 5295272"/>
              <a:gd name="connsiteY80" fmla="*/ 830148 h 2999232"/>
              <a:gd name="connsiteX81" fmla="*/ 2781009 w 5295272"/>
              <a:gd name="connsiteY81" fmla="*/ 888717 h 2999232"/>
              <a:gd name="connsiteX82" fmla="*/ 2781130 w 5295272"/>
              <a:gd name="connsiteY82" fmla="*/ 888836 h 2999232"/>
              <a:gd name="connsiteX83" fmla="*/ 2609481 w 5295272"/>
              <a:gd name="connsiteY83" fmla="*/ 888836 h 2999232"/>
              <a:gd name="connsiteX84" fmla="*/ 2617990 w 5295272"/>
              <a:gd name="connsiteY84" fmla="*/ 855966 h 2999232"/>
              <a:gd name="connsiteX85" fmla="*/ 2636590 w 5295272"/>
              <a:gd name="connsiteY85" fmla="*/ 830507 h 2999232"/>
              <a:gd name="connsiteX86" fmla="*/ 2662726 w 5295272"/>
              <a:gd name="connsiteY86" fmla="*/ 814012 h 2999232"/>
              <a:gd name="connsiteX87" fmla="*/ 2694576 w 5295272"/>
              <a:gd name="connsiteY87" fmla="*/ 808155 h 2999232"/>
              <a:gd name="connsiteX88" fmla="*/ 1795121 w 5295272"/>
              <a:gd name="connsiteY88" fmla="*/ 749586 h 2999232"/>
              <a:gd name="connsiteX89" fmla="*/ 1795121 w 5295272"/>
              <a:gd name="connsiteY89" fmla="*/ 1085101 h 2999232"/>
              <a:gd name="connsiteX90" fmla="*/ 1881189 w 5295272"/>
              <a:gd name="connsiteY90" fmla="*/ 1085101 h 2999232"/>
              <a:gd name="connsiteX91" fmla="*/ 1881189 w 5295272"/>
              <a:gd name="connsiteY91" fmla="*/ 749586 h 2999232"/>
              <a:gd name="connsiteX92" fmla="*/ 2369878 w 5295272"/>
              <a:gd name="connsiteY92" fmla="*/ 748271 h 2999232"/>
              <a:gd name="connsiteX93" fmla="*/ 2297911 w 5295272"/>
              <a:gd name="connsiteY93" fmla="*/ 766320 h 2999232"/>
              <a:gd name="connsiteX94" fmla="*/ 2245882 w 5295272"/>
              <a:gd name="connsiteY94" fmla="*/ 818434 h 2999232"/>
              <a:gd name="connsiteX95" fmla="*/ 2216341 w 5295272"/>
              <a:gd name="connsiteY95" fmla="*/ 768591 h 2999232"/>
              <a:gd name="connsiteX96" fmla="*/ 2150818 w 5295272"/>
              <a:gd name="connsiteY96" fmla="*/ 748391 h 2999232"/>
              <a:gd name="connsiteX97" fmla="*/ 2076664 w 5295272"/>
              <a:gd name="connsiteY97" fmla="*/ 765722 h 2999232"/>
              <a:gd name="connsiteX98" fmla="*/ 2025607 w 5295272"/>
              <a:gd name="connsiteY98" fmla="*/ 815326 h 2999232"/>
              <a:gd name="connsiteX99" fmla="*/ 2025607 w 5295272"/>
              <a:gd name="connsiteY99" fmla="*/ 749466 h 2999232"/>
              <a:gd name="connsiteX100" fmla="*/ 1947927 w 5295272"/>
              <a:gd name="connsiteY100" fmla="*/ 749466 h 2999232"/>
              <a:gd name="connsiteX101" fmla="*/ 1947927 w 5295272"/>
              <a:gd name="connsiteY101" fmla="*/ 1085101 h 2999232"/>
              <a:gd name="connsiteX102" fmla="*/ 2033995 w 5295272"/>
              <a:gd name="connsiteY102" fmla="*/ 1085101 h 2999232"/>
              <a:gd name="connsiteX103" fmla="*/ 2033995 w 5295272"/>
              <a:gd name="connsiteY103" fmla="*/ 891824 h 2999232"/>
              <a:gd name="connsiteX104" fmla="*/ 2066453 w 5295272"/>
              <a:gd name="connsiteY104" fmla="*/ 841981 h 2999232"/>
              <a:gd name="connsiteX105" fmla="*/ 2114349 w 5295272"/>
              <a:gd name="connsiteY105" fmla="*/ 823096 h 2999232"/>
              <a:gd name="connsiteX106" fmla="*/ 2152520 w 5295272"/>
              <a:gd name="connsiteY106" fmla="*/ 841383 h 2999232"/>
              <a:gd name="connsiteX107" fmla="*/ 2166379 w 5295272"/>
              <a:gd name="connsiteY107" fmla="*/ 899474 h 2999232"/>
              <a:gd name="connsiteX108" fmla="*/ 2166379 w 5295272"/>
              <a:gd name="connsiteY108" fmla="*/ 1085101 h 2999232"/>
              <a:gd name="connsiteX109" fmla="*/ 2252446 w 5295272"/>
              <a:gd name="connsiteY109" fmla="*/ 1085101 h 2999232"/>
              <a:gd name="connsiteX110" fmla="*/ 2252446 w 5295272"/>
              <a:gd name="connsiteY110" fmla="*/ 892541 h 2999232"/>
              <a:gd name="connsiteX111" fmla="*/ 2284539 w 5295272"/>
              <a:gd name="connsiteY111" fmla="*/ 842340 h 2999232"/>
              <a:gd name="connsiteX112" fmla="*/ 2332679 w 5295272"/>
              <a:gd name="connsiteY112" fmla="*/ 823096 h 2999232"/>
              <a:gd name="connsiteX113" fmla="*/ 2370850 w 5295272"/>
              <a:gd name="connsiteY113" fmla="*/ 841383 h 2999232"/>
              <a:gd name="connsiteX114" fmla="*/ 2384708 w 5295272"/>
              <a:gd name="connsiteY114" fmla="*/ 899474 h 2999232"/>
              <a:gd name="connsiteX115" fmla="*/ 2384708 w 5295272"/>
              <a:gd name="connsiteY115" fmla="*/ 1085101 h 2999232"/>
              <a:gd name="connsiteX116" fmla="*/ 2470776 w 5295272"/>
              <a:gd name="connsiteY116" fmla="*/ 1085101 h 2999232"/>
              <a:gd name="connsiteX117" fmla="*/ 2470655 w 5295272"/>
              <a:gd name="connsiteY117" fmla="*/ 1084862 h 2999232"/>
              <a:gd name="connsiteX118" fmla="*/ 2470655 w 5295272"/>
              <a:gd name="connsiteY118" fmla="*/ 878317 h 2999232"/>
              <a:gd name="connsiteX119" fmla="*/ 2466521 w 5295272"/>
              <a:gd name="connsiteY119" fmla="*/ 830984 h 2999232"/>
              <a:gd name="connsiteX120" fmla="*/ 2451447 w 5295272"/>
              <a:gd name="connsiteY120" fmla="*/ 789269 h 2999232"/>
              <a:gd name="connsiteX121" fmla="*/ 2420570 w 5295272"/>
              <a:gd name="connsiteY121" fmla="*/ 759626 h 2999232"/>
              <a:gd name="connsiteX122" fmla="*/ 2369878 w 5295272"/>
              <a:gd name="connsiteY122" fmla="*/ 748271 h 2999232"/>
              <a:gd name="connsiteX123" fmla="*/ 2695913 w 5295272"/>
              <a:gd name="connsiteY123" fmla="*/ 747913 h 2999232"/>
              <a:gd name="connsiteX124" fmla="*/ 2622975 w 5295272"/>
              <a:gd name="connsiteY124" fmla="*/ 761539 h 2999232"/>
              <a:gd name="connsiteX125" fmla="*/ 2567784 w 5295272"/>
              <a:gd name="connsiteY125" fmla="*/ 798473 h 2999232"/>
              <a:gd name="connsiteX126" fmla="*/ 2533017 w 5295272"/>
              <a:gd name="connsiteY126" fmla="*/ 852500 h 2999232"/>
              <a:gd name="connsiteX127" fmla="*/ 2520982 w 5295272"/>
              <a:gd name="connsiteY127" fmla="*/ 918001 h 2999232"/>
              <a:gd name="connsiteX128" fmla="*/ 2533260 w 5295272"/>
              <a:gd name="connsiteY128" fmla="*/ 981949 h 2999232"/>
              <a:gd name="connsiteX129" fmla="*/ 2568271 w 5295272"/>
              <a:gd name="connsiteY129" fmla="*/ 1035258 h 2999232"/>
              <a:gd name="connsiteX130" fmla="*/ 2623096 w 5295272"/>
              <a:gd name="connsiteY130" fmla="*/ 1071595 h 2999232"/>
              <a:gd name="connsiteX131" fmla="*/ 2695062 w 5295272"/>
              <a:gd name="connsiteY131" fmla="*/ 1084982 h 2999232"/>
              <a:gd name="connsiteX132" fmla="*/ 2695184 w 5295272"/>
              <a:gd name="connsiteY132" fmla="*/ 1084743 h 2999232"/>
              <a:gd name="connsiteX133" fmla="*/ 2790734 w 5295272"/>
              <a:gd name="connsiteY133" fmla="*/ 1060837 h 2999232"/>
              <a:gd name="connsiteX134" fmla="*/ 2849085 w 5295272"/>
              <a:gd name="connsiteY134" fmla="*/ 999758 h 2999232"/>
              <a:gd name="connsiteX135" fmla="*/ 2776511 w 5295272"/>
              <a:gd name="connsiteY135" fmla="*/ 979917 h 2999232"/>
              <a:gd name="connsiteX136" fmla="*/ 2745876 w 5295272"/>
              <a:gd name="connsiteY136" fmla="*/ 1011831 h 2999232"/>
              <a:gd name="connsiteX137" fmla="*/ 2698223 w 5295272"/>
              <a:gd name="connsiteY137" fmla="*/ 1023903 h 2999232"/>
              <a:gd name="connsiteX138" fmla="*/ 2666738 w 5295272"/>
              <a:gd name="connsiteY138" fmla="*/ 1018285 h 2999232"/>
              <a:gd name="connsiteX139" fmla="*/ 2639629 w 5295272"/>
              <a:gd name="connsiteY139" fmla="*/ 1002149 h 2999232"/>
              <a:gd name="connsiteX140" fmla="*/ 2620057 w 5295272"/>
              <a:gd name="connsiteY140" fmla="*/ 976690 h 2999232"/>
              <a:gd name="connsiteX141" fmla="*/ 2610575 w 5295272"/>
              <a:gd name="connsiteY141" fmla="*/ 942624 h 2999232"/>
              <a:gd name="connsiteX142" fmla="*/ 2866104 w 5295272"/>
              <a:gd name="connsiteY142" fmla="*/ 942624 h 2999232"/>
              <a:gd name="connsiteX143" fmla="*/ 2867684 w 5295272"/>
              <a:gd name="connsiteY143" fmla="*/ 930193 h 2999232"/>
              <a:gd name="connsiteX144" fmla="*/ 2868049 w 5295272"/>
              <a:gd name="connsiteY144" fmla="*/ 914655 h 2999232"/>
              <a:gd name="connsiteX145" fmla="*/ 2856379 w 5295272"/>
              <a:gd name="connsiteY145" fmla="*/ 851424 h 2999232"/>
              <a:gd name="connsiteX146" fmla="*/ 2822340 w 5295272"/>
              <a:gd name="connsiteY146" fmla="*/ 798115 h 2999232"/>
              <a:gd name="connsiteX147" fmla="*/ 2768123 w 5295272"/>
              <a:gd name="connsiteY147" fmla="*/ 761539 h 2999232"/>
              <a:gd name="connsiteX148" fmla="*/ 2695913 w 5295272"/>
              <a:gd name="connsiteY148" fmla="*/ 747913 h 2999232"/>
              <a:gd name="connsiteX149" fmla="*/ 3534223 w 5295272"/>
              <a:gd name="connsiteY149" fmla="*/ 745403 h 2999232"/>
              <a:gd name="connsiteX150" fmla="*/ 3460555 w 5295272"/>
              <a:gd name="connsiteY150" fmla="*/ 759268 h 2999232"/>
              <a:gd name="connsiteX151" fmla="*/ 3405121 w 5295272"/>
              <a:gd name="connsiteY151" fmla="*/ 796800 h 2999232"/>
              <a:gd name="connsiteX152" fmla="*/ 3370232 w 5295272"/>
              <a:gd name="connsiteY152" fmla="*/ 851305 h 2999232"/>
              <a:gd name="connsiteX153" fmla="*/ 3358076 w 5295272"/>
              <a:gd name="connsiteY153" fmla="*/ 916806 h 2999232"/>
              <a:gd name="connsiteX154" fmla="*/ 3370232 w 5295272"/>
              <a:gd name="connsiteY154" fmla="*/ 981710 h 2999232"/>
              <a:gd name="connsiteX155" fmla="*/ 3405121 w 5295272"/>
              <a:gd name="connsiteY155" fmla="*/ 1036215 h 2999232"/>
              <a:gd name="connsiteX156" fmla="*/ 3460555 w 5295272"/>
              <a:gd name="connsiteY156" fmla="*/ 1073746 h 2999232"/>
              <a:gd name="connsiteX157" fmla="*/ 3534223 w 5295272"/>
              <a:gd name="connsiteY157" fmla="*/ 1087612 h 2999232"/>
              <a:gd name="connsiteX158" fmla="*/ 3607891 w 5295272"/>
              <a:gd name="connsiteY158" fmla="*/ 1073746 h 2999232"/>
              <a:gd name="connsiteX159" fmla="*/ 3663081 w 5295272"/>
              <a:gd name="connsiteY159" fmla="*/ 1036215 h 2999232"/>
              <a:gd name="connsiteX160" fmla="*/ 3697727 w 5295272"/>
              <a:gd name="connsiteY160" fmla="*/ 981710 h 2999232"/>
              <a:gd name="connsiteX161" fmla="*/ 3709884 w 5295272"/>
              <a:gd name="connsiteY161" fmla="*/ 916806 h 2999232"/>
              <a:gd name="connsiteX162" fmla="*/ 3697727 w 5295272"/>
              <a:gd name="connsiteY162" fmla="*/ 851305 h 2999232"/>
              <a:gd name="connsiteX163" fmla="*/ 3662838 w 5295272"/>
              <a:gd name="connsiteY163" fmla="*/ 796800 h 2999232"/>
              <a:gd name="connsiteX164" fmla="*/ 3607648 w 5295272"/>
              <a:gd name="connsiteY164" fmla="*/ 759268 h 2999232"/>
              <a:gd name="connsiteX165" fmla="*/ 3534223 w 5295272"/>
              <a:gd name="connsiteY165" fmla="*/ 745403 h 2999232"/>
              <a:gd name="connsiteX166" fmla="*/ 3142420 w 5295272"/>
              <a:gd name="connsiteY166" fmla="*/ 630417 h 2999232"/>
              <a:gd name="connsiteX167" fmla="*/ 3047356 w 5295272"/>
              <a:gd name="connsiteY167" fmla="*/ 650020 h 2999232"/>
              <a:gd name="connsiteX168" fmla="*/ 2976727 w 5295272"/>
              <a:gd name="connsiteY168" fmla="*/ 701178 h 2999232"/>
              <a:gd name="connsiteX169" fmla="*/ 2932721 w 5295272"/>
              <a:gd name="connsiteY169" fmla="*/ 772894 h 2999232"/>
              <a:gd name="connsiteX170" fmla="*/ 2917659 w 5295272"/>
              <a:gd name="connsiteY170" fmla="*/ 853993 h 2999232"/>
              <a:gd name="connsiteX171" fmla="*/ 2917647 w 5295272"/>
              <a:gd name="connsiteY171" fmla="*/ 853934 h 2999232"/>
              <a:gd name="connsiteX172" fmla="*/ 2917647 w 5295272"/>
              <a:gd name="connsiteY172" fmla="*/ 854054 h 2999232"/>
              <a:gd name="connsiteX173" fmla="*/ 2917659 w 5295272"/>
              <a:gd name="connsiteY173" fmla="*/ 853993 h 2999232"/>
              <a:gd name="connsiteX174" fmla="*/ 2934058 w 5295272"/>
              <a:gd name="connsiteY174" fmla="*/ 938202 h 2999232"/>
              <a:gd name="connsiteX175" fmla="*/ 2979645 w 5295272"/>
              <a:gd name="connsiteY175" fmla="*/ 1012070 h 2999232"/>
              <a:gd name="connsiteX176" fmla="*/ 3049301 w 5295272"/>
              <a:gd name="connsiteY176" fmla="*/ 1064782 h 2999232"/>
              <a:gd name="connsiteX177" fmla="*/ 3138530 w 5295272"/>
              <a:gd name="connsiteY177" fmla="*/ 1084982 h 2999232"/>
              <a:gd name="connsiteX178" fmla="*/ 3195057 w 5295272"/>
              <a:gd name="connsiteY178" fmla="*/ 1078049 h 2999232"/>
              <a:gd name="connsiteX179" fmla="*/ 3249275 w 5295272"/>
              <a:gd name="connsiteY179" fmla="*/ 1057849 h 2999232"/>
              <a:gd name="connsiteX180" fmla="*/ 3294862 w 5295272"/>
              <a:gd name="connsiteY180" fmla="*/ 1025337 h 2999232"/>
              <a:gd name="connsiteX181" fmla="*/ 3325982 w 5295272"/>
              <a:gd name="connsiteY181" fmla="*/ 980873 h 2999232"/>
              <a:gd name="connsiteX182" fmla="*/ 3253408 w 5295272"/>
              <a:gd name="connsiteY182" fmla="*/ 939875 h 2999232"/>
              <a:gd name="connsiteX183" fmla="*/ 3232864 w 5295272"/>
              <a:gd name="connsiteY183" fmla="*/ 971191 h 2999232"/>
              <a:gd name="connsiteX184" fmla="*/ 3204904 w 5295272"/>
              <a:gd name="connsiteY184" fmla="*/ 992348 h 2999232"/>
              <a:gd name="connsiteX185" fmla="*/ 3173176 w 5295272"/>
              <a:gd name="connsiteY185" fmla="*/ 1004300 h 2999232"/>
              <a:gd name="connsiteX186" fmla="*/ 3141083 w 5295272"/>
              <a:gd name="connsiteY186" fmla="*/ 1008125 h 2999232"/>
              <a:gd name="connsiteX187" fmla="*/ 3086865 w 5295272"/>
              <a:gd name="connsiteY187" fmla="*/ 995455 h 2999232"/>
              <a:gd name="connsiteX188" fmla="*/ 3044439 w 5295272"/>
              <a:gd name="connsiteY188" fmla="*/ 961988 h 2999232"/>
              <a:gd name="connsiteX189" fmla="*/ 3017087 w 5295272"/>
              <a:gd name="connsiteY189" fmla="*/ 913698 h 2999232"/>
              <a:gd name="connsiteX190" fmla="*/ 3007483 w 5295272"/>
              <a:gd name="connsiteY190" fmla="*/ 856564 h 2999232"/>
              <a:gd name="connsiteX191" fmla="*/ 3015871 w 5295272"/>
              <a:gd name="connsiteY191" fmla="*/ 803135 h 2999232"/>
              <a:gd name="connsiteX192" fmla="*/ 3040670 w 5295272"/>
              <a:gd name="connsiteY192" fmla="*/ 755204 h 2999232"/>
              <a:gd name="connsiteX193" fmla="*/ 3081759 w 5295272"/>
              <a:gd name="connsiteY193" fmla="*/ 720780 h 2999232"/>
              <a:gd name="connsiteX194" fmla="*/ 3139867 w 5295272"/>
              <a:gd name="connsiteY194" fmla="*/ 707513 h 2999232"/>
              <a:gd name="connsiteX195" fmla="*/ 3171352 w 5295272"/>
              <a:gd name="connsiteY195" fmla="*/ 710979 h 2999232"/>
              <a:gd name="connsiteX196" fmla="*/ 3202230 w 5295272"/>
              <a:gd name="connsiteY196" fmla="*/ 721975 h 2999232"/>
              <a:gd name="connsiteX197" fmla="*/ 3229825 w 5295272"/>
              <a:gd name="connsiteY197" fmla="*/ 742534 h 2999232"/>
              <a:gd name="connsiteX198" fmla="*/ 3251706 w 5295272"/>
              <a:gd name="connsiteY198" fmla="*/ 774448 h 2999232"/>
              <a:gd name="connsiteX199" fmla="*/ 3319783 w 5295272"/>
              <a:gd name="connsiteY199" fmla="*/ 728310 h 2999232"/>
              <a:gd name="connsiteX200" fmla="*/ 3251342 w 5295272"/>
              <a:gd name="connsiteY200" fmla="*/ 657550 h 2999232"/>
              <a:gd name="connsiteX201" fmla="*/ 3142420 w 5295272"/>
              <a:gd name="connsiteY201" fmla="*/ 630417 h 2999232"/>
              <a:gd name="connsiteX202" fmla="*/ 1371711 w 5295272"/>
              <a:gd name="connsiteY202" fmla="*/ 630417 h 2999232"/>
              <a:gd name="connsiteX203" fmla="*/ 1276647 w 5295272"/>
              <a:gd name="connsiteY203" fmla="*/ 650020 h 2999232"/>
              <a:gd name="connsiteX204" fmla="*/ 1206018 w 5295272"/>
              <a:gd name="connsiteY204" fmla="*/ 701178 h 2999232"/>
              <a:gd name="connsiteX205" fmla="*/ 1162012 w 5295272"/>
              <a:gd name="connsiteY205" fmla="*/ 772894 h 2999232"/>
              <a:gd name="connsiteX206" fmla="*/ 1146950 w 5295272"/>
              <a:gd name="connsiteY206" fmla="*/ 853993 h 2999232"/>
              <a:gd name="connsiteX207" fmla="*/ 1146938 w 5295272"/>
              <a:gd name="connsiteY207" fmla="*/ 853934 h 2999232"/>
              <a:gd name="connsiteX208" fmla="*/ 1146938 w 5295272"/>
              <a:gd name="connsiteY208" fmla="*/ 854054 h 2999232"/>
              <a:gd name="connsiteX209" fmla="*/ 1146950 w 5295272"/>
              <a:gd name="connsiteY209" fmla="*/ 853993 h 2999232"/>
              <a:gd name="connsiteX210" fmla="*/ 1163349 w 5295272"/>
              <a:gd name="connsiteY210" fmla="*/ 938202 h 2999232"/>
              <a:gd name="connsiteX211" fmla="*/ 1208936 w 5295272"/>
              <a:gd name="connsiteY211" fmla="*/ 1012070 h 2999232"/>
              <a:gd name="connsiteX212" fmla="*/ 1278592 w 5295272"/>
              <a:gd name="connsiteY212" fmla="*/ 1064782 h 2999232"/>
              <a:gd name="connsiteX213" fmla="*/ 1367821 w 5295272"/>
              <a:gd name="connsiteY213" fmla="*/ 1084982 h 2999232"/>
              <a:gd name="connsiteX214" fmla="*/ 1424348 w 5295272"/>
              <a:gd name="connsiteY214" fmla="*/ 1078049 h 2999232"/>
              <a:gd name="connsiteX215" fmla="*/ 1478688 w 5295272"/>
              <a:gd name="connsiteY215" fmla="*/ 1057849 h 2999232"/>
              <a:gd name="connsiteX216" fmla="*/ 1524274 w 5295272"/>
              <a:gd name="connsiteY216" fmla="*/ 1025337 h 2999232"/>
              <a:gd name="connsiteX217" fmla="*/ 1555395 w 5295272"/>
              <a:gd name="connsiteY217" fmla="*/ 980873 h 2999232"/>
              <a:gd name="connsiteX218" fmla="*/ 1482821 w 5295272"/>
              <a:gd name="connsiteY218" fmla="*/ 939875 h 2999232"/>
              <a:gd name="connsiteX219" fmla="*/ 1462276 w 5295272"/>
              <a:gd name="connsiteY219" fmla="*/ 971191 h 2999232"/>
              <a:gd name="connsiteX220" fmla="*/ 1434317 w 5295272"/>
              <a:gd name="connsiteY220" fmla="*/ 992348 h 2999232"/>
              <a:gd name="connsiteX221" fmla="*/ 1402588 w 5295272"/>
              <a:gd name="connsiteY221" fmla="*/ 1004300 h 2999232"/>
              <a:gd name="connsiteX222" fmla="*/ 1370495 w 5295272"/>
              <a:gd name="connsiteY222" fmla="*/ 1008125 h 2999232"/>
              <a:gd name="connsiteX223" fmla="*/ 1316277 w 5295272"/>
              <a:gd name="connsiteY223" fmla="*/ 995455 h 2999232"/>
              <a:gd name="connsiteX224" fmla="*/ 1273851 w 5295272"/>
              <a:gd name="connsiteY224" fmla="*/ 961988 h 2999232"/>
              <a:gd name="connsiteX225" fmla="*/ 1246499 w 5295272"/>
              <a:gd name="connsiteY225" fmla="*/ 913698 h 2999232"/>
              <a:gd name="connsiteX226" fmla="*/ 1236896 w 5295272"/>
              <a:gd name="connsiteY226" fmla="*/ 856564 h 2999232"/>
              <a:gd name="connsiteX227" fmla="*/ 1245284 w 5295272"/>
              <a:gd name="connsiteY227" fmla="*/ 803135 h 2999232"/>
              <a:gd name="connsiteX228" fmla="*/ 1269961 w 5295272"/>
              <a:gd name="connsiteY228" fmla="*/ 755204 h 2999232"/>
              <a:gd name="connsiteX229" fmla="*/ 1311050 w 5295272"/>
              <a:gd name="connsiteY229" fmla="*/ 720780 h 2999232"/>
              <a:gd name="connsiteX230" fmla="*/ 1369158 w 5295272"/>
              <a:gd name="connsiteY230" fmla="*/ 707513 h 2999232"/>
              <a:gd name="connsiteX231" fmla="*/ 1400643 w 5295272"/>
              <a:gd name="connsiteY231" fmla="*/ 710979 h 2999232"/>
              <a:gd name="connsiteX232" fmla="*/ 1431521 w 5295272"/>
              <a:gd name="connsiteY232" fmla="*/ 721975 h 2999232"/>
              <a:gd name="connsiteX233" fmla="*/ 1459116 w 5295272"/>
              <a:gd name="connsiteY233" fmla="*/ 742534 h 2999232"/>
              <a:gd name="connsiteX234" fmla="*/ 1480997 w 5295272"/>
              <a:gd name="connsiteY234" fmla="*/ 774448 h 2999232"/>
              <a:gd name="connsiteX235" fmla="*/ 1549074 w 5295272"/>
              <a:gd name="connsiteY235" fmla="*/ 728310 h 2999232"/>
              <a:gd name="connsiteX236" fmla="*/ 1480633 w 5295272"/>
              <a:gd name="connsiteY236" fmla="*/ 657550 h 2999232"/>
              <a:gd name="connsiteX237" fmla="*/ 1371711 w 5295272"/>
              <a:gd name="connsiteY237" fmla="*/ 630417 h 2999232"/>
              <a:gd name="connsiteX238" fmla="*/ 1795121 w 5295272"/>
              <a:gd name="connsiteY238" fmla="*/ 624082 h 2999232"/>
              <a:gd name="connsiteX239" fmla="*/ 1795121 w 5295272"/>
              <a:gd name="connsiteY239" fmla="*/ 708110 h 2999232"/>
              <a:gd name="connsiteX240" fmla="*/ 1881189 w 5295272"/>
              <a:gd name="connsiteY240" fmla="*/ 708110 h 2999232"/>
              <a:gd name="connsiteX241" fmla="*/ 1881189 w 5295272"/>
              <a:gd name="connsiteY241" fmla="*/ 624082 h 2999232"/>
              <a:gd name="connsiteX242" fmla="*/ 1598186 w 5295272"/>
              <a:gd name="connsiteY242" fmla="*/ 619181 h 2999232"/>
              <a:gd name="connsiteX243" fmla="*/ 1598186 w 5295272"/>
              <a:gd name="connsiteY243" fmla="*/ 1003822 h 2999232"/>
              <a:gd name="connsiteX244" fmla="*/ 1620311 w 5295272"/>
              <a:gd name="connsiteY244" fmla="*/ 1064184 h 2999232"/>
              <a:gd name="connsiteX245" fmla="*/ 1621162 w 5295272"/>
              <a:gd name="connsiteY245" fmla="*/ 1065020 h 2999232"/>
              <a:gd name="connsiteX246" fmla="*/ 1634169 w 5295272"/>
              <a:gd name="connsiteY246" fmla="*/ 1074343 h 2999232"/>
              <a:gd name="connsiteX247" fmla="*/ 1644502 w 5295272"/>
              <a:gd name="connsiteY247" fmla="*/ 1079005 h 2999232"/>
              <a:gd name="connsiteX248" fmla="*/ 1696532 w 5295272"/>
              <a:gd name="connsiteY248" fmla="*/ 1084981 h 2999232"/>
              <a:gd name="connsiteX249" fmla="*/ 1701151 w 5295272"/>
              <a:gd name="connsiteY249" fmla="*/ 1084742 h 2999232"/>
              <a:gd name="connsiteX250" fmla="*/ 1706014 w 5295272"/>
              <a:gd name="connsiteY250" fmla="*/ 1084384 h 2999232"/>
              <a:gd name="connsiteX251" fmla="*/ 1710755 w 5295272"/>
              <a:gd name="connsiteY251" fmla="*/ 1083906 h 2999232"/>
              <a:gd name="connsiteX252" fmla="*/ 1715496 w 5295272"/>
              <a:gd name="connsiteY252" fmla="*/ 1083308 h 2999232"/>
              <a:gd name="connsiteX253" fmla="*/ 1720237 w 5295272"/>
              <a:gd name="connsiteY253" fmla="*/ 1082591 h 2999232"/>
              <a:gd name="connsiteX254" fmla="*/ 1725099 w 5295272"/>
              <a:gd name="connsiteY254" fmla="*/ 1081635 h 2999232"/>
              <a:gd name="connsiteX255" fmla="*/ 1727652 w 5295272"/>
              <a:gd name="connsiteY255" fmla="*/ 1081037 h 2999232"/>
              <a:gd name="connsiteX256" fmla="*/ 1733001 w 5295272"/>
              <a:gd name="connsiteY256" fmla="*/ 1079483 h 2999232"/>
              <a:gd name="connsiteX257" fmla="*/ 1734946 w 5295272"/>
              <a:gd name="connsiteY257" fmla="*/ 1078886 h 2999232"/>
              <a:gd name="connsiteX258" fmla="*/ 1723154 w 5295272"/>
              <a:gd name="connsiteY258" fmla="*/ 1005137 h 2999232"/>
              <a:gd name="connsiteX259" fmla="*/ 1695194 w 5295272"/>
              <a:gd name="connsiteY259" fmla="*/ 1006691 h 2999232"/>
              <a:gd name="connsiteX260" fmla="*/ 1695073 w 5295272"/>
              <a:gd name="connsiteY260" fmla="*/ 1006691 h 2999232"/>
              <a:gd name="connsiteX261" fmla="*/ 1684254 w 5295272"/>
              <a:gd name="connsiteY261" fmla="*/ 976689 h 2999232"/>
              <a:gd name="connsiteX262" fmla="*/ 1684254 w 5295272"/>
              <a:gd name="connsiteY262" fmla="*/ 619181 h 2999232"/>
              <a:gd name="connsiteX263" fmla="*/ 576725 w 5295272"/>
              <a:gd name="connsiteY263" fmla="*/ 564647 h 2999232"/>
              <a:gd name="connsiteX264" fmla="*/ 490003 w 5295272"/>
              <a:gd name="connsiteY264" fmla="*/ 600057 h 2999232"/>
              <a:gd name="connsiteX265" fmla="*/ 490003 w 5295272"/>
              <a:gd name="connsiteY265" fmla="*/ 770624 h 2999232"/>
              <a:gd name="connsiteX266" fmla="*/ 663476 w 5295272"/>
              <a:gd name="connsiteY266" fmla="*/ 770624 h 2999232"/>
              <a:gd name="connsiteX267" fmla="*/ 837070 w 5295272"/>
              <a:gd name="connsiteY267" fmla="*/ 770624 h 2999232"/>
              <a:gd name="connsiteX268" fmla="*/ 837070 w 5295272"/>
              <a:gd name="connsiteY268" fmla="*/ 941309 h 2999232"/>
              <a:gd name="connsiteX269" fmla="*/ 837070 w 5295272"/>
              <a:gd name="connsiteY269" fmla="*/ 1111876 h 2999232"/>
              <a:gd name="connsiteX270" fmla="*/ 1010664 w 5295272"/>
              <a:gd name="connsiteY270" fmla="*/ 1111876 h 2999232"/>
              <a:gd name="connsiteX271" fmla="*/ 1010664 w 5295272"/>
              <a:gd name="connsiteY271" fmla="*/ 941309 h 2999232"/>
              <a:gd name="connsiteX272" fmla="*/ 1010664 w 5295272"/>
              <a:gd name="connsiteY272" fmla="*/ 770624 h 2999232"/>
              <a:gd name="connsiteX273" fmla="*/ 1010543 w 5295272"/>
              <a:gd name="connsiteY273" fmla="*/ 770624 h 2999232"/>
              <a:gd name="connsiteX274" fmla="*/ 1010543 w 5295272"/>
              <a:gd name="connsiteY274" fmla="*/ 600057 h 2999232"/>
              <a:gd name="connsiteX275" fmla="*/ 836949 w 5295272"/>
              <a:gd name="connsiteY275" fmla="*/ 600057 h 2999232"/>
              <a:gd name="connsiteX276" fmla="*/ 663355 w 5295272"/>
              <a:gd name="connsiteY276" fmla="*/ 600057 h 2999232"/>
              <a:gd name="connsiteX277" fmla="*/ 576725 w 5295272"/>
              <a:gd name="connsiteY277" fmla="*/ 564647 h 2999232"/>
              <a:gd name="connsiteX278" fmla="*/ 0 w 5295272"/>
              <a:gd name="connsiteY278" fmla="*/ 0 h 2999232"/>
              <a:gd name="connsiteX279" fmla="*/ 5019853 w 5295272"/>
              <a:gd name="connsiteY279" fmla="*/ 0 h 2999232"/>
              <a:gd name="connsiteX280" fmla="*/ 5295272 w 5295272"/>
              <a:gd name="connsiteY280" fmla="*/ 275419 h 2999232"/>
              <a:gd name="connsiteX281" fmla="*/ 5295272 w 5295272"/>
              <a:gd name="connsiteY281" fmla="*/ 2723813 h 2999232"/>
              <a:gd name="connsiteX282" fmla="*/ 5019853 w 5295272"/>
              <a:gd name="connsiteY282" fmla="*/ 2999232 h 2999232"/>
              <a:gd name="connsiteX283" fmla="*/ 0 w 5295272"/>
              <a:gd name="connsiteY283" fmla="*/ 2999232 h 299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5295272" h="2999232">
                <a:moveTo>
                  <a:pt x="1027075" y="1126219"/>
                </a:moveTo>
                <a:lnTo>
                  <a:pt x="1028413" y="1126219"/>
                </a:lnTo>
                <a:cubicBezTo>
                  <a:pt x="1030358" y="1126219"/>
                  <a:pt x="1031573" y="1126338"/>
                  <a:pt x="1032059" y="1126458"/>
                </a:cubicBezTo>
                <a:cubicBezTo>
                  <a:pt x="1032546" y="1126577"/>
                  <a:pt x="1032910" y="1126816"/>
                  <a:pt x="1033154" y="1127175"/>
                </a:cubicBezTo>
                <a:cubicBezTo>
                  <a:pt x="1033397" y="1127534"/>
                  <a:pt x="1033518" y="1128012"/>
                  <a:pt x="1033518" y="1128370"/>
                </a:cubicBezTo>
                <a:cubicBezTo>
                  <a:pt x="1033518" y="1128729"/>
                  <a:pt x="1033397" y="1129207"/>
                  <a:pt x="1033154" y="1129566"/>
                </a:cubicBezTo>
                <a:cubicBezTo>
                  <a:pt x="1032910" y="1130044"/>
                  <a:pt x="1032546" y="1130283"/>
                  <a:pt x="1032059" y="1130402"/>
                </a:cubicBezTo>
                <a:cubicBezTo>
                  <a:pt x="1031573" y="1130641"/>
                  <a:pt x="1030358" y="1130641"/>
                  <a:pt x="1028413" y="1130641"/>
                </a:cubicBezTo>
                <a:lnTo>
                  <a:pt x="1027075" y="1130641"/>
                </a:lnTo>
                <a:close/>
                <a:moveTo>
                  <a:pt x="1023672" y="1123589"/>
                </a:moveTo>
                <a:lnTo>
                  <a:pt x="1023672" y="1139965"/>
                </a:lnTo>
                <a:lnTo>
                  <a:pt x="1023793" y="1139965"/>
                </a:lnTo>
                <a:lnTo>
                  <a:pt x="1027197" y="1139965"/>
                </a:lnTo>
                <a:lnTo>
                  <a:pt x="1027197" y="1133271"/>
                </a:lnTo>
                <a:lnTo>
                  <a:pt x="1028048" y="1133271"/>
                </a:lnTo>
                <a:cubicBezTo>
                  <a:pt x="1028899" y="1133271"/>
                  <a:pt x="1029750" y="1133510"/>
                  <a:pt x="1030358" y="1133988"/>
                </a:cubicBezTo>
                <a:cubicBezTo>
                  <a:pt x="1030965" y="1134466"/>
                  <a:pt x="1031695" y="1135542"/>
                  <a:pt x="1032667" y="1137335"/>
                </a:cubicBezTo>
                <a:lnTo>
                  <a:pt x="1034126" y="1139965"/>
                </a:lnTo>
                <a:lnTo>
                  <a:pt x="1038259" y="1139965"/>
                </a:lnTo>
                <a:lnTo>
                  <a:pt x="1036314" y="1136618"/>
                </a:lnTo>
                <a:cubicBezTo>
                  <a:pt x="1035706" y="1135422"/>
                  <a:pt x="1035220" y="1134705"/>
                  <a:pt x="1035099" y="1134586"/>
                </a:cubicBezTo>
                <a:cubicBezTo>
                  <a:pt x="1034612" y="1133869"/>
                  <a:pt x="1034248" y="1133510"/>
                  <a:pt x="1034004" y="1133271"/>
                </a:cubicBezTo>
                <a:cubicBezTo>
                  <a:pt x="1033640" y="1133032"/>
                  <a:pt x="1033275" y="1132912"/>
                  <a:pt x="1032789" y="1132673"/>
                </a:cubicBezTo>
                <a:cubicBezTo>
                  <a:pt x="1034248" y="1132434"/>
                  <a:pt x="1035342" y="1131956"/>
                  <a:pt x="1036071" y="1131119"/>
                </a:cubicBezTo>
                <a:cubicBezTo>
                  <a:pt x="1036922" y="1130283"/>
                  <a:pt x="1037287" y="1129327"/>
                  <a:pt x="1037287" y="1128131"/>
                </a:cubicBezTo>
                <a:cubicBezTo>
                  <a:pt x="1037287" y="1127175"/>
                  <a:pt x="1037044" y="1126458"/>
                  <a:pt x="1036679" y="1125741"/>
                </a:cubicBezTo>
                <a:cubicBezTo>
                  <a:pt x="1036193" y="1125024"/>
                  <a:pt x="1035706" y="1124545"/>
                  <a:pt x="1035099" y="1124187"/>
                </a:cubicBezTo>
                <a:cubicBezTo>
                  <a:pt x="1034369" y="1123948"/>
                  <a:pt x="1033518" y="1123589"/>
                  <a:pt x="1032424" y="1123589"/>
                </a:cubicBezTo>
                <a:cubicBezTo>
                  <a:pt x="1032059" y="1123589"/>
                  <a:pt x="1030236" y="1123589"/>
                  <a:pt x="1027075" y="1123589"/>
                </a:cubicBezTo>
                <a:close/>
                <a:moveTo>
                  <a:pt x="1030844" y="1119286"/>
                </a:moveTo>
                <a:cubicBezTo>
                  <a:pt x="1033032" y="1119286"/>
                  <a:pt x="1035099" y="1119764"/>
                  <a:pt x="1037044" y="1120840"/>
                </a:cubicBezTo>
                <a:cubicBezTo>
                  <a:pt x="1039110" y="1121916"/>
                  <a:pt x="1040691" y="1123350"/>
                  <a:pt x="1041785" y="1125382"/>
                </a:cubicBezTo>
                <a:cubicBezTo>
                  <a:pt x="1042879" y="1127295"/>
                  <a:pt x="1043487" y="1129446"/>
                  <a:pt x="1043487" y="1131598"/>
                </a:cubicBezTo>
                <a:cubicBezTo>
                  <a:pt x="1043487" y="1133749"/>
                  <a:pt x="1042879" y="1135901"/>
                  <a:pt x="1041785" y="1137813"/>
                </a:cubicBezTo>
                <a:cubicBezTo>
                  <a:pt x="1040691" y="1139725"/>
                  <a:pt x="1039110" y="1141279"/>
                  <a:pt x="1037165" y="1142355"/>
                </a:cubicBezTo>
                <a:cubicBezTo>
                  <a:pt x="1035099" y="1143431"/>
                  <a:pt x="1033032" y="1144028"/>
                  <a:pt x="1030844" y="1144028"/>
                </a:cubicBezTo>
                <a:cubicBezTo>
                  <a:pt x="1028656" y="1144028"/>
                  <a:pt x="1026468" y="1143431"/>
                  <a:pt x="1024522" y="1142355"/>
                </a:cubicBezTo>
                <a:cubicBezTo>
                  <a:pt x="1022577" y="1141279"/>
                  <a:pt x="1020997" y="1139725"/>
                  <a:pt x="1019903" y="1137813"/>
                </a:cubicBezTo>
                <a:cubicBezTo>
                  <a:pt x="1018809" y="1135781"/>
                  <a:pt x="1018201" y="1133749"/>
                  <a:pt x="1018201" y="1131598"/>
                </a:cubicBezTo>
                <a:cubicBezTo>
                  <a:pt x="1018201" y="1129446"/>
                  <a:pt x="1018809" y="1127414"/>
                  <a:pt x="1019903" y="1125382"/>
                </a:cubicBezTo>
                <a:cubicBezTo>
                  <a:pt x="1021119" y="1123470"/>
                  <a:pt x="1022699" y="1121916"/>
                  <a:pt x="1024644" y="1120840"/>
                </a:cubicBezTo>
                <a:cubicBezTo>
                  <a:pt x="1026589" y="1119764"/>
                  <a:pt x="1028656" y="1119286"/>
                  <a:pt x="1030844" y="1119286"/>
                </a:cubicBezTo>
                <a:close/>
                <a:moveTo>
                  <a:pt x="1030844" y="1116298"/>
                </a:moveTo>
                <a:cubicBezTo>
                  <a:pt x="1028169" y="1116298"/>
                  <a:pt x="1025495" y="1117015"/>
                  <a:pt x="1023064" y="1118330"/>
                </a:cubicBezTo>
                <a:cubicBezTo>
                  <a:pt x="1020632" y="1119764"/>
                  <a:pt x="1018687" y="1121557"/>
                  <a:pt x="1017229" y="1124067"/>
                </a:cubicBezTo>
                <a:cubicBezTo>
                  <a:pt x="1015891" y="1126577"/>
                  <a:pt x="1015162" y="1129207"/>
                  <a:pt x="1015162" y="1131837"/>
                </a:cubicBezTo>
                <a:cubicBezTo>
                  <a:pt x="1015162" y="1134466"/>
                  <a:pt x="1015891" y="1137096"/>
                  <a:pt x="1017229" y="1139486"/>
                </a:cubicBezTo>
                <a:cubicBezTo>
                  <a:pt x="1018687" y="1141996"/>
                  <a:pt x="1020632" y="1143909"/>
                  <a:pt x="1023064" y="1145224"/>
                </a:cubicBezTo>
                <a:cubicBezTo>
                  <a:pt x="1025495" y="1146539"/>
                  <a:pt x="1028169" y="1147256"/>
                  <a:pt x="1030844" y="1147256"/>
                </a:cubicBezTo>
                <a:cubicBezTo>
                  <a:pt x="1033518" y="1147256"/>
                  <a:pt x="1036193" y="1146539"/>
                  <a:pt x="1038624" y="1145224"/>
                </a:cubicBezTo>
                <a:cubicBezTo>
                  <a:pt x="1041177" y="1143789"/>
                  <a:pt x="1043122" y="1141877"/>
                  <a:pt x="1044459" y="1139486"/>
                </a:cubicBezTo>
                <a:cubicBezTo>
                  <a:pt x="1045796" y="1137096"/>
                  <a:pt x="1046526" y="1134586"/>
                  <a:pt x="1046526" y="1131837"/>
                </a:cubicBezTo>
                <a:cubicBezTo>
                  <a:pt x="1046526" y="1129087"/>
                  <a:pt x="1045918" y="1126577"/>
                  <a:pt x="1044459" y="1124067"/>
                </a:cubicBezTo>
                <a:cubicBezTo>
                  <a:pt x="1043000" y="1121557"/>
                  <a:pt x="1041055" y="1119645"/>
                  <a:pt x="1038624" y="1118330"/>
                </a:cubicBezTo>
                <a:cubicBezTo>
                  <a:pt x="1036071" y="1117015"/>
                  <a:pt x="1033518" y="1116298"/>
                  <a:pt x="1030844" y="1116298"/>
                </a:cubicBezTo>
                <a:close/>
                <a:moveTo>
                  <a:pt x="577408" y="905570"/>
                </a:moveTo>
                <a:lnTo>
                  <a:pt x="577287" y="905690"/>
                </a:lnTo>
                <a:cubicBezTo>
                  <a:pt x="509575" y="905690"/>
                  <a:pt x="454628" y="959716"/>
                  <a:pt x="454628" y="1026293"/>
                </a:cubicBezTo>
                <a:cubicBezTo>
                  <a:pt x="454628" y="1092870"/>
                  <a:pt x="509697" y="1146777"/>
                  <a:pt x="577408" y="1146777"/>
                </a:cubicBezTo>
                <a:cubicBezTo>
                  <a:pt x="645120" y="1146777"/>
                  <a:pt x="700067" y="1092751"/>
                  <a:pt x="700067" y="1026174"/>
                </a:cubicBezTo>
                <a:cubicBezTo>
                  <a:pt x="700067" y="959597"/>
                  <a:pt x="645120" y="905570"/>
                  <a:pt x="577408" y="905570"/>
                </a:cubicBezTo>
                <a:close/>
                <a:moveTo>
                  <a:pt x="3534223" y="817120"/>
                </a:moveTo>
                <a:cubicBezTo>
                  <a:pt x="3546623" y="817120"/>
                  <a:pt x="3558171" y="819630"/>
                  <a:pt x="3568869" y="824411"/>
                </a:cubicBezTo>
                <a:cubicBezTo>
                  <a:pt x="3579445" y="829192"/>
                  <a:pt x="3588805" y="836005"/>
                  <a:pt x="3596707" y="844850"/>
                </a:cubicBezTo>
                <a:cubicBezTo>
                  <a:pt x="3604609" y="853695"/>
                  <a:pt x="3610809" y="864214"/>
                  <a:pt x="3615307" y="876406"/>
                </a:cubicBezTo>
                <a:cubicBezTo>
                  <a:pt x="3619804" y="888598"/>
                  <a:pt x="3621993" y="901267"/>
                  <a:pt x="3621993" y="916089"/>
                </a:cubicBezTo>
                <a:cubicBezTo>
                  <a:pt x="3621993" y="930910"/>
                  <a:pt x="3619804" y="944298"/>
                  <a:pt x="3615307" y="956489"/>
                </a:cubicBezTo>
                <a:cubicBezTo>
                  <a:pt x="3610809" y="968681"/>
                  <a:pt x="3604609" y="979200"/>
                  <a:pt x="3596707" y="988045"/>
                </a:cubicBezTo>
                <a:cubicBezTo>
                  <a:pt x="3588805" y="996890"/>
                  <a:pt x="3579567" y="1003703"/>
                  <a:pt x="3568869" y="1008484"/>
                </a:cubicBezTo>
                <a:cubicBezTo>
                  <a:pt x="3558171" y="1013385"/>
                  <a:pt x="3546623" y="1015775"/>
                  <a:pt x="3534223" y="1015775"/>
                </a:cubicBezTo>
                <a:cubicBezTo>
                  <a:pt x="3521823" y="1015775"/>
                  <a:pt x="3510275" y="1013265"/>
                  <a:pt x="3499577" y="1008484"/>
                </a:cubicBezTo>
                <a:cubicBezTo>
                  <a:pt x="3488879" y="1003703"/>
                  <a:pt x="3479641" y="996890"/>
                  <a:pt x="3471739" y="988045"/>
                </a:cubicBezTo>
                <a:cubicBezTo>
                  <a:pt x="3463837" y="979200"/>
                  <a:pt x="3457637" y="968801"/>
                  <a:pt x="3453139" y="956848"/>
                </a:cubicBezTo>
                <a:cubicBezTo>
                  <a:pt x="3448642" y="944895"/>
                  <a:pt x="3446453" y="931508"/>
                  <a:pt x="3446453" y="916806"/>
                </a:cubicBezTo>
                <a:lnTo>
                  <a:pt x="3446453" y="916687"/>
                </a:lnTo>
                <a:cubicBezTo>
                  <a:pt x="3446453" y="902463"/>
                  <a:pt x="3448642" y="889195"/>
                  <a:pt x="3453139" y="877003"/>
                </a:cubicBezTo>
                <a:cubicBezTo>
                  <a:pt x="3457637" y="864811"/>
                  <a:pt x="3463837" y="854293"/>
                  <a:pt x="3471739" y="845448"/>
                </a:cubicBezTo>
                <a:cubicBezTo>
                  <a:pt x="3479641" y="836603"/>
                  <a:pt x="3488879" y="829670"/>
                  <a:pt x="3499577" y="824650"/>
                </a:cubicBezTo>
                <a:cubicBezTo>
                  <a:pt x="3510275" y="819630"/>
                  <a:pt x="3521823" y="817120"/>
                  <a:pt x="3534223" y="817120"/>
                </a:cubicBezTo>
                <a:close/>
                <a:moveTo>
                  <a:pt x="2694576" y="808155"/>
                </a:moveTo>
                <a:cubicBezTo>
                  <a:pt x="2717673" y="808155"/>
                  <a:pt x="2737367" y="815446"/>
                  <a:pt x="2753535" y="830148"/>
                </a:cubicBezTo>
                <a:cubicBezTo>
                  <a:pt x="2769703" y="844731"/>
                  <a:pt x="2778942" y="864333"/>
                  <a:pt x="2781009" y="888717"/>
                </a:cubicBezTo>
                <a:lnTo>
                  <a:pt x="2781130" y="888836"/>
                </a:lnTo>
                <a:lnTo>
                  <a:pt x="2609481" y="888836"/>
                </a:lnTo>
                <a:cubicBezTo>
                  <a:pt x="2610332" y="876884"/>
                  <a:pt x="2613128" y="865887"/>
                  <a:pt x="2617990" y="855966"/>
                </a:cubicBezTo>
                <a:cubicBezTo>
                  <a:pt x="2622853" y="846045"/>
                  <a:pt x="2629053" y="837559"/>
                  <a:pt x="2636590" y="830507"/>
                </a:cubicBezTo>
                <a:cubicBezTo>
                  <a:pt x="2644127" y="823455"/>
                  <a:pt x="2652879" y="817956"/>
                  <a:pt x="2662726" y="814012"/>
                </a:cubicBezTo>
                <a:cubicBezTo>
                  <a:pt x="2672573" y="810068"/>
                  <a:pt x="2683271" y="808155"/>
                  <a:pt x="2694576" y="808155"/>
                </a:cubicBezTo>
                <a:close/>
                <a:moveTo>
                  <a:pt x="1795121" y="749586"/>
                </a:moveTo>
                <a:lnTo>
                  <a:pt x="1795121" y="1085101"/>
                </a:lnTo>
                <a:lnTo>
                  <a:pt x="1881189" y="1085101"/>
                </a:lnTo>
                <a:lnTo>
                  <a:pt x="1881189" y="749586"/>
                </a:lnTo>
                <a:close/>
                <a:moveTo>
                  <a:pt x="2369878" y="748271"/>
                </a:moveTo>
                <a:cubicBezTo>
                  <a:pt x="2342890" y="748271"/>
                  <a:pt x="2318942" y="754367"/>
                  <a:pt x="2297911" y="766320"/>
                </a:cubicBezTo>
                <a:cubicBezTo>
                  <a:pt x="2276881" y="778392"/>
                  <a:pt x="2259619" y="795724"/>
                  <a:pt x="2245882" y="818434"/>
                </a:cubicBezTo>
                <a:cubicBezTo>
                  <a:pt x="2241627" y="798712"/>
                  <a:pt x="2231780" y="782097"/>
                  <a:pt x="2216341" y="768591"/>
                </a:cubicBezTo>
                <a:cubicBezTo>
                  <a:pt x="2200903" y="755084"/>
                  <a:pt x="2178657" y="748391"/>
                  <a:pt x="2150818" y="748391"/>
                </a:cubicBezTo>
                <a:cubicBezTo>
                  <a:pt x="2122980" y="748391"/>
                  <a:pt x="2098302" y="754128"/>
                  <a:pt x="2076664" y="765722"/>
                </a:cubicBezTo>
                <a:cubicBezTo>
                  <a:pt x="2055025" y="777316"/>
                  <a:pt x="2038006" y="793931"/>
                  <a:pt x="2025607" y="815326"/>
                </a:cubicBezTo>
                <a:lnTo>
                  <a:pt x="2025607" y="749466"/>
                </a:lnTo>
                <a:lnTo>
                  <a:pt x="1947927" y="749466"/>
                </a:lnTo>
                <a:lnTo>
                  <a:pt x="1947927" y="1085101"/>
                </a:lnTo>
                <a:lnTo>
                  <a:pt x="2033995" y="1085101"/>
                </a:lnTo>
                <a:lnTo>
                  <a:pt x="2033995" y="891824"/>
                </a:lnTo>
                <a:cubicBezTo>
                  <a:pt x="2040438" y="871265"/>
                  <a:pt x="2051257" y="854651"/>
                  <a:pt x="2066453" y="841981"/>
                </a:cubicBezTo>
                <a:cubicBezTo>
                  <a:pt x="2081648" y="829430"/>
                  <a:pt x="2098181" y="823096"/>
                  <a:pt x="2114349" y="823096"/>
                </a:cubicBezTo>
                <a:cubicBezTo>
                  <a:pt x="2130517" y="823096"/>
                  <a:pt x="2143281" y="829191"/>
                  <a:pt x="2152520" y="841383"/>
                </a:cubicBezTo>
                <a:cubicBezTo>
                  <a:pt x="2161759" y="853575"/>
                  <a:pt x="2166379" y="872939"/>
                  <a:pt x="2166379" y="899474"/>
                </a:cubicBezTo>
                <a:lnTo>
                  <a:pt x="2166379" y="1085101"/>
                </a:lnTo>
                <a:lnTo>
                  <a:pt x="2252446" y="1085101"/>
                </a:lnTo>
                <a:lnTo>
                  <a:pt x="2252446" y="892541"/>
                </a:lnTo>
                <a:cubicBezTo>
                  <a:pt x="2258889" y="871982"/>
                  <a:pt x="2269587" y="855129"/>
                  <a:pt x="2284539" y="842340"/>
                </a:cubicBezTo>
                <a:cubicBezTo>
                  <a:pt x="2299492" y="829550"/>
                  <a:pt x="2315538" y="823096"/>
                  <a:pt x="2332679" y="823096"/>
                </a:cubicBezTo>
                <a:cubicBezTo>
                  <a:pt x="2348968" y="823096"/>
                  <a:pt x="2361611" y="829191"/>
                  <a:pt x="2370850" y="841383"/>
                </a:cubicBezTo>
                <a:cubicBezTo>
                  <a:pt x="2380089" y="853575"/>
                  <a:pt x="2384708" y="872939"/>
                  <a:pt x="2384708" y="899474"/>
                </a:cubicBezTo>
                <a:lnTo>
                  <a:pt x="2384708" y="1085101"/>
                </a:lnTo>
                <a:lnTo>
                  <a:pt x="2470776" y="1085101"/>
                </a:lnTo>
                <a:lnTo>
                  <a:pt x="2470655" y="1084862"/>
                </a:lnTo>
                <a:lnTo>
                  <a:pt x="2470655" y="878317"/>
                </a:lnTo>
                <a:cubicBezTo>
                  <a:pt x="2470655" y="862301"/>
                  <a:pt x="2469317" y="846523"/>
                  <a:pt x="2466521" y="830984"/>
                </a:cubicBezTo>
                <a:cubicBezTo>
                  <a:pt x="2463725" y="815326"/>
                  <a:pt x="2458741" y="801461"/>
                  <a:pt x="2451447" y="789269"/>
                </a:cubicBezTo>
                <a:cubicBezTo>
                  <a:pt x="2444153" y="777077"/>
                  <a:pt x="2433821" y="767156"/>
                  <a:pt x="2420570" y="759626"/>
                </a:cubicBezTo>
                <a:cubicBezTo>
                  <a:pt x="2407319" y="752096"/>
                  <a:pt x="2390422" y="748271"/>
                  <a:pt x="2369878" y="748271"/>
                </a:cubicBezTo>
                <a:close/>
                <a:moveTo>
                  <a:pt x="2695913" y="747913"/>
                </a:moveTo>
                <a:cubicBezTo>
                  <a:pt x="2668926" y="747913"/>
                  <a:pt x="2644613" y="752455"/>
                  <a:pt x="2622975" y="761539"/>
                </a:cubicBezTo>
                <a:cubicBezTo>
                  <a:pt x="2601336" y="770623"/>
                  <a:pt x="2582858" y="782935"/>
                  <a:pt x="2567784" y="798473"/>
                </a:cubicBezTo>
                <a:cubicBezTo>
                  <a:pt x="2552589" y="814012"/>
                  <a:pt x="2541040" y="832061"/>
                  <a:pt x="2533017" y="852500"/>
                </a:cubicBezTo>
                <a:cubicBezTo>
                  <a:pt x="2524994" y="873059"/>
                  <a:pt x="2520982" y="895650"/>
                  <a:pt x="2520982" y="918001"/>
                </a:cubicBezTo>
                <a:cubicBezTo>
                  <a:pt x="2520982" y="940353"/>
                  <a:pt x="2524994" y="961749"/>
                  <a:pt x="2533260" y="981949"/>
                </a:cubicBezTo>
                <a:cubicBezTo>
                  <a:pt x="2541405" y="1002149"/>
                  <a:pt x="2553075" y="1019959"/>
                  <a:pt x="2568271" y="1035258"/>
                </a:cubicBezTo>
                <a:cubicBezTo>
                  <a:pt x="2583344" y="1050677"/>
                  <a:pt x="2601701" y="1062750"/>
                  <a:pt x="2623096" y="1071595"/>
                </a:cubicBezTo>
                <a:cubicBezTo>
                  <a:pt x="2644613" y="1080559"/>
                  <a:pt x="2668561" y="1084982"/>
                  <a:pt x="2695062" y="1084982"/>
                </a:cubicBezTo>
                <a:lnTo>
                  <a:pt x="2695184" y="1084743"/>
                </a:lnTo>
                <a:cubicBezTo>
                  <a:pt x="2732140" y="1084743"/>
                  <a:pt x="2763989" y="1076734"/>
                  <a:pt x="2790734" y="1060837"/>
                </a:cubicBezTo>
                <a:cubicBezTo>
                  <a:pt x="2817478" y="1044940"/>
                  <a:pt x="2836928" y="1024620"/>
                  <a:pt x="2849085" y="999758"/>
                </a:cubicBezTo>
                <a:lnTo>
                  <a:pt x="2776511" y="979917"/>
                </a:lnTo>
                <a:cubicBezTo>
                  <a:pt x="2771040" y="993184"/>
                  <a:pt x="2760829" y="1003822"/>
                  <a:pt x="2745876" y="1011831"/>
                </a:cubicBezTo>
                <a:cubicBezTo>
                  <a:pt x="2730924" y="1019839"/>
                  <a:pt x="2714999" y="1023903"/>
                  <a:pt x="2698223" y="1023903"/>
                </a:cubicBezTo>
                <a:cubicBezTo>
                  <a:pt x="2687404" y="1023903"/>
                  <a:pt x="2676828" y="1021991"/>
                  <a:pt x="2666738" y="1018285"/>
                </a:cubicBezTo>
                <a:cubicBezTo>
                  <a:pt x="2656648" y="1014580"/>
                  <a:pt x="2647652" y="1009201"/>
                  <a:pt x="2639629" y="1002149"/>
                </a:cubicBezTo>
                <a:cubicBezTo>
                  <a:pt x="2631606" y="995097"/>
                  <a:pt x="2625041" y="986610"/>
                  <a:pt x="2620057" y="976690"/>
                </a:cubicBezTo>
                <a:cubicBezTo>
                  <a:pt x="2614951" y="966769"/>
                  <a:pt x="2611791" y="955414"/>
                  <a:pt x="2610575" y="942624"/>
                </a:cubicBezTo>
                <a:lnTo>
                  <a:pt x="2866104" y="942624"/>
                </a:lnTo>
                <a:cubicBezTo>
                  <a:pt x="2866955" y="939277"/>
                  <a:pt x="2867441" y="935213"/>
                  <a:pt x="2867684" y="930193"/>
                </a:cubicBezTo>
                <a:cubicBezTo>
                  <a:pt x="2868049" y="925173"/>
                  <a:pt x="2868049" y="920033"/>
                  <a:pt x="2868049" y="914655"/>
                </a:cubicBezTo>
                <a:cubicBezTo>
                  <a:pt x="2868049" y="892781"/>
                  <a:pt x="2864159" y="871744"/>
                  <a:pt x="2856379" y="851424"/>
                </a:cubicBezTo>
                <a:cubicBezTo>
                  <a:pt x="2848598" y="831224"/>
                  <a:pt x="2837293" y="813414"/>
                  <a:pt x="2822340" y="798115"/>
                </a:cubicBezTo>
                <a:cubicBezTo>
                  <a:pt x="2807510" y="782815"/>
                  <a:pt x="2789397" y="770623"/>
                  <a:pt x="2768123" y="761539"/>
                </a:cubicBezTo>
                <a:cubicBezTo>
                  <a:pt x="2746849" y="752455"/>
                  <a:pt x="2722901" y="747913"/>
                  <a:pt x="2695913" y="747913"/>
                </a:cubicBezTo>
                <a:close/>
                <a:moveTo>
                  <a:pt x="3534223" y="745403"/>
                </a:moveTo>
                <a:cubicBezTo>
                  <a:pt x="3506871" y="745403"/>
                  <a:pt x="3482315" y="750065"/>
                  <a:pt x="3460555" y="759268"/>
                </a:cubicBezTo>
                <a:cubicBezTo>
                  <a:pt x="3438795" y="768591"/>
                  <a:pt x="3420317" y="781022"/>
                  <a:pt x="3405121" y="796800"/>
                </a:cubicBezTo>
                <a:cubicBezTo>
                  <a:pt x="3390047" y="812578"/>
                  <a:pt x="3378377" y="830746"/>
                  <a:pt x="3370232" y="851305"/>
                </a:cubicBezTo>
                <a:cubicBezTo>
                  <a:pt x="3362087" y="871864"/>
                  <a:pt x="3358076" y="894096"/>
                  <a:pt x="3358076" y="916806"/>
                </a:cubicBezTo>
                <a:cubicBezTo>
                  <a:pt x="3358076" y="939516"/>
                  <a:pt x="3362087" y="961151"/>
                  <a:pt x="3370232" y="981710"/>
                </a:cubicBezTo>
                <a:cubicBezTo>
                  <a:pt x="3378256" y="1002269"/>
                  <a:pt x="3389926" y="1020437"/>
                  <a:pt x="3405121" y="1036215"/>
                </a:cubicBezTo>
                <a:cubicBezTo>
                  <a:pt x="3420317" y="1051992"/>
                  <a:pt x="3438795" y="1064543"/>
                  <a:pt x="3460555" y="1073746"/>
                </a:cubicBezTo>
                <a:cubicBezTo>
                  <a:pt x="3482315" y="1082950"/>
                  <a:pt x="3506871" y="1087612"/>
                  <a:pt x="3534223" y="1087612"/>
                </a:cubicBezTo>
                <a:cubicBezTo>
                  <a:pt x="3561575" y="1087612"/>
                  <a:pt x="3586131" y="1082950"/>
                  <a:pt x="3607891" y="1073746"/>
                </a:cubicBezTo>
                <a:cubicBezTo>
                  <a:pt x="3629773" y="1064423"/>
                  <a:pt x="3648129" y="1051992"/>
                  <a:pt x="3663081" y="1036215"/>
                </a:cubicBezTo>
                <a:cubicBezTo>
                  <a:pt x="3678034" y="1020437"/>
                  <a:pt x="3689582" y="1002269"/>
                  <a:pt x="3697727" y="981710"/>
                </a:cubicBezTo>
                <a:cubicBezTo>
                  <a:pt x="3705872" y="961151"/>
                  <a:pt x="3709884" y="939875"/>
                  <a:pt x="3709884" y="916806"/>
                </a:cubicBezTo>
                <a:cubicBezTo>
                  <a:pt x="3709884" y="893737"/>
                  <a:pt x="3705872" y="871864"/>
                  <a:pt x="3697727" y="851305"/>
                </a:cubicBezTo>
                <a:cubicBezTo>
                  <a:pt x="3689704" y="830746"/>
                  <a:pt x="3678034" y="812578"/>
                  <a:pt x="3662838" y="796800"/>
                </a:cubicBezTo>
                <a:cubicBezTo>
                  <a:pt x="3647643" y="781022"/>
                  <a:pt x="3629165" y="768472"/>
                  <a:pt x="3607648" y="759268"/>
                </a:cubicBezTo>
                <a:cubicBezTo>
                  <a:pt x="3586010" y="750065"/>
                  <a:pt x="3561575" y="745403"/>
                  <a:pt x="3534223" y="745403"/>
                </a:cubicBezTo>
                <a:close/>
                <a:moveTo>
                  <a:pt x="3142420" y="630417"/>
                </a:moveTo>
                <a:cubicBezTo>
                  <a:pt x="3106801" y="630417"/>
                  <a:pt x="3075195" y="636991"/>
                  <a:pt x="3047356" y="650020"/>
                </a:cubicBezTo>
                <a:cubicBezTo>
                  <a:pt x="3019518" y="663048"/>
                  <a:pt x="2996056" y="680141"/>
                  <a:pt x="2976727" y="701178"/>
                </a:cubicBezTo>
                <a:cubicBezTo>
                  <a:pt x="2957399" y="722214"/>
                  <a:pt x="2942811" y="746120"/>
                  <a:pt x="2932721" y="772894"/>
                </a:cubicBezTo>
                <a:lnTo>
                  <a:pt x="2917659" y="853993"/>
                </a:lnTo>
                <a:lnTo>
                  <a:pt x="2917647" y="853934"/>
                </a:lnTo>
                <a:lnTo>
                  <a:pt x="2917647" y="854054"/>
                </a:lnTo>
                <a:lnTo>
                  <a:pt x="2917659" y="853993"/>
                </a:lnTo>
                <a:lnTo>
                  <a:pt x="2934058" y="938202"/>
                </a:lnTo>
                <a:cubicBezTo>
                  <a:pt x="2944999" y="965812"/>
                  <a:pt x="2960195" y="990435"/>
                  <a:pt x="2979645" y="1012070"/>
                </a:cubicBezTo>
                <a:cubicBezTo>
                  <a:pt x="2999095" y="1033704"/>
                  <a:pt x="3022314" y="1051275"/>
                  <a:pt x="3049301" y="1064782"/>
                </a:cubicBezTo>
                <a:cubicBezTo>
                  <a:pt x="3076167" y="1078288"/>
                  <a:pt x="3105951" y="1084982"/>
                  <a:pt x="3138530" y="1084982"/>
                </a:cubicBezTo>
                <a:cubicBezTo>
                  <a:pt x="3156886" y="1084982"/>
                  <a:pt x="3175729" y="1082711"/>
                  <a:pt x="3195057" y="1078049"/>
                </a:cubicBezTo>
                <a:cubicBezTo>
                  <a:pt x="3214265" y="1073388"/>
                  <a:pt x="3232378" y="1066694"/>
                  <a:pt x="3249275" y="1057849"/>
                </a:cubicBezTo>
                <a:cubicBezTo>
                  <a:pt x="3266173" y="1049004"/>
                  <a:pt x="3281368" y="1038127"/>
                  <a:pt x="3294862" y="1025337"/>
                </a:cubicBezTo>
                <a:cubicBezTo>
                  <a:pt x="3308355" y="1012548"/>
                  <a:pt x="3318688" y="997726"/>
                  <a:pt x="3325982" y="980873"/>
                </a:cubicBezTo>
                <a:lnTo>
                  <a:pt x="3253408" y="939875"/>
                </a:lnTo>
                <a:cubicBezTo>
                  <a:pt x="3248303" y="952186"/>
                  <a:pt x="3241373" y="962585"/>
                  <a:pt x="3232864" y="971191"/>
                </a:cubicBezTo>
                <a:cubicBezTo>
                  <a:pt x="3224233" y="979797"/>
                  <a:pt x="3214994" y="986849"/>
                  <a:pt x="3204904" y="992348"/>
                </a:cubicBezTo>
                <a:cubicBezTo>
                  <a:pt x="3194936" y="997726"/>
                  <a:pt x="3184360" y="1001790"/>
                  <a:pt x="3173176" y="1004300"/>
                </a:cubicBezTo>
                <a:cubicBezTo>
                  <a:pt x="3162113" y="1006811"/>
                  <a:pt x="3151416" y="1008125"/>
                  <a:pt x="3141083" y="1008125"/>
                </a:cubicBezTo>
                <a:cubicBezTo>
                  <a:pt x="3121389" y="1008125"/>
                  <a:pt x="3103276" y="1003942"/>
                  <a:pt x="3086865" y="995455"/>
                </a:cubicBezTo>
                <a:cubicBezTo>
                  <a:pt x="3070332" y="987088"/>
                  <a:pt x="3056231" y="975853"/>
                  <a:pt x="3044439" y="961988"/>
                </a:cubicBezTo>
                <a:cubicBezTo>
                  <a:pt x="3032647" y="948122"/>
                  <a:pt x="3023530" y="931986"/>
                  <a:pt x="3017087" y="913698"/>
                </a:cubicBezTo>
                <a:cubicBezTo>
                  <a:pt x="3010644" y="895411"/>
                  <a:pt x="3007483" y="876406"/>
                  <a:pt x="3007483" y="856564"/>
                </a:cubicBezTo>
                <a:cubicBezTo>
                  <a:pt x="3007483" y="838874"/>
                  <a:pt x="3010279" y="821064"/>
                  <a:pt x="3015871" y="803135"/>
                </a:cubicBezTo>
                <a:cubicBezTo>
                  <a:pt x="3021463" y="785325"/>
                  <a:pt x="3029730" y="769309"/>
                  <a:pt x="3040670" y="755204"/>
                </a:cubicBezTo>
                <a:cubicBezTo>
                  <a:pt x="3051611" y="741100"/>
                  <a:pt x="3065226" y="729625"/>
                  <a:pt x="3081759" y="720780"/>
                </a:cubicBezTo>
                <a:cubicBezTo>
                  <a:pt x="3098170" y="711935"/>
                  <a:pt x="3117621" y="707513"/>
                  <a:pt x="3139867" y="707513"/>
                </a:cubicBezTo>
                <a:cubicBezTo>
                  <a:pt x="3150200" y="707513"/>
                  <a:pt x="3160655" y="708708"/>
                  <a:pt x="3171352" y="710979"/>
                </a:cubicBezTo>
                <a:cubicBezTo>
                  <a:pt x="3182050" y="713250"/>
                  <a:pt x="3192383" y="716955"/>
                  <a:pt x="3202230" y="721975"/>
                </a:cubicBezTo>
                <a:cubicBezTo>
                  <a:pt x="3212076" y="727115"/>
                  <a:pt x="3221194" y="733928"/>
                  <a:pt x="3229825" y="742534"/>
                </a:cubicBezTo>
                <a:cubicBezTo>
                  <a:pt x="3238456" y="751140"/>
                  <a:pt x="3245750" y="761778"/>
                  <a:pt x="3251706" y="774448"/>
                </a:cubicBezTo>
                <a:lnTo>
                  <a:pt x="3319783" y="728310"/>
                </a:lnTo>
                <a:cubicBezTo>
                  <a:pt x="3304709" y="699265"/>
                  <a:pt x="3281976" y="675718"/>
                  <a:pt x="3251342" y="657550"/>
                </a:cubicBezTo>
                <a:cubicBezTo>
                  <a:pt x="3220707" y="639501"/>
                  <a:pt x="3184360" y="630417"/>
                  <a:pt x="3142420" y="630417"/>
                </a:cubicBezTo>
                <a:close/>
                <a:moveTo>
                  <a:pt x="1371711" y="630417"/>
                </a:moveTo>
                <a:cubicBezTo>
                  <a:pt x="1336092" y="630417"/>
                  <a:pt x="1304486" y="636991"/>
                  <a:pt x="1276647" y="650020"/>
                </a:cubicBezTo>
                <a:cubicBezTo>
                  <a:pt x="1248809" y="663048"/>
                  <a:pt x="1225226" y="680141"/>
                  <a:pt x="1206018" y="701178"/>
                </a:cubicBezTo>
                <a:cubicBezTo>
                  <a:pt x="1186690" y="722214"/>
                  <a:pt x="1172102" y="746120"/>
                  <a:pt x="1162012" y="772894"/>
                </a:cubicBezTo>
                <a:lnTo>
                  <a:pt x="1146950" y="853993"/>
                </a:lnTo>
                <a:lnTo>
                  <a:pt x="1146938" y="853934"/>
                </a:lnTo>
                <a:lnTo>
                  <a:pt x="1146938" y="854054"/>
                </a:lnTo>
                <a:lnTo>
                  <a:pt x="1146950" y="853993"/>
                </a:lnTo>
                <a:lnTo>
                  <a:pt x="1163349" y="938202"/>
                </a:lnTo>
                <a:cubicBezTo>
                  <a:pt x="1174290" y="965812"/>
                  <a:pt x="1189486" y="990435"/>
                  <a:pt x="1208936" y="1012070"/>
                </a:cubicBezTo>
                <a:cubicBezTo>
                  <a:pt x="1228386" y="1033704"/>
                  <a:pt x="1251605" y="1051275"/>
                  <a:pt x="1278592" y="1064782"/>
                </a:cubicBezTo>
                <a:cubicBezTo>
                  <a:pt x="1305580" y="1078288"/>
                  <a:pt x="1335241" y="1084982"/>
                  <a:pt x="1367821" y="1084982"/>
                </a:cubicBezTo>
                <a:cubicBezTo>
                  <a:pt x="1386177" y="1084982"/>
                  <a:pt x="1405141" y="1082711"/>
                  <a:pt x="1424348" y="1078049"/>
                </a:cubicBezTo>
                <a:cubicBezTo>
                  <a:pt x="1443677" y="1073388"/>
                  <a:pt x="1461790" y="1066694"/>
                  <a:pt x="1478688" y="1057849"/>
                </a:cubicBezTo>
                <a:cubicBezTo>
                  <a:pt x="1495585" y="1049004"/>
                  <a:pt x="1510781" y="1038127"/>
                  <a:pt x="1524274" y="1025337"/>
                </a:cubicBezTo>
                <a:cubicBezTo>
                  <a:pt x="1537768" y="1012548"/>
                  <a:pt x="1548101" y="997726"/>
                  <a:pt x="1555395" y="980873"/>
                </a:cubicBezTo>
                <a:lnTo>
                  <a:pt x="1482821" y="939875"/>
                </a:lnTo>
                <a:cubicBezTo>
                  <a:pt x="1477715" y="952186"/>
                  <a:pt x="1470786" y="962585"/>
                  <a:pt x="1462276" y="971191"/>
                </a:cubicBezTo>
                <a:cubicBezTo>
                  <a:pt x="1453645" y="979797"/>
                  <a:pt x="1444406" y="986849"/>
                  <a:pt x="1434317" y="992348"/>
                </a:cubicBezTo>
                <a:cubicBezTo>
                  <a:pt x="1424348" y="997726"/>
                  <a:pt x="1413772" y="1001790"/>
                  <a:pt x="1402588" y="1004300"/>
                </a:cubicBezTo>
                <a:cubicBezTo>
                  <a:pt x="1391526" y="1006811"/>
                  <a:pt x="1380828" y="1008125"/>
                  <a:pt x="1370495" y="1008125"/>
                </a:cubicBezTo>
                <a:cubicBezTo>
                  <a:pt x="1350923" y="1008125"/>
                  <a:pt x="1332810" y="1003942"/>
                  <a:pt x="1316277" y="995455"/>
                </a:cubicBezTo>
                <a:cubicBezTo>
                  <a:pt x="1299746" y="987088"/>
                  <a:pt x="1285643" y="975853"/>
                  <a:pt x="1273851" y="961988"/>
                </a:cubicBezTo>
                <a:cubicBezTo>
                  <a:pt x="1262060" y="948122"/>
                  <a:pt x="1252942" y="931986"/>
                  <a:pt x="1246499" y="913698"/>
                </a:cubicBezTo>
                <a:cubicBezTo>
                  <a:pt x="1240056" y="895411"/>
                  <a:pt x="1236896" y="876406"/>
                  <a:pt x="1236896" y="856564"/>
                </a:cubicBezTo>
                <a:cubicBezTo>
                  <a:pt x="1236896" y="838874"/>
                  <a:pt x="1239692" y="821064"/>
                  <a:pt x="1245284" y="803135"/>
                </a:cubicBezTo>
                <a:cubicBezTo>
                  <a:pt x="1250754" y="785325"/>
                  <a:pt x="1259021" y="769309"/>
                  <a:pt x="1269961" y="755204"/>
                </a:cubicBezTo>
                <a:cubicBezTo>
                  <a:pt x="1280902" y="741100"/>
                  <a:pt x="1294517" y="729625"/>
                  <a:pt x="1311050" y="720780"/>
                </a:cubicBezTo>
                <a:cubicBezTo>
                  <a:pt x="1327461" y="711935"/>
                  <a:pt x="1346912" y="707513"/>
                  <a:pt x="1369158" y="707513"/>
                </a:cubicBezTo>
                <a:cubicBezTo>
                  <a:pt x="1379491" y="707513"/>
                  <a:pt x="1389945" y="708708"/>
                  <a:pt x="1400643" y="710979"/>
                </a:cubicBezTo>
                <a:cubicBezTo>
                  <a:pt x="1411341" y="713250"/>
                  <a:pt x="1421674" y="716955"/>
                  <a:pt x="1431521" y="721975"/>
                </a:cubicBezTo>
                <a:cubicBezTo>
                  <a:pt x="1441367" y="727115"/>
                  <a:pt x="1450606" y="733928"/>
                  <a:pt x="1459116" y="742534"/>
                </a:cubicBezTo>
                <a:cubicBezTo>
                  <a:pt x="1467747" y="751140"/>
                  <a:pt x="1475041" y="761778"/>
                  <a:pt x="1480997" y="774448"/>
                </a:cubicBezTo>
                <a:lnTo>
                  <a:pt x="1549074" y="728310"/>
                </a:lnTo>
                <a:cubicBezTo>
                  <a:pt x="1534000" y="699265"/>
                  <a:pt x="1511267" y="675718"/>
                  <a:pt x="1480633" y="657550"/>
                </a:cubicBezTo>
                <a:cubicBezTo>
                  <a:pt x="1449998" y="639501"/>
                  <a:pt x="1413651" y="630417"/>
                  <a:pt x="1371711" y="630417"/>
                </a:cubicBezTo>
                <a:close/>
                <a:moveTo>
                  <a:pt x="1795121" y="624082"/>
                </a:moveTo>
                <a:lnTo>
                  <a:pt x="1795121" y="708110"/>
                </a:lnTo>
                <a:lnTo>
                  <a:pt x="1881189" y="708110"/>
                </a:lnTo>
                <a:lnTo>
                  <a:pt x="1881189" y="624082"/>
                </a:lnTo>
                <a:close/>
                <a:moveTo>
                  <a:pt x="1598186" y="619181"/>
                </a:moveTo>
                <a:lnTo>
                  <a:pt x="1598186" y="1003822"/>
                </a:lnTo>
                <a:cubicBezTo>
                  <a:pt x="1598186" y="1029879"/>
                  <a:pt x="1605601" y="1050079"/>
                  <a:pt x="1620311" y="1064184"/>
                </a:cubicBezTo>
                <a:cubicBezTo>
                  <a:pt x="1620675" y="1064423"/>
                  <a:pt x="1620919" y="1064781"/>
                  <a:pt x="1621162" y="1065020"/>
                </a:cubicBezTo>
                <a:cubicBezTo>
                  <a:pt x="1625052" y="1068606"/>
                  <a:pt x="1629428" y="1071714"/>
                  <a:pt x="1634169" y="1074343"/>
                </a:cubicBezTo>
                <a:cubicBezTo>
                  <a:pt x="1637451" y="1076136"/>
                  <a:pt x="1640977" y="1077690"/>
                  <a:pt x="1644502" y="1079005"/>
                </a:cubicBezTo>
                <a:cubicBezTo>
                  <a:pt x="1660913" y="1085101"/>
                  <a:pt x="1679270" y="1085579"/>
                  <a:pt x="1696532" y="1084981"/>
                </a:cubicBezTo>
                <a:cubicBezTo>
                  <a:pt x="1697990" y="1084981"/>
                  <a:pt x="1699571" y="1084862"/>
                  <a:pt x="1701151" y="1084742"/>
                </a:cubicBezTo>
                <a:cubicBezTo>
                  <a:pt x="1702731" y="1084742"/>
                  <a:pt x="1704433" y="1084503"/>
                  <a:pt x="1706014" y="1084384"/>
                </a:cubicBezTo>
                <a:cubicBezTo>
                  <a:pt x="1707594" y="1084384"/>
                  <a:pt x="1709174" y="1084145"/>
                  <a:pt x="1710755" y="1083906"/>
                </a:cubicBezTo>
                <a:cubicBezTo>
                  <a:pt x="1712335" y="1083786"/>
                  <a:pt x="1713915" y="1083547"/>
                  <a:pt x="1715496" y="1083308"/>
                </a:cubicBezTo>
                <a:cubicBezTo>
                  <a:pt x="1717076" y="1083069"/>
                  <a:pt x="1718656" y="1082830"/>
                  <a:pt x="1720237" y="1082591"/>
                </a:cubicBezTo>
                <a:cubicBezTo>
                  <a:pt x="1721817" y="1082352"/>
                  <a:pt x="1723397" y="1081993"/>
                  <a:pt x="1725099" y="1081635"/>
                </a:cubicBezTo>
                <a:cubicBezTo>
                  <a:pt x="1725950" y="1081396"/>
                  <a:pt x="1726801" y="1081276"/>
                  <a:pt x="1727652" y="1081037"/>
                </a:cubicBezTo>
                <a:cubicBezTo>
                  <a:pt x="1729476" y="1080559"/>
                  <a:pt x="1731178" y="1080081"/>
                  <a:pt x="1733001" y="1079483"/>
                </a:cubicBezTo>
                <a:cubicBezTo>
                  <a:pt x="1733609" y="1079244"/>
                  <a:pt x="1734217" y="1079125"/>
                  <a:pt x="1734946" y="1078886"/>
                </a:cubicBezTo>
                <a:lnTo>
                  <a:pt x="1723154" y="1005137"/>
                </a:lnTo>
                <a:cubicBezTo>
                  <a:pt x="1714159" y="1008005"/>
                  <a:pt x="1702488" y="1009320"/>
                  <a:pt x="1695194" y="1006691"/>
                </a:cubicBezTo>
                <a:lnTo>
                  <a:pt x="1695073" y="1006691"/>
                </a:lnTo>
                <a:cubicBezTo>
                  <a:pt x="1682916" y="1002388"/>
                  <a:pt x="1684254" y="989957"/>
                  <a:pt x="1684254" y="976689"/>
                </a:cubicBezTo>
                <a:lnTo>
                  <a:pt x="1684254" y="619181"/>
                </a:lnTo>
                <a:close/>
                <a:moveTo>
                  <a:pt x="576725" y="564647"/>
                </a:moveTo>
                <a:cubicBezTo>
                  <a:pt x="545346" y="564647"/>
                  <a:pt x="513952" y="576450"/>
                  <a:pt x="490003" y="600057"/>
                </a:cubicBezTo>
                <a:cubicBezTo>
                  <a:pt x="441986" y="647151"/>
                  <a:pt x="441986" y="723530"/>
                  <a:pt x="490003" y="770624"/>
                </a:cubicBezTo>
                <a:cubicBezTo>
                  <a:pt x="537900" y="817718"/>
                  <a:pt x="615580" y="817718"/>
                  <a:pt x="663476" y="770624"/>
                </a:cubicBezTo>
                <a:cubicBezTo>
                  <a:pt x="711373" y="723530"/>
                  <a:pt x="789052" y="723530"/>
                  <a:pt x="837070" y="770624"/>
                </a:cubicBezTo>
                <a:cubicBezTo>
                  <a:pt x="884967" y="817718"/>
                  <a:pt x="884967" y="894096"/>
                  <a:pt x="837070" y="941309"/>
                </a:cubicBezTo>
                <a:cubicBezTo>
                  <a:pt x="789174" y="988404"/>
                  <a:pt x="789174" y="1064782"/>
                  <a:pt x="837070" y="1111876"/>
                </a:cubicBezTo>
                <a:cubicBezTo>
                  <a:pt x="884967" y="1158970"/>
                  <a:pt x="962646" y="1158970"/>
                  <a:pt x="1010664" y="1111876"/>
                </a:cubicBezTo>
                <a:cubicBezTo>
                  <a:pt x="1058561" y="1064782"/>
                  <a:pt x="1058561" y="988404"/>
                  <a:pt x="1010664" y="941309"/>
                </a:cubicBezTo>
                <a:cubicBezTo>
                  <a:pt x="963011" y="893857"/>
                  <a:pt x="963011" y="817479"/>
                  <a:pt x="1010664" y="770624"/>
                </a:cubicBezTo>
                <a:lnTo>
                  <a:pt x="1010543" y="770624"/>
                </a:lnTo>
                <a:cubicBezTo>
                  <a:pt x="1058439" y="723530"/>
                  <a:pt x="1058439" y="647151"/>
                  <a:pt x="1010543" y="600057"/>
                </a:cubicBezTo>
                <a:cubicBezTo>
                  <a:pt x="962646" y="552963"/>
                  <a:pt x="884967" y="552963"/>
                  <a:pt x="836949" y="600057"/>
                </a:cubicBezTo>
                <a:cubicBezTo>
                  <a:pt x="789052" y="647151"/>
                  <a:pt x="711373" y="647151"/>
                  <a:pt x="663355" y="600057"/>
                </a:cubicBezTo>
                <a:cubicBezTo>
                  <a:pt x="639468" y="576450"/>
                  <a:pt x="608104" y="564647"/>
                  <a:pt x="576725" y="564647"/>
                </a:cubicBezTo>
                <a:close/>
                <a:moveTo>
                  <a:pt x="0" y="0"/>
                </a:moveTo>
                <a:lnTo>
                  <a:pt x="5019853" y="0"/>
                </a:lnTo>
                <a:cubicBezTo>
                  <a:pt x="5171963" y="0"/>
                  <a:pt x="5295272" y="123309"/>
                  <a:pt x="5295272" y="275419"/>
                </a:cubicBezTo>
                <a:lnTo>
                  <a:pt x="5295272" y="2723813"/>
                </a:lnTo>
                <a:cubicBezTo>
                  <a:pt x="5295272" y="2875923"/>
                  <a:pt x="5171963" y="2999232"/>
                  <a:pt x="5019853" y="2999232"/>
                </a:cubicBezTo>
                <a:lnTo>
                  <a:pt x="0" y="2999232"/>
                </a:lnTo>
                <a:close/>
              </a:path>
            </a:pathLst>
          </a:custGeom>
          <a:solidFill>
            <a:schemeClr val="bg1">
              <a:alpha val="8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wrap="square" lIns="429768" tIns="1188720" rIns="0" bIns="0" anchor="t" anchorCtr="0">
            <a:noAutofit/>
          </a:bodyPr>
          <a:lstStyle>
            <a:lvl1pPr marL="0" marR="0" indent="0" algn="l" defTabSz="914400" rtl="0" eaLnBrk="1" latinLnBrk="0" hangingPunct="1">
              <a:lnSpc>
                <a:spcPct val="90000"/>
              </a:lnSpc>
              <a:spcBef>
                <a:spcPts val="0"/>
              </a:spcBef>
              <a:spcAft>
                <a:spcPts val="0"/>
              </a:spcAft>
              <a:buClrTx/>
              <a:buSzTx/>
              <a:buFontTx/>
              <a:buNone/>
              <a:tabLst/>
              <a:defRPr sz="2800" b="1" i="0" u="none" strike="noStrike" cap="none" spc="0" baseline="0">
                <a:solidFill>
                  <a:schemeClr val="tx2"/>
                </a:solidFill>
                <a:uFillTx/>
                <a:latin typeface="Raleway" panose="020B0503030101060003" pitchFamily="34" charset="77"/>
                <a:ea typeface="Inter" panose="02000503000000020004" pitchFamily="2" charset="0"/>
                <a:cs typeface="Arial"/>
                <a:sym typeface="Arial"/>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a:lstStyle>
          <a:p>
            <a:pPr>
              <a:lnSpc>
                <a:spcPct val="120000"/>
              </a:lnSpc>
              <a:spcBef>
                <a:spcPts val="1000"/>
              </a:spcBef>
            </a:pPr>
            <a:r>
              <a:rPr lang="en-US" dirty="0"/>
              <a:t>Click to edit title style</a:t>
            </a:r>
          </a:p>
        </p:txBody>
      </p:sp>
      <p:sp>
        <p:nvSpPr>
          <p:cNvPr id="3" name="Subtitle 2">
            <a:extLst>
              <a:ext uri="{FF2B5EF4-FFF2-40B4-BE49-F238E27FC236}">
                <a16:creationId xmlns:a16="http://schemas.microsoft.com/office/drawing/2014/main" id="{3B5DCC05-4DEC-E6B4-BFB1-CEB9A74C045C}"/>
              </a:ext>
            </a:extLst>
          </p:cNvPr>
          <p:cNvSpPr>
            <a:spLocks noGrp="1"/>
          </p:cNvSpPr>
          <p:nvPr>
            <p:ph type="subTitle" idx="1"/>
          </p:nvPr>
        </p:nvSpPr>
        <p:spPr>
          <a:xfrm>
            <a:off x="445388" y="4342928"/>
            <a:ext cx="4615301" cy="585688"/>
          </a:xfrm>
        </p:spPr>
        <p:txBody>
          <a:bodyPr lIns="0" tIns="0" rIns="0" bIns="0">
            <a:noAutofit/>
          </a:bodyPr>
          <a:lstStyle>
            <a:lvl1pPr marL="0" indent="0" algn="l">
              <a:lnSpc>
                <a:spcPct val="114000"/>
              </a:lnSpc>
              <a:spcBef>
                <a:spcPts val="0"/>
              </a:spcBef>
              <a:buNone/>
              <a:defRPr sz="1600" b="0">
                <a:solidFill>
                  <a:schemeClr val="tx2"/>
                </a:solidFill>
              </a:defRPr>
            </a:lvl1pPr>
            <a:lvl2pPr marL="0" indent="0" algn="l">
              <a:lnSpc>
                <a:spcPct val="114000"/>
              </a:lnSpc>
              <a:spcBef>
                <a:spcPts val="0"/>
              </a:spcBef>
              <a:buNone/>
              <a:defRPr sz="1400" b="0">
                <a:solidFill>
                  <a:schemeClr val="tx2"/>
                </a:solidFill>
              </a:defRPr>
            </a:lvl2pPr>
            <a:lvl3pPr marL="0" indent="0" algn="l">
              <a:lnSpc>
                <a:spcPct val="114000"/>
              </a:lnSpc>
              <a:spcBef>
                <a:spcPts val="0"/>
              </a:spcBef>
              <a:buNone/>
              <a:defRPr sz="1200" i="1">
                <a:solidFill>
                  <a:schemeClr val="tx2"/>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Freeform 13">
            <a:extLst>
              <a:ext uri="{FF2B5EF4-FFF2-40B4-BE49-F238E27FC236}">
                <a16:creationId xmlns:a16="http://schemas.microsoft.com/office/drawing/2014/main" id="{C25900A6-F3E0-02F1-B335-926593133DE4}"/>
              </a:ext>
            </a:extLst>
          </p:cNvPr>
          <p:cNvSpPr/>
          <p:nvPr/>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Footer Placeholder 9">
            <a:extLst>
              <a:ext uri="{FF2B5EF4-FFF2-40B4-BE49-F238E27FC236}">
                <a16:creationId xmlns:a16="http://schemas.microsoft.com/office/drawing/2014/main" id="{C799D417-89F9-5D65-DD80-89A6B56D94B3}"/>
              </a:ext>
            </a:extLst>
          </p:cNvPr>
          <p:cNvSpPr>
            <a:spLocks noGrp="1"/>
          </p:cNvSpPr>
          <p:nvPr>
            <p:ph type="ftr" sz="quarter" idx="16"/>
          </p:nvPr>
        </p:nvSpPr>
        <p:spPr/>
        <p:txBody>
          <a:bodyPr/>
          <a:lstStyle>
            <a:lvl1pPr>
              <a:defRPr>
                <a:solidFill>
                  <a:schemeClr val="bg1"/>
                </a:solidFill>
              </a:defRPr>
            </a:lvl1pPr>
          </a:lstStyle>
          <a:p>
            <a:r>
              <a:rPr lang="en-US" dirty="0"/>
              <a:t>Proprietary &amp; Confidential: Not for Distribution.</a:t>
            </a:r>
          </a:p>
        </p:txBody>
      </p:sp>
      <p:sp>
        <p:nvSpPr>
          <p:cNvPr id="11" name="Slide Number Placeholder 10">
            <a:extLst>
              <a:ext uri="{FF2B5EF4-FFF2-40B4-BE49-F238E27FC236}">
                <a16:creationId xmlns:a16="http://schemas.microsoft.com/office/drawing/2014/main" id="{CDE2C7B7-B188-D44E-C2C1-6BCCC1657113}"/>
              </a:ext>
            </a:extLst>
          </p:cNvPr>
          <p:cNvSpPr>
            <a:spLocks noGrp="1"/>
          </p:cNvSpPr>
          <p:nvPr>
            <p:ph type="sldNum" sz="quarter" idx="17"/>
          </p:nvPr>
        </p:nvSpPr>
        <p:spPr/>
        <p:txBody>
          <a:bodyPr/>
          <a:lstStyle/>
          <a:p>
            <a:fld id="{86CB4B4D-7CA3-9044-876B-883B54F8677D}" type="slidenum">
              <a:rPr lang="en-US" smtClean="0"/>
              <a:pPr/>
              <a:t>‹#›</a:t>
            </a:fld>
            <a:endParaRPr lang="en-US" dirty="0"/>
          </a:p>
        </p:txBody>
      </p:sp>
      <p:sp>
        <p:nvSpPr>
          <p:cNvPr id="12" name="Freeform 11">
            <a:extLst>
              <a:ext uri="{FF2B5EF4-FFF2-40B4-BE49-F238E27FC236}">
                <a16:creationId xmlns:a16="http://schemas.microsoft.com/office/drawing/2014/main" id="{E22057E5-39A4-6816-8BA2-5034A8EC7EF9}"/>
              </a:ext>
            </a:extLst>
          </p:cNvPr>
          <p:cNvSpPr/>
          <p:nvPr userDrawn="1"/>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ext Placeholder 4">
            <a:extLst>
              <a:ext uri="{FF2B5EF4-FFF2-40B4-BE49-F238E27FC236}">
                <a16:creationId xmlns:a16="http://schemas.microsoft.com/office/drawing/2014/main" id="{B8E081FE-E04A-5C5A-7284-65D23F301221}"/>
              </a:ext>
            </a:extLst>
          </p:cNvPr>
          <p:cNvSpPr>
            <a:spLocks noGrp="1"/>
          </p:cNvSpPr>
          <p:nvPr>
            <p:ph type="body" sz="quarter" idx="18"/>
          </p:nvPr>
        </p:nvSpPr>
        <p:spPr>
          <a:xfrm>
            <a:off x="438913" y="3602736"/>
            <a:ext cx="4856358" cy="415925"/>
          </a:xfrm>
        </p:spPr>
        <p:txBody>
          <a:bodyPr/>
          <a:lstStyle>
            <a:lvl1pPr marL="0" indent="0">
              <a:lnSpc>
                <a:spcPct val="90000"/>
              </a:lnSpc>
              <a:buNone/>
              <a:defRPr cap="all" baseline="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1419130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160">
          <p15:clr>
            <a:srgbClr val="FBAE40"/>
          </p15:clr>
        </p15:guide>
        <p15:guide id="5" pos="3840">
          <p15:clr>
            <a:srgbClr val="FBAE40"/>
          </p15:clr>
        </p15:guide>
        <p15:guide id="6" pos="26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and-2-Text">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DC1977E-810E-15A0-D75B-CC5990E6FBDC}"/>
              </a:ext>
            </a:extLst>
          </p:cNvPr>
          <p:cNvSpPr>
            <a:spLocks noGrp="1"/>
          </p:cNvSpPr>
          <p:nvPr>
            <p:ph sz="quarter" idx="15"/>
          </p:nvPr>
        </p:nvSpPr>
        <p:spPr>
          <a:xfrm>
            <a:off x="609600" y="1600200"/>
            <a:ext cx="5212080" cy="4402138"/>
          </a:xfrm>
          <a:custGeom>
            <a:avLst/>
            <a:gdLst>
              <a:gd name="connsiteX0" fmla="*/ 0 w 5212080"/>
              <a:gd name="connsiteY0" fmla="*/ 0 h 4402138"/>
              <a:gd name="connsiteX1" fmla="*/ 5212080 w 5212080"/>
              <a:gd name="connsiteY1" fmla="*/ 0 h 4402138"/>
              <a:gd name="connsiteX2" fmla="*/ 5212080 w 5212080"/>
              <a:gd name="connsiteY2" fmla="*/ 4402138 h 4402138"/>
              <a:gd name="connsiteX3" fmla="*/ 0 w 52120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5212080" h="4402138">
                <a:moveTo>
                  <a:pt x="0" y="0"/>
                </a:moveTo>
                <a:lnTo>
                  <a:pt x="5212080" y="0"/>
                </a:lnTo>
                <a:lnTo>
                  <a:pt x="5212080" y="4402138"/>
                </a:lnTo>
                <a:lnTo>
                  <a:pt x="0" y="4402138"/>
                </a:lnTo>
                <a:close/>
              </a:path>
            </a:pathLst>
          </a:cu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B69DEFC8-5002-27B3-E1E4-107A44A44EBD}"/>
              </a:ext>
            </a:extLst>
          </p:cNvPr>
          <p:cNvSpPr>
            <a:spLocks noGrp="1"/>
          </p:cNvSpPr>
          <p:nvPr>
            <p:ph sz="quarter" idx="16"/>
          </p:nvPr>
        </p:nvSpPr>
        <p:spPr>
          <a:xfrm>
            <a:off x="6323428" y="1600200"/>
            <a:ext cx="5212080" cy="4402138"/>
          </a:xfrm>
          <a:custGeom>
            <a:avLst/>
            <a:gdLst>
              <a:gd name="connsiteX0" fmla="*/ 0 w 5212080"/>
              <a:gd name="connsiteY0" fmla="*/ 0 h 4402138"/>
              <a:gd name="connsiteX1" fmla="*/ 5212080 w 5212080"/>
              <a:gd name="connsiteY1" fmla="*/ 0 h 4402138"/>
              <a:gd name="connsiteX2" fmla="*/ 5212080 w 5212080"/>
              <a:gd name="connsiteY2" fmla="*/ 4402138 h 4402138"/>
              <a:gd name="connsiteX3" fmla="*/ 0 w 52120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5212080" h="4402138">
                <a:moveTo>
                  <a:pt x="0" y="0"/>
                </a:moveTo>
                <a:lnTo>
                  <a:pt x="5212080" y="0"/>
                </a:lnTo>
                <a:lnTo>
                  <a:pt x="5212080" y="4402138"/>
                </a:lnTo>
                <a:lnTo>
                  <a:pt x="0" y="4402138"/>
                </a:lnTo>
                <a:close/>
              </a:path>
            </a:pathLst>
          </a:cu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68038C00-0120-1675-279A-F2529E73DF9F}"/>
              </a:ext>
            </a:extLst>
          </p:cNvPr>
          <p:cNvSpPr>
            <a:spLocks noGrp="1"/>
          </p:cNvSpPr>
          <p:nvPr>
            <p:ph type="sldNum" sz="quarter" idx="10"/>
          </p:nvPr>
        </p:nvSpPr>
        <p:spPr/>
        <p:txBody>
          <a:body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87F5D486-E967-163F-1E9B-C8B37D6E97FA}"/>
              </a:ext>
            </a:extLst>
          </p:cNvPr>
          <p:cNvSpPr>
            <a:spLocks noGrp="1"/>
          </p:cNvSpPr>
          <p:nvPr>
            <p:ph type="ftr" sz="quarter" idx="11"/>
          </p:nvPr>
        </p:nvSpPr>
        <p:spPr/>
        <p:txBody>
          <a:bodyPr/>
          <a:lstStyle/>
          <a:p>
            <a:r>
              <a:rPr lang="en-US" dirty="0"/>
              <a:t>Proprietary &amp; Confidential: Not for Distribution.</a:t>
            </a:r>
          </a:p>
        </p:txBody>
      </p:sp>
      <p:sp>
        <p:nvSpPr>
          <p:cNvPr id="15" name="Title 14">
            <a:extLst>
              <a:ext uri="{FF2B5EF4-FFF2-40B4-BE49-F238E27FC236}">
                <a16:creationId xmlns:a16="http://schemas.microsoft.com/office/drawing/2014/main" id="{9BC6D4DC-FC0C-E3E6-7E30-E331F5091751}"/>
              </a:ext>
            </a:extLst>
          </p:cNvPr>
          <p:cNvSpPr>
            <a:spLocks noGrp="1"/>
          </p:cNvSpPr>
          <p:nvPr>
            <p:ph type="title"/>
          </p:nvPr>
        </p:nvSpPr>
        <p:spPr/>
        <p:txBody>
          <a:bodyPr/>
          <a:lstStyle/>
          <a:p>
            <a:r>
              <a:rPr lang="en-US"/>
              <a:t>Click to edit Master title style</a:t>
            </a:r>
          </a:p>
        </p:txBody>
      </p:sp>
      <p:cxnSp>
        <p:nvCxnSpPr>
          <p:cNvPr id="16" name="Straight Connector 15">
            <a:extLst>
              <a:ext uri="{FF2B5EF4-FFF2-40B4-BE49-F238E27FC236}">
                <a16:creationId xmlns:a16="http://schemas.microsoft.com/office/drawing/2014/main" id="{B970698A-DC1D-27BB-467C-911075FA12BD}"/>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cxnSp>
        <p:nvCxnSpPr>
          <p:cNvPr id="2" name="Straight Connector 1">
            <a:extLst>
              <a:ext uri="{FF2B5EF4-FFF2-40B4-BE49-F238E27FC236}">
                <a16:creationId xmlns:a16="http://schemas.microsoft.com/office/drawing/2014/main" id="{CB0B297D-2D8A-FA59-8BFF-F3E80BFA6D86}"/>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5" name="Text Placeholder 6">
            <a:extLst>
              <a:ext uri="{FF2B5EF4-FFF2-40B4-BE49-F238E27FC236}">
                <a16:creationId xmlns:a16="http://schemas.microsoft.com/office/drawing/2014/main" id="{2A68D566-1575-80D4-3F52-1350A2EF374C}"/>
              </a:ext>
            </a:extLst>
          </p:cNvPr>
          <p:cNvSpPr>
            <a:spLocks noGrp="1"/>
          </p:cNvSpPr>
          <p:nvPr>
            <p:ph type="body" sz="quarter" idx="25"/>
          </p:nvPr>
        </p:nvSpPr>
        <p:spPr>
          <a:xfrm>
            <a:off x="612648" y="2011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4275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and-3-Text">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71338E94-1E6F-0F81-3340-FB998C21FF15}"/>
              </a:ext>
            </a:extLst>
          </p:cNvPr>
          <p:cNvSpPr>
            <a:spLocks noGrp="1"/>
          </p:cNvSpPr>
          <p:nvPr>
            <p:ph sz="quarter" idx="18"/>
          </p:nvPr>
        </p:nvSpPr>
        <p:spPr>
          <a:xfrm>
            <a:off x="8199120" y="1600200"/>
            <a:ext cx="3383280" cy="4402138"/>
          </a:xfrm>
          <a:custGeom>
            <a:avLst/>
            <a:gdLst>
              <a:gd name="connsiteX0" fmla="*/ 0 w 3383280"/>
              <a:gd name="connsiteY0" fmla="*/ 0 h 4402138"/>
              <a:gd name="connsiteX1" fmla="*/ 3383280 w 3383280"/>
              <a:gd name="connsiteY1" fmla="*/ 0 h 4402138"/>
              <a:gd name="connsiteX2" fmla="*/ 3383280 w 3383280"/>
              <a:gd name="connsiteY2" fmla="*/ 4402138 h 4402138"/>
              <a:gd name="connsiteX3" fmla="*/ 0 w 33832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3383280" h="4402138">
                <a:moveTo>
                  <a:pt x="0" y="0"/>
                </a:moveTo>
                <a:lnTo>
                  <a:pt x="3383280" y="0"/>
                </a:lnTo>
                <a:lnTo>
                  <a:pt x="3383280" y="4402138"/>
                </a:lnTo>
                <a:lnTo>
                  <a:pt x="0" y="4402138"/>
                </a:lnTo>
                <a:close/>
              </a:path>
            </a:pathLst>
          </a:cu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4B51A842-4B35-1043-1028-E6430B03E681}"/>
              </a:ext>
            </a:extLst>
          </p:cNvPr>
          <p:cNvSpPr>
            <a:spLocks noGrp="1"/>
          </p:cNvSpPr>
          <p:nvPr>
            <p:ph sz="quarter" idx="17"/>
          </p:nvPr>
        </p:nvSpPr>
        <p:spPr>
          <a:xfrm>
            <a:off x="4404360" y="1600200"/>
            <a:ext cx="3383280" cy="4402138"/>
          </a:xfrm>
          <a:custGeom>
            <a:avLst/>
            <a:gdLst>
              <a:gd name="connsiteX0" fmla="*/ 0 w 3383280"/>
              <a:gd name="connsiteY0" fmla="*/ 0 h 4402138"/>
              <a:gd name="connsiteX1" fmla="*/ 3383280 w 3383280"/>
              <a:gd name="connsiteY1" fmla="*/ 0 h 4402138"/>
              <a:gd name="connsiteX2" fmla="*/ 3383280 w 3383280"/>
              <a:gd name="connsiteY2" fmla="*/ 4402138 h 4402138"/>
              <a:gd name="connsiteX3" fmla="*/ 0 w 33832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3383280" h="4402138">
                <a:moveTo>
                  <a:pt x="0" y="0"/>
                </a:moveTo>
                <a:lnTo>
                  <a:pt x="3383280" y="0"/>
                </a:lnTo>
                <a:lnTo>
                  <a:pt x="3383280" y="4402138"/>
                </a:lnTo>
                <a:lnTo>
                  <a:pt x="0" y="4402138"/>
                </a:lnTo>
                <a:close/>
              </a:path>
            </a:pathLst>
          </a:cu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CE4EE803-5F83-E311-6EFA-676796A76F71}"/>
              </a:ext>
            </a:extLst>
          </p:cNvPr>
          <p:cNvSpPr>
            <a:spLocks noGrp="1"/>
          </p:cNvSpPr>
          <p:nvPr>
            <p:ph sz="quarter" idx="16"/>
          </p:nvPr>
        </p:nvSpPr>
        <p:spPr>
          <a:xfrm>
            <a:off x="609600" y="1600200"/>
            <a:ext cx="3383280" cy="4402138"/>
          </a:xfrm>
          <a:custGeom>
            <a:avLst/>
            <a:gdLst>
              <a:gd name="connsiteX0" fmla="*/ 0 w 3383280"/>
              <a:gd name="connsiteY0" fmla="*/ 0 h 4402138"/>
              <a:gd name="connsiteX1" fmla="*/ 3383280 w 3383280"/>
              <a:gd name="connsiteY1" fmla="*/ 0 h 4402138"/>
              <a:gd name="connsiteX2" fmla="*/ 3383280 w 3383280"/>
              <a:gd name="connsiteY2" fmla="*/ 4402138 h 4402138"/>
              <a:gd name="connsiteX3" fmla="*/ 0 w 33832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3383280" h="4402138">
                <a:moveTo>
                  <a:pt x="0" y="0"/>
                </a:moveTo>
                <a:lnTo>
                  <a:pt x="3383280" y="0"/>
                </a:lnTo>
                <a:lnTo>
                  <a:pt x="3383280" y="4402138"/>
                </a:lnTo>
                <a:lnTo>
                  <a:pt x="0" y="4402138"/>
                </a:lnTo>
                <a:close/>
              </a:path>
            </a:pathLst>
          </a:cu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68038C00-0120-1675-279A-F2529E73DF9F}"/>
              </a:ext>
            </a:extLst>
          </p:cNvPr>
          <p:cNvSpPr>
            <a:spLocks noGrp="1"/>
          </p:cNvSpPr>
          <p:nvPr>
            <p:ph type="sldNum" sz="quarter" idx="10"/>
          </p:nvPr>
        </p:nvSpPr>
        <p:spPr/>
        <p:txBody>
          <a:body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87F5D486-E967-163F-1E9B-C8B37D6E97FA}"/>
              </a:ext>
            </a:extLst>
          </p:cNvPr>
          <p:cNvSpPr>
            <a:spLocks noGrp="1"/>
          </p:cNvSpPr>
          <p:nvPr>
            <p:ph type="ftr" sz="quarter" idx="11"/>
          </p:nvPr>
        </p:nvSpPr>
        <p:spPr/>
        <p:txBody>
          <a:bodyPr/>
          <a:lstStyle/>
          <a:p>
            <a:r>
              <a:rPr lang="en-US" dirty="0"/>
              <a:t>Proprietary &amp; Confidential: Not for Distribution.</a:t>
            </a:r>
          </a:p>
        </p:txBody>
      </p:sp>
      <p:cxnSp>
        <p:nvCxnSpPr>
          <p:cNvPr id="17" name="Straight Connector 16">
            <a:extLst>
              <a:ext uri="{FF2B5EF4-FFF2-40B4-BE49-F238E27FC236}">
                <a16:creationId xmlns:a16="http://schemas.microsoft.com/office/drawing/2014/main" id="{FC5BF5D3-FF4D-5A85-87DA-443E02D0DD29}"/>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18" name="Title 17">
            <a:extLst>
              <a:ext uri="{FF2B5EF4-FFF2-40B4-BE49-F238E27FC236}">
                <a16:creationId xmlns:a16="http://schemas.microsoft.com/office/drawing/2014/main" id="{24D713F0-85D7-1669-19EC-31D5454C96C4}"/>
              </a:ext>
            </a:extLst>
          </p:cNvPr>
          <p:cNvSpPr>
            <a:spLocks noGrp="1"/>
          </p:cNvSpPr>
          <p:nvPr>
            <p:ph type="title"/>
          </p:nvPr>
        </p:nvSpPr>
        <p:spPr/>
        <p:txBody>
          <a:bodyPr/>
          <a:lstStyle/>
          <a:p>
            <a:r>
              <a:rPr lang="en-US"/>
              <a:t>Click to edit Master title style</a:t>
            </a:r>
          </a:p>
        </p:txBody>
      </p:sp>
      <p:cxnSp>
        <p:nvCxnSpPr>
          <p:cNvPr id="2" name="Straight Connector 1">
            <a:extLst>
              <a:ext uri="{FF2B5EF4-FFF2-40B4-BE49-F238E27FC236}">
                <a16:creationId xmlns:a16="http://schemas.microsoft.com/office/drawing/2014/main" id="{375B1593-3AD6-CCB5-AB7F-6CF9124BA3DF}"/>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5" name="Text Placeholder 6">
            <a:extLst>
              <a:ext uri="{FF2B5EF4-FFF2-40B4-BE49-F238E27FC236}">
                <a16:creationId xmlns:a16="http://schemas.microsoft.com/office/drawing/2014/main" id="{EBFBD220-037D-4F64-E865-AECAFB7EBC81}"/>
              </a:ext>
            </a:extLst>
          </p:cNvPr>
          <p:cNvSpPr>
            <a:spLocks noGrp="1"/>
          </p:cNvSpPr>
          <p:nvPr>
            <p:ph type="body" sz="quarter" idx="25"/>
          </p:nvPr>
        </p:nvSpPr>
        <p:spPr>
          <a:xfrm>
            <a:off x="612648" y="2011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88669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Custom Layout">
    <p:spTree>
      <p:nvGrpSpPr>
        <p:cNvPr id="1" name=""/>
        <p:cNvGrpSpPr/>
        <p:nvPr/>
      </p:nvGrpSpPr>
      <p:grpSpPr>
        <a:xfrm>
          <a:off x="0" y="0"/>
          <a:ext cx="0" cy="0"/>
          <a:chOff x="0" y="0"/>
          <a:chExt cx="0" cy="0"/>
        </a:xfrm>
      </p:grpSpPr>
      <p:sp>
        <p:nvSpPr>
          <p:cNvPr id="26" name="Picture Placeholder 3"/>
          <p:cNvSpPr>
            <a:spLocks noGrp="1"/>
          </p:cNvSpPr>
          <p:nvPr>
            <p:ph type="pic" idx="21"/>
          </p:nvPr>
        </p:nvSpPr>
        <p:spPr>
          <a:xfrm>
            <a:off x="0" y="0"/>
            <a:ext cx="12192000" cy="6858000"/>
          </a:xfrm>
          <a:prstGeom prst="rect">
            <a:avLst/>
          </a:prstGeom>
          <a:solidFill>
            <a:srgbClr val="FFFFFF"/>
          </a:solidFill>
        </p:spPr>
        <p:txBody>
          <a:bodyPr lIns="91439" rIns="91439">
            <a:noAutofit/>
          </a:bodyPr>
          <a:lstStyle/>
          <a:p>
            <a:r>
              <a:rPr lang="en-US" dirty="0"/>
              <a:t>Click icon to add picture</a:t>
            </a:r>
            <a:endParaRPr dirty="0"/>
          </a:p>
        </p:txBody>
      </p:sp>
      <p:sp>
        <p:nvSpPr>
          <p:cNvPr id="5" name="Footer Placeholder 4">
            <a:extLst>
              <a:ext uri="{FF2B5EF4-FFF2-40B4-BE49-F238E27FC236}">
                <a16:creationId xmlns:a16="http://schemas.microsoft.com/office/drawing/2014/main" id="{DB6BAD02-6182-88EC-6C2A-6B13DDEEAE50}"/>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915C1F50-D06E-674F-AB64-2B726CDCDB5C}"/>
              </a:ext>
            </a:extLst>
          </p:cNvPr>
          <p:cNvSpPr>
            <a:spLocks noGrp="1"/>
          </p:cNvSpPr>
          <p:nvPr>
            <p:ph type="sldNum" sz="quarter" idx="24"/>
          </p:nvPr>
        </p:nvSpPr>
        <p:spPr/>
        <p:txBody>
          <a:body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0621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3_Custom Layout">
    <p:spTree>
      <p:nvGrpSpPr>
        <p:cNvPr id="1" name=""/>
        <p:cNvGrpSpPr/>
        <p:nvPr/>
      </p:nvGrpSpPr>
      <p:grpSpPr>
        <a:xfrm>
          <a:off x="0" y="0"/>
          <a:ext cx="0" cy="0"/>
          <a:chOff x="0" y="0"/>
          <a:chExt cx="0" cy="0"/>
        </a:xfrm>
      </p:grpSpPr>
      <p:sp>
        <p:nvSpPr>
          <p:cNvPr id="43" name="Picture Placeholder 7"/>
          <p:cNvSpPr>
            <a:spLocks noGrp="1"/>
          </p:cNvSpPr>
          <p:nvPr>
            <p:ph type="pic" idx="21"/>
          </p:nvPr>
        </p:nvSpPr>
        <p:spPr>
          <a:xfrm>
            <a:off x="-1" y="0"/>
            <a:ext cx="6671056" cy="6858000"/>
          </a:xfrm>
          <a:prstGeom prst="rect">
            <a:avLst/>
          </a:prstGeom>
        </p:spPr>
        <p:txBody>
          <a:bodyPr lIns="91439" rIns="91439">
            <a:noAutofit/>
          </a:bodyPr>
          <a:lstStyle/>
          <a:p>
            <a:r>
              <a:rPr lang="en-US" dirty="0"/>
              <a:t>Click icon to add picture</a:t>
            </a:r>
            <a:endParaRPr dirty="0"/>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9293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BB8442-4187-3319-7870-9E8A3A4609F5}"/>
              </a:ext>
            </a:extLst>
          </p:cNvPr>
          <p:cNvGraphicFramePr>
            <a:graphicFrameLocks noChangeAspect="1"/>
          </p:cNvGraphicFramePr>
          <p:nvPr>
            <p:custDataLst>
              <p:tags r:id="rId1"/>
            </p:custDataLst>
            <p:extLst>
              <p:ext uri="{D42A27DB-BD31-4B8C-83A1-F6EECF244321}">
                <p14:modId xmlns:p14="http://schemas.microsoft.com/office/powerpoint/2010/main" val="5962866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4BB8442-4187-3319-7870-9E8A3A4609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reeform 6">
            <a:extLst>
              <a:ext uri="{FF2B5EF4-FFF2-40B4-BE49-F238E27FC236}">
                <a16:creationId xmlns:a16="http://schemas.microsoft.com/office/drawing/2014/main" id="{189F8C71-4A7E-A812-1A3D-452F86BB0A58}"/>
              </a:ext>
            </a:extLst>
          </p:cNvPr>
          <p:cNvSpPr/>
          <p:nvPr userDrawn="1"/>
        </p:nvSpPr>
        <p:spPr>
          <a:xfrm flipH="1">
            <a:off x="7352462" y="-7496"/>
            <a:ext cx="4846771" cy="6865497"/>
          </a:xfrm>
          <a:custGeom>
            <a:avLst/>
            <a:gdLst>
              <a:gd name="connsiteX0" fmla="*/ 4351134 w 4846771"/>
              <a:gd name="connsiteY0" fmla="*/ 0 h 6865497"/>
              <a:gd name="connsiteX1" fmla="*/ 2973889 w 4846771"/>
              <a:gd name="connsiteY1" fmla="*/ 0 h 6865497"/>
              <a:gd name="connsiteX2" fmla="*/ 1377245 w 4846771"/>
              <a:gd name="connsiteY2" fmla="*/ 0 h 6865497"/>
              <a:gd name="connsiteX3" fmla="*/ 0 w 4846771"/>
              <a:gd name="connsiteY3" fmla="*/ 0 h 6865497"/>
              <a:gd name="connsiteX4" fmla="*/ 0 w 4846771"/>
              <a:gd name="connsiteY4" fmla="*/ 6865497 h 6865497"/>
              <a:gd name="connsiteX5" fmla="*/ 1377245 w 4846771"/>
              <a:gd name="connsiteY5" fmla="*/ 6865497 h 6865497"/>
              <a:gd name="connsiteX6" fmla="*/ 2975952 w 4846771"/>
              <a:gd name="connsiteY6" fmla="*/ 6865497 h 6865497"/>
              <a:gd name="connsiteX7" fmla="*/ 4353197 w 4846771"/>
              <a:gd name="connsiteY7" fmla="*/ 6865497 h 6865497"/>
              <a:gd name="connsiteX8" fmla="*/ 4495533 w 4846771"/>
              <a:gd name="connsiteY8" fmla="*/ 6348030 h 6865497"/>
              <a:gd name="connsiteX9" fmla="*/ 4846771 w 4846771"/>
              <a:gd name="connsiteY9" fmla="*/ 3436498 h 6865497"/>
              <a:gd name="connsiteX10" fmla="*/ 4495534 w 4846771"/>
              <a:gd name="connsiteY10"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46771" h="6865497">
                <a:moveTo>
                  <a:pt x="4351134" y="0"/>
                </a:moveTo>
                <a:lnTo>
                  <a:pt x="2973889" y="0"/>
                </a:lnTo>
                <a:lnTo>
                  <a:pt x="1377245" y="0"/>
                </a:lnTo>
                <a:lnTo>
                  <a:pt x="0" y="0"/>
                </a:lnTo>
                <a:lnTo>
                  <a:pt x="0" y="6865497"/>
                </a:lnTo>
                <a:lnTo>
                  <a:pt x="1377245" y="6865497"/>
                </a:lnTo>
                <a:lnTo>
                  <a:pt x="2975952" y="6865497"/>
                </a:lnTo>
                <a:lnTo>
                  <a:pt x="4353197" y="6865497"/>
                </a:lnTo>
                <a:lnTo>
                  <a:pt x="4495533" y="6348030"/>
                </a:lnTo>
                <a:cubicBezTo>
                  <a:pt x="4723543" y="5431152"/>
                  <a:pt x="4846771" y="4452613"/>
                  <a:pt x="4846771" y="3436498"/>
                </a:cubicBezTo>
                <a:cubicBezTo>
                  <a:pt x="4846771" y="2420383"/>
                  <a:pt x="4723543" y="1441845"/>
                  <a:pt x="4495534"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 name="Text Placeholder 2">
            <a:extLst>
              <a:ext uri="{FF2B5EF4-FFF2-40B4-BE49-F238E27FC236}">
                <a16:creationId xmlns:a16="http://schemas.microsoft.com/office/drawing/2014/main" id="{3FE73CD8-0EAD-34B2-557F-61179C223B6C}"/>
              </a:ext>
            </a:extLst>
          </p:cNvPr>
          <p:cNvSpPr>
            <a:spLocks noGrp="1"/>
          </p:cNvSpPr>
          <p:nvPr>
            <p:ph type="body" sz="quarter" idx="30"/>
          </p:nvPr>
        </p:nvSpPr>
        <p:spPr>
          <a:xfrm>
            <a:off x="609600" y="1600199"/>
            <a:ext cx="6242050" cy="4700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reeform 15">
            <a:extLst>
              <a:ext uri="{FF2B5EF4-FFF2-40B4-BE49-F238E27FC236}">
                <a16:creationId xmlns:a16="http://schemas.microsoft.com/office/drawing/2014/main" id="{2417E22F-174F-6034-5A65-8973542E0594}"/>
              </a:ext>
            </a:extLst>
          </p:cNvPr>
          <p:cNvSpPr/>
          <p:nvPr/>
        </p:nvSpPr>
        <p:spPr>
          <a:xfrm flipH="1">
            <a:off x="7352462" y="-7496"/>
            <a:ext cx="4846771" cy="6865497"/>
          </a:xfrm>
          <a:custGeom>
            <a:avLst/>
            <a:gdLst>
              <a:gd name="connsiteX0" fmla="*/ 4351134 w 4846771"/>
              <a:gd name="connsiteY0" fmla="*/ 0 h 6865497"/>
              <a:gd name="connsiteX1" fmla="*/ 2973889 w 4846771"/>
              <a:gd name="connsiteY1" fmla="*/ 0 h 6865497"/>
              <a:gd name="connsiteX2" fmla="*/ 1377245 w 4846771"/>
              <a:gd name="connsiteY2" fmla="*/ 0 h 6865497"/>
              <a:gd name="connsiteX3" fmla="*/ 0 w 4846771"/>
              <a:gd name="connsiteY3" fmla="*/ 0 h 6865497"/>
              <a:gd name="connsiteX4" fmla="*/ 0 w 4846771"/>
              <a:gd name="connsiteY4" fmla="*/ 6865497 h 6865497"/>
              <a:gd name="connsiteX5" fmla="*/ 1377245 w 4846771"/>
              <a:gd name="connsiteY5" fmla="*/ 6865497 h 6865497"/>
              <a:gd name="connsiteX6" fmla="*/ 2975952 w 4846771"/>
              <a:gd name="connsiteY6" fmla="*/ 6865497 h 6865497"/>
              <a:gd name="connsiteX7" fmla="*/ 4353197 w 4846771"/>
              <a:gd name="connsiteY7" fmla="*/ 6865497 h 6865497"/>
              <a:gd name="connsiteX8" fmla="*/ 4495533 w 4846771"/>
              <a:gd name="connsiteY8" fmla="*/ 6348030 h 6865497"/>
              <a:gd name="connsiteX9" fmla="*/ 4846771 w 4846771"/>
              <a:gd name="connsiteY9" fmla="*/ 3436498 h 6865497"/>
              <a:gd name="connsiteX10" fmla="*/ 4495534 w 4846771"/>
              <a:gd name="connsiteY10"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46771" h="6865497">
                <a:moveTo>
                  <a:pt x="4351134" y="0"/>
                </a:moveTo>
                <a:lnTo>
                  <a:pt x="2973889" y="0"/>
                </a:lnTo>
                <a:lnTo>
                  <a:pt x="1377245" y="0"/>
                </a:lnTo>
                <a:lnTo>
                  <a:pt x="0" y="0"/>
                </a:lnTo>
                <a:lnTo>
                  <a:pt x="0" y="6865497"/>
                </a:lnTo>
                <a:lnTo>
                  <a:pt x="1377245" y="6865497"/>
                </a:lnTo>
                <a:lnTo>
                  <a:pt x="2975952" y="6865497"/>
                </a:lnTo>
                <a:lnTo>
                  <a:pt x="4353197" y="6865497"/>
                </a:lnTo>
                <a:lnTo>
                  <a:pt x="4495533" y="6348030"/>
                </a:lnTo>
                <a:cubicBezTo>
                  <a:pt x="4723543" y="5431152"/>
                  <a:pt x="4846771" y="4452613"/>
                  <a:pt x="4846771" y="3436498"/>
                </a:cubicBezTo>
                <a:cubicBezTo>
                  <a:pt x="4846771" y="2420383"/>
                  <a:pt x="4723543" y="1441845"/>
                  <a:pt x="4495534"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lvl1pPr>
              <a:defRPr>
                <a:solidFill>
                  <a:schemeClr val="bg1"/>
                </a:solidFill>
              </a:defRPr>
            </a:lvl1p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612648" y="557784"/>
            <a:ext cx="6400800" cy="438912"/>
          </a:xfrm>
        </p:spPr>
        <p:txBody>
          <a:bodyPr vert="horz" anchor="b" anchorCtr="0"/>
          <a:lstStyle>
            <a:lvl1pPr>
              <a:defRPr sz="2800"/>
            </a:lvl1pPr>
          </a:lstStyle>
          <a:p>
            <a:r>
              <a:rPr lang="en-US"/>
              <a:t>Click to edit Master title style</a:t>
            </a:r>
          </a:p>
        </p:txBody>
      </p:sp>
      <p:sp>
        <p:nvSpPr>
          <p:cNvPr id="24" name="Content Placeholder 14">
            <a:extLst>
              <a:ext uri="{FF2B5EF4-FFF2-40B4-BE49-F238E27FC236}">
                <a16:creationId xmlns:a16="http://schemas.microsoft.com/office/drawing/2014/main" id="{8310A8D4-0BD5-E708-B26B-EF05978672D9}"/>
              </a:ext>
            </a:extLst>
          </p:cNvPr>
          <p:cNvSpPr>
            <a:spLocks noGrp="1"/>
          </p:cNvSpPr>
          <p:nvPr>
            <p:ph sz="quarter" idx="27"/>
          </p:nvPr>
        </p:nvSpPr>
        <p:spPr>
          <a:xfrm>
            <a:off x="8801938" y="4473990"/>
            <a:ext cx="3096551" cy="1546577"/>
          </a:xfrm>
        </p:spPr>
        <p:txBody>
          <a:bodyPr wrap="square">
            <a:noAutofit/>
          </a:bodyPr>
          <a:lstStyle>
            <a:lvl1pPr>
              <a:lnSpc>
                <a:spcPct val="120000"/>
              </a:lnSpc>
              <a:spcBef>
                <a:spcPts val="300"/>
              </a:spcBef>
              <a:buClrTx/>
              <a:defRPr sz="1400">
                <a:solidFill>
                  <a:schemeClr val="bg1"/>
                </a:solidFill>
              </a:defRPr>
            </a:lvl1pPr>
            <a:lvl2pPr>
              <a:lnSpc>
                <a:spcPct val="120000"/>
              </a:lnSpc>
              <a:spcBef>
                <a:spcPts val="300"/>
              </a:spcBef>
              <a:buClrTx/>
              <a:defRPr sz="1400">
                <a:solidFill>
                  <a:schemeClr val="bg1"/>
                </a:solidFill>
              </a:defRPr>
            </a:lvl2pPr>
            <a:lvl3pPr>
              <a:lnSpc>
                <a:spcPct val="120000"/>
              </a:lnSpc>
              <a:spcBef>
                <a:spcPts val="300"/>
              </a:spcBef>
              <a:buClrTx/>
              <a:defRPr sz="1400">
                <a:solidFill>
                  <a:schemeClr val="bg1"/>
                </a:solidFill>
              </a:defRPr>
            </a:lvl3pPr>
            <a:lvl4pPr>
              <a:lnSpc>
                <a:spcPct val="120000"/>
              </a:lnSpc>
              <a:spcBef>
                <a:spcPts val="300"/>
              </a:spcBef>
              <a:buClrTx/>
              <a:defRPr sz="1400">
                <a:solidFill>
                  <a:schemeClr val="bg1"/>
                </a:solidFill>
              </a:defRPr>
            </a:lvl4pPr>
            <a:lvl5pPr>
              <a:lnSpc>
                <a:spcPct val="120000"/>
              </a:lnSpc>
              <a:spcBef>
                <a:spcPts val="300"/>
              </a:spcBef>
              <a:buClrTx/>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4">
            <a:extLst>
              <a:ext uri="{FF2B5EF4-FFF2-40B4-BE49-F238E27FC236}">
                <a16:creationId xmlns:a16="http://schemas.microsoft.com/office/drawing/2014/main" id="{1DAF6A17-CD69-F6CF-3F96-503721A065F4}"/>
              </a:ext>
            </a:extLst>
          </p:cNvPr>
          <p:cNvSpPr>
            <a:spLocks noGrp="1"/>
          </p:cNvSpPr>
          <p:nvPr>
            <p:ph sz="quarter" idx="28"/>
          </p:nvPr>
        </p:nvSpPr>
        <p:spPr>
          <a:xfrm>
            <a:off x="8801938" y="4124034"/>
            <a:ext cx="3096551" cy="285335"/>
          </a:xfrm>
        </p:spPr>
        <p:txBody>
          <a:bodyPr wrap="square">
            <a:spAutoFit/>
          </a:bodyPr>
          <a:lstStyle>
            <a:lvl1pPr marL="0" indent="0">
              <a:lnSpc>
                <a:spcPct val="150000"/>
              </a:lnSpc>
              <a:spcBef>
                <a:spcPts val="1000"/>
              </a:spcBef>
              <a:buClrTx/>
              <a:buNone/>
              <a:defRPr sz="1400" b="1">
                <a:solidFill>
                  <a:schemeClr val="bg1"/>
                </a:solidFill>
              </a:defRPr>
            </a:lvl1pPr>
            <a:lvl2pPr marL="182880" indent="0">
              <a:lnSpc>
                <a:spcPct val="150000"/>
              </a:lnSpc>
              <a:spcBef>
                <a:spcPts val="300"/>
              </a:spcBef>
              <a:buClrTx/>
              <a:buNone/>
              <a:defRPr sz="1200">
                <a:solidFill>
                  <a:schemeClr val="bg1"/>
                </a:solidFill>
              </a:defRPr>
            </a:lvl2pPr>
            <a:lvl3pPr marL="365760" indent="0">
              <a:lnSpc>
                <a:spcPct val="150000"/>
              </a:lnSpc>
              <a:spcBef>
                <a:spcPts val="300"/>
              </a:spcBef>
              <a:buClrTx/>
              <a:buNone/>
              <a:defRPr sz="1200">
                <a:solidFill>
                  <a:schemeClr val="bg1"/>
                </a:solidFill>
              </a:defRPr>
            </a:lvl3pPr>
            <a:lvl4pPr marL="548640" indent="0">
              <a:lnSpc>
                <a:spcPct val="150000"/>
              </a:lnSpc>
              <a:spcBef>
                <a:spcPts val="300"/>
              </a:spcBef>
              <a:buClrTx/>
              <a:buNone/>
              <a:defRPr sz="1200">
                <a:solidFill>
                  <a:schemeClr val="bg1"/>
                </a:solidFill>
              </a:defRPr>
            </a:lvl4pPr>
            <a:lvl5pPr marL="731520" indent="0">
              <a:lnSpc>
                <a:spcPct val="150000"/>
              </a:lnSpc>
              <a:spcBef>
                <a:spcPts val="300"/>
              </a:spcBef>
              <a:buClrTx/>
              <a:buNone/>
              <a:defRPr sz="1200">
                <a:solidFill>
                  <a:schemeClr val="bg1"/>
                </a:solidFill>
              </a:defRPr>
            </a:lvl5pPr>
          </a:lstStyle>
          <a:p>
            <a:pPr lvl="0"/>
            <a:r>
              <a:rPr lang="en-US"/>
              <a:t>Click to edit Master text styles</a:t>
            </a:r>
          </a:p>
        </p:txBody>
      </p:sp>
      <p:sp>
        <p:nvSpPr>
          <p:cNvPr id="27" name="Picture Placeholder 26">
            <a:extLst>
              <a:ext uri="{FF2B5EF4-FFF2-40B4-BE49-F238E27FC236}">
                <a16:creationId xmlns:a16="http://schemas.microsoft.com/office/drawing/2014/main" id="{51883BB8-1529-BFF8-47AD-A5E18A097037}"/>
              </a:ext>
            </a:extLst>
          </p:cNvPr>
          <p:cNvSpPr>
            <a:spLocks noGrp="1"/>
          </p:cNvSpPr>
          <p:nvPr>
            <p:ph type="pic" sz="quarter" idx="29"/>
          </p:nvPr>
        </p:nvSpPr>
        <p:spPr>
          <a:xfrm>
            <a:off x="8802688" y="779463"/>
            <a:ext cx="2170112" cy="2798762"/>
          </a:xfrm>
        </p:spPr>
        <p:txBody>
          <a:bodyPr/>
          <a:lstStyle/>
          <a:p>
            <a:r>
              <a:rPr lang="en-US" dirty="0"/>
              <a:t>Click icon to add picture</a:t>
            </a:r>
          </a:p>
        </p:txBody>
      </p:sp>
      <p:pic>
        <p:nvPicPr>
          <p:cNvPr id="29" name="Picture 6">
            <a:extLst>
              <a:ext uri="{FF2B5EF4-FFF2-40B4-BE49-F238E27FC236}">
                <a16:creationId xmlns:a16="http://schemas.microsoft.com/office/drawing/2014/main" id="{4CB6F8D3-4901-B5A3-CC0B-29CB406CE3AE}"/>
              </a:ext>
            </a:extLst>
          </p:cNvPr>
          <p:cNvPicPr>
            <a:picLocks noChangeAspect="1"/>
          </p:cNvPicPr>
          <p:nvPr/>
        </p:nvPicPr>
        <p:blipFill>
          <a:blip r:embed="rId5">
            <a:lum bright="100000"/>
            <a:extLst>
              <a:ext uri="{96DAC541-7B7A-43D3-8B79-37D633B846F1}">
                <asvg:svgBlip xmlns:asvg="http://schemas.microsoft.com/office/drawing/2016/SVG/main" r:embed="rId6"/>
              </a:ext>
            </a:extLst>
          </a:blip>
          <a:srcRect/>
          <a:stretch/>
        </p:blipFill>
        <p:spPr>
          <a:xfrm>
            <a:off x="10247390" y="6448208"/>
            <a:ext cx="1327409" cy="237744"/>
          </a:xfrm>
          <a:prstGeom prst="rect">
            <a:avLst/>
          </a:prstGeom>
        </p:spPr>
      </p:pic>
      <p:cxnSp>
        <p:nvCxnSpPr>
          <p:cNvPr id="8" name="Straight Connector 7">
            <a:extLst>
              <a:ext uri="{FF2B5EF4-FFF2-40B4-BE49-F238E27FC236}">
                <a16:creationId xmlns:a16="http://schemas.microsoft.com/office/drawing/2014/main" id="{90B08249-64B5-ECD0-967D-C9430C49F9F5}"/>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pic>
        <p:nvPicPr>
          <p:cNvPr id="9" name="Picture 6">
            <a:extLst>
              <a:ext uri="{FF2B5EF4-FFF2-40B4-BE49-F238E27FC236}">
                <a16:creationId xmlns:a16="http://schemas.microsoft.com/office/drawing/2014/main" id="{1120FC90-C921-1E96-F4A4-40FAB9F8DFA0}"/>
              </a:ext>
            </a:extLst>
          </p:cNvPr>
          <p:cNvPicPr>
            <a:picLocks noChangeAspect="1"/>
          </p:cNvPicPr>
          <p:nvPr userDrawn="1"/>
        </p:nvPicPr>
        <p:blipFill>
          <a:blip r:embed="rId5">
            <a:lum bright="100000"/>
            <a:extLst>
              <a:ext uri="{96DAC541-7B7A-43D3-8B79-37D633B846F1}">
                <asvg:svgBlip xmlns:asvg="http://schemas.microsoft.com/office/drawing/2016/SVG/main" r:embed="rId6"/>
              </a:ext>
            </a:extLst>
          </a:blip>
          <a:srcRect/>
          <a:stretch/>
        </p:blipFill>
        <p:spPr>
          <a:xfrm>
            <a:off x="10247390" y="6448208"/>
            <a:ext cx="1327409" cy="237744"/>
          </a:xfrm>
          <a:prstGeom prst="rect">
            <a:avLst/>
          </a:prstGeom>
        </p:spPr>
      </p:pic>
      <p:cxnSp>
        <p:nvCxnSpPr>
          <p:cNvPr id="11" name="Straight Connector 10">
            <a:extLst>
              <a:ext uri="{FF2B5EF4-FFF2-40B4-BE49-F238E27FC236}">
                <a16:creationId xmlns:a16="http://schemas.microsoft.com/office/drawing/2014/main" id="{FBA7E825-AAD0-B03E-D241-B9DF6A68AB9B}"/>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2" name="Text Placeholder 6">
            <a:extLst>
              <a:ext uri="{FF2B5EF4-FFF2-40B4-BE49-F238E27FC236}">
                <a16:creationId xmlns:a16="http://schemas.microsoft.com/office/drawing/2014/main" id="{32B6728C-097E-7969-E0EE-7A8A0D196F65}"/>
              </a:ext>
            </a:extLst>
          </p:cNvPr>
          <p:cNvSpPr>
            <a:spLocks noGrp="1"/>
          </p:cNvSpPr>
          <p:nvPr>
            <p:ph type="body" sz="quarter" idx="25"/>
          </p:nvPr>
        </p:nvSpPr>
        <p:spPr>
          <a:xfrm>
            <a:off x="612648" y="2011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69004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BB8442-4187-3319-7870-9E8A3A4609F5}"/>
              </a:ext>
            </a:extLst>
          </p:cNvPr>
          <p:cNvGraphicFramePr>
            <a:graphicFrameLocks noChangeAspect="1"/>
          </p:cNvGraphicFramePr>
          <p:nvPr>
            <p:custDataLst>
              <p:tags r:id="rId1"/>
            </p:custDataLst>
            <p:extLst>
              <p:ext uri="{D42A27DB-BD31-4B8C-83A1-F6EECF244321}">
                <p14:modId xmlns:p14="http://schemas.microsoft.com/office/powerpoint/2010/main" val="36655443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4BB8442-4187-3319-7870-9E8A3A4609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reeform 6">
            <a:extLst>
              <a:ext uri="{FF2B5EF4-FFF2-40B4-BE49-F238E27FC236}">
                <a16:creationId xmlns:a16="http://schemas.microsoft.com/office/drawing/2014/main" id="{F70DA9F2-B026-F566-1EF2-DA995F05C8D2}"/>
              </a:ext>
            </a:extLst>
          </p:cNvPr>
          <p:cNvSpPr/>
          <p:nvPr userDrawn="1"/>
        </p:nvSpPr>
        <p:spPr>
          <a:xfrm flipH="1">
            <a:off x="7340263" y="0"/>
            <a:ext cx="4846771" cy="6865497"/>
          </a:xfrm>
          <a:custGeom>
            <a:avLst/>
            <a:gdLst>
              <a:gd name="connsiteX0" fmla="*/ 4351134 w 4846771"/>
              <a:gd name="connsiteY0" fmla="*/ 0 h 6865497"/>
              <a:gd name="connsiteX1" fmla="*/ 2973889 w 4846771"/>
              <a:gd name="connsiteY1" fmla="*/ 0 h 6865497"/>
              <a:gd name="connsiteX2" fmla="*/ 1377245 w 4846771"/>
              <a:gd name="connsiteY2" fmla="*/ 0 h 6865497"/>
              <a:gd name="connsiteX3" fmla="*/ 0 w 4846771"/>
              <a:gd name="connsiteY3" fmla="*/ 0 h 6865497"/>
              <a:gd name="connsiteX4" fmla="*/ 0 w 4846771"/>
              <a:gd name="connsiteY4" fmla="*/ 6865497 h 6865497"/>
              <a:gd name="connsiteX5" fmla="*/ 1377245 w 4846771"/>
              <a:gd name="connsiteY5" fmla="*/ 6865497 h 6865497"/>
              <a:gd name="connsiteX6" fmla="*/ 2975952 w 4846771"/>
              <a:gd name="connsiteY6" fmla="*/ 6865497 h 6865497"/>
              <a:gd name="connsiteX7" fmla="*/ 4353197 w 4846771"/>
              <a:gd name="connsiteY7" fmla="*/ 6865497 h 6865497"/>
              <a:gd name="connsiteX8" fmla="*/ 4495533 w 4846771"/>
              <a:gd name="connsiteY8" fmla="*/ 6348030 h 6865497"/>
              <a:gd name="connsiteX9" fmla="*/ 4846771 w 4846771"/>
              <a:gd name="connsiteY9" fmla="*/ 3436498 h 6865497"/>
              <a:gd name="connsiteX10" fmla="*/ 4495534 w 4846771"/>
              <a:gd name="connsiteY10"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46771" h="6865497">
                <a:moveTo>
                  <a:pt x="4351134" y="0"/>
                </a:moveTo>
                <a:lnTo>
                  <a:pt x="2973889" y="0"/>
                </a:lnTo>
                <a:lnTo>
                  <a:pt x="1377245" y="0"/>
                </a:lnTo>
                <a:lnTo>
                  <a:pt x="0" y="0"/>
                </a:lnTo>
                <a:lnTo>
                  <a:pt x="0" y="6865497"/>
                </a:lnTo>
                <a:lnTo>
                  <a:pt x="1377245" y="6865497"/>
                </a:lnTo>
                <a:lnTo>
                  <a:pt x="2975952" y="6865497"/>
                </a:lnTo>
                <a:lnTo>
                  <a:pt x="4353197" y="6865497"/>
                </a:lnTo>
                <a:lnTo>
                  <a:pt x="4495533" y="6348030"/>
                </a:lnTo>
                <a:cubicBezTo>
                  <a:pt x="4723543" y="5431152"/>
                  <a:pt x="4846771" y="4452613"/>
                  <a:pt x="4846771" y="3436498"/>
                </a:cubicBezTo>
                <a:cubicBezTo>
                  <a:pt x="4846771" y="2420383"/>
                  <a:pt x="4723543" y="1441845"/>
                  <a:pt x="4495534"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 name="Content Placeholder 2">
            <a:extLst>
              <a:ext uri="{FF2B5EF4-FFF2-40B4-BE49-F238E27FC236}">
                <a16:creationId xmlns:a16="http://schemas.microsoft.com/office/drawing/2014/main" id="{BE3C4EFA-0CE6-0EA1-CB73-DD0B1B2862F7}"/>
              </a:ext>
            </a:extLst>
          </p:cNvPr>
          <p:cNvSpPr>
            <a:spLocks noGrp="1"/>
          </p:cNvSpPr>
          <p:nvPr>
            <p:ph sz="quarter" idx="30"/>
          </p:nvPr>
        </p:nvSpPr>
        <p:spPr>
          <a:xfrm>
            <a:off x="835025" y="2841625"/>
            <a:ext cx="5837238" cy="3028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reeform 15">
            <a:extLst>
              <a:ext uri="{FF2B5EF4-FFF2-40B4-BE49-F238E27FC236}">
                <a16:creationId xmlns:a16="http://schemas.microsoft.com/office/drawing/2014/main" id="{2417E22F-174F-6034-5A65-8973542E0594}"/>
              </a:ext>
            </a:extLst>
          </p:cNvPr>
          <p:cNvSpPr/>
          <p:nvPr/>
        </p:nvSpPr>
        <p:spPr>
          <a:xfrm flipH="1">
            <a:off x="7352462" y="-7496"/>
            <a:ext cx="4846771" cy="6865497"/>
          </a:xfrm>
          <a:custGeom>
            <a:avLst/>
            <a:gdLst>
              <a:gd name="connsiteX0" fmla="*/ 4351134 w 4846771"/>
              <a:gd name="connsiteY0" fmla="*/ 0 h 6865497"/>
              <a:gd name="connsiteX1" fmla="*/ 2973889 w 4846771"/>
              <a:gd name="connsiteY1" fmla="*/ 0 h 6865497"/>
              <a:gd name="connsiteX2" fmla="*/ 1377245 w 4846771"/>
              <a:gd name="connsiteY2" fmla="*/ 0 h 6865497"/>
              <a:gd name="connsiteX3" fmla="*/ 0 w 4846771"/>
              <a:gd name="connsiteY3" fmla="*/ 0 h 6865497"/>
              <a:gd name="connsiteX4" fmla="*/ 0 w 4846771"/>
              <a:gd name="connsiteY4" fmla="*/ 6865497 h 6865497"/>
              <a:gd name="connsiteX5" fmla="*/ 1377245 w 4846771"/>
              <a:gd name="connsiteY5" fmla="*/ 6865497 h 6865497"/>
              <a:gd name="connsiteX6" fmla="*/ 2975952 w 4846771"/>
              <a:gd name="connsiteY6" fmla="*/ 6865497 h 6865497"/>
              <a:gd name="connsiteX7" fmla="*/ 4353197 w 4846771"/>
              <a:gd name="connsiteY7" fmla="*/ 6865497 h 6865497"/>
              <a:gd name="connsiteX8" fmla="*/ 4495533 w 4846771"/>
              <a:gd name="connsiteY8" fmla="*/ 6348030 h 6865497"/>
              <a:gd name="connsiteX9" fmla="*/ 4846771 w 4846771"/>
              <a:gd name="connsiteY9" fmla="*/ 3436498 h 6865497"/>
              <a:gd name="connsiteX10" fmla="*/ 4495534 w 4846771"/>
              <a:gd name="connsiteY10"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46771" h="6865497">
                <a:moveTo>
                  <a:pt x="4351134" y="0"/>
                </a:moveTo>
                <a:lnTo>
                  <a:pt x="2973889" y="0"/>
                </a:lnTo>
                <a:lnTo>
                  <a:pt x="1377245" y="0"/>
                </a:lnTo>
                <a:lnTo>
                  <a:pt x="0" y="0"/>
                </a:lnTo>
                <a:lnTo>
                  <a:pt x="0" y="6865497"/>
                </a:lnTo>
                <a:lnTo>
                  <a:pt x="1377245" y="6865497"/>
                </a:lnTo>
                <a:lnTo>
                  <a:pt x="2975952" y="6865497"/>
                </a:lnTo>
                <a:lnTo>
                  <a:pt x="4353197" y="6865497"/>
                </a:lnTo>
                <a:lnTo>
                  <a:pt x="4495533" y="6348030"/>
                </a:lnTo>
                <a:cubicBezTo>
                  <a:pt x="4723543" y="5431152"/>
                  <a:pt x="4846771" y="4452613"/>
                  <a:pt x="4846771" y="3436498"/>
                </a:cubicBezTo>
                <a:cubicBezTo>
                  <a:pt x="4846771" y="2420383"/>
                  <a:pt x="4723543" y="1441845"/>
                  <a:pt x="4495534"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lvl1pPr>
              <a:defRPr>
                <a:solidFill>
                  <a:schemeClr val="bg1"/>
                </a:solidFill>
              </a:defRPr>
            </a:lvl1p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846557" y="1463119"/>
            <a:ext cx="6400800" cy="792721"/>
          </a:xfrm>
        </p:spPr>
        <p:txBody>
          <a:bodyPr vert="horz" anchor="t" anchorCtr="0"/>
          <a:lstStyle>
            <a:lvl1pPr>
              <a:defRPr sz="2800"/>
            </a:lvl1pPr>
          </a:lstStyle>
          <a:p>
            <a:r>
              <a:rPr lang="en-US"/>
              <a:t>Click to edit Master title style</a:t>
            </a:r>
          </a:p>
        </p:txBody>
      </p:sp>
      <p:cxnSp>
        <p:nvCxnSpPr>
          <p:cNvPr id="23" name="Straight Connector 22">
            <a:extLst>
              <a:ext uri="{FF2B5EF4-FFF2-40B4-BE49-F238E27FC236}">
                <a16:creationId xmlns:a16="http://schemas.microsoft.com/office/drawing/2014/main" id="{D13113DE-2F2E-274D-9C96-92F305F1C25A}"/>
              </a:ext>
            </a:extLst>
          </p:cNvPr>
          <p:cNvCxnSpPr/>
          <p:nvPr/>
        </p:nvCxnSpPr>
        <p:spPr>
          <a:xfrm>
            <a:off x="835269" y="2435130"/>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24" name="Content Placeholder 14">
            <a:extLst>
              <a:ext uri="{FF2B5EF4-FFF2-40B4-BE49-F238E27FC236}">
                <a16:creationId xmlns:a16="http://schemas.microsoft.com/office/drawing/2014/main" id="{8310A8D4-0BD5-E708-B26B-EF05978672D9}"/>
              </a:ext>
            </a:extLst>
          </p:cNvPr>
          <p:cNvSpPr>
            <a:spLocks noGrp="1"/>
          </p:cNvSpPr>
          <p:nvPr>
            <p:ph sz="quarter" idx="27"/>
          </p:nvPr>
        </p:nvSpPr>
        <p:spPr>
          <a:xfrm>
            <a:off x="8499250" y="4473990"/>
            <a:ext cx="3096551" cy="1546577"/>
          </a:xfrm>
        </p:spPr>
        <p:txBody>
          <a:bodyPr wrap="square">
            <a:noAutofit/>
          </a:bodyPr>
          <a:lstStyle>
            <a:lvl1pPr>
              <a:lnSpc>
                <a:spcPct val="120000"/>
              </a:lnSpc>
              <a:spcBef>
                <a:spcPts val="300"/>
              </a:spcBef>
              <a:buClrTx/>
              <a:defRPr sz="1400">
                <a:solidFill>
                  <a:schemeClr val="bg1"/>
                </a:solidFill>
              </a:defRPr>
            </a:lvl1pPr>
            <a:lvl2pPr>
              <a:lnSpc>
                <a:spcPct val="120000"/>
              </a:lnSpc>
              <a:spcBef>
                <a:spcPts val="300"/>
              </a:spcBef>
              <a:buClrTx/>
              <a:defRPr sz="1400">
                <a:solidFill>
                  <a:schemeClr val="bg1"/>
                </a:solidFill>
              </a:defRPr>
            </a:lvl2pPr>
            <a:lvl3pPr>
              <a:lnSpc>
                <a:spcPct val="120000"/>
              </a:lnSpc>
              <a:spcBef>
                <a:spcPts val="300"/>
              </a:spcBef>
              <a:buClrTx/>
              <a:defRPr sz="1400">
                <a:solidFill>
                  <a:schemeClr val="bg1"/>
                </a:solidFill>
              </a:defRPr>
            </a:lvl3pPr>
            <a:lvl4pPr>
              <a:lnSpc>
                <a:spcPct val="120000"/>
              </a:lnSpc>
              <a:spcBef>
                <a:spcPts val="300"/>
              </a:spcBef>
              <a:buClrTx/>
              <a:defRPr sz="1400">
                <a:solidFill>
                  <a:schemeClr val="bg1"/>
                </a:solidFill>
              </a:defRPr>
            </a:lvl4pPr>
            <a:lvl5pPr>
              <a:lnSpc>
                <a:spcPct val="120000"/>
              </a:lnSpc>
              <a:spcBef>
                <a:spcPts val="300"/>
              </a:spcBef>
              <a:buClrTx/>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4">
            <a:extLst>
              <a:ext uri="{FF2B5EF4-FFF2-40B4-BE49-F238E27FC236}">
                <a16:creationId xmlns:a16="http://schemas.microsoft.com/office/drawing/2014/main" id="{1DAF6A17-CD69-F6CF-3F96-503721A065F4}"/>
              </a:ext>
            </a:extLst>
          </p:cNvPr>
          <p:cNvSpPr>
            <a:spLocks noGrp="1"/>
          </p:cNvSpPr>
          <p:nvPr>
            <p:ph sz="quarter" idx="28"/>
          </p:nvPr>
        </p:nvSpPr>
        <p:spPr>
          <a:xfrm>
            <a:off x="8499250" y="4124034"/>
            <a:ext cx="3096551" cy="285335"/>
          </a:xfrm>
        </p:spPr>
        <p:txBody>
          <a:bodyPr wrap="square">
            <a:spAutoFit/>
          </a:bodyPr>
          <a:lstStyle>
            <a:lvl1pPr marL="0" indent="0">
              <a:lnSpc>
                <a:spcPct val="150000"/>
              </a:lnSpc>
              <a:spcBef>
                <a:spcPts val="1000"/>
              </a:spcBef>
              <a:buClrTx/>
              <a:buNone/>
              <a:defRPr sz="1400" b="1">
                <a:solidFill>
                  <a:schemeClr val="bg1"/>
                </a:solidFill>
              </a:defRPr>
            </a:lvl1pPr>
            <a:lvl2pPr marL="182880" indent="0">
              <a:lnSpc>
                <a:spcPct val="150000"/>
              </a:lnSpc>
              <a:spcBef>
                <a:spcPts val="300"/>
              </a:spcBef>
              <a:buClrTx/>
              <a:buNone/>
              <a:defRPr sz="1200">
                <a:solidFill>
                  <a:schemeClr val="bg1"/>
                </a:solidFill>
              </a:defRPr>
            </a:lvl2pPr>
            <a:lvl3pPr marL="365760" indent="0">
              <a:lnSpc>
                <a:spcPct val="150000"/>
              </a:lnSpc>
              <a:spcBef>
                <a:spcPts val="300"/>
              </a:spcBef>
              <a:buClrTx/>
              <a:buNone/>
              <a:defRPr sz="1200">
                <a:solidFill>
                  <a:schemeClr val="bg1"/>
                </a:solidFill>
              </a:defRPr>
            </a:lvl3pPr>
            <a:lvl4pPr marL="548640" indent="0">
              <a:lnSpc>
                <a:spcPct val="150000"/>
              </a:lnSpc>
              <a:spcBef>
                <a:spcPts val="300"/>
              </a:spcBef>
              <a:buClrTx/>
              <a:buNone/>
              <a:defRPr sz="1200">
                <a:solidFill>
                  <a:schemeClr val="bg1"/>
                </a:solidFill>
              </a:defRPr>
            </a:lvl4pPr>
            <a:lvl5pPr marL="731520" indent="0">
              <a:lnSpc>
                <a:spcPct val="150000"/>
              </a:lnSpc>
              <a:spcBef>
                <a:spcPts val="300"/>
              </a:spcBef>
              <a:buClrTx/>
              <a:buNone/>
              <a:defRPr sz="1200">
                <a:solidFill>
                  <a:schemeClr val="bg1"/>
                </a:solidFill>
              </a:defRPr>
            </a:lvl5pPr>
          </a:lstStyle>
          <a:p>
            <a:pPr lvl="0"/>
            <a:r>
              <a:rPr lang="en-US"/>
              <a:t>Click to edit Master text styles</a:t>
            </a:r>
          </a:p>
        </p:txBody>
      </p:sp>
      <p:sp>
        <p:nvSpPr>
          <p:cNvPr id="27" name="Picture Placeholder 26">
            <a:extLst>
              <a:ext uri="{FF2B5EF4-FFF2-40B4-BE49-F238E27FC236}">
                <a16:creationId xmlns:a16="http://schemas.microsoft.com/office/drawing/2014/main" id="{51883BB8-1529-BFF8-47AD-A5E18A097037}"/>
              </a:ext>
            </a:extLst>
          </p:cNvPr>
          <p:cNvSpPr>
            <a:spLocks noGrp="1"/>
          </p:cNvSpPr>
          <p:nvPr>
            <p:ph type="pic" sz="quarter" idx="29"/>
          </p:nvPr>
        </p:nvSpPr>
        <p:spPr>
          <a:xfrm>
            <a:off x="8500000" y="779463"/>
            <a:ext cx="2170112" cy="2798762"/>
          </a:xfrm>
          <a:solidFill>
            <a:schemeClr val="bg1">
              <a:lumMod val="95000"/>
            </a:schemeClr>
          </a:solidFill>
        </p:spPr>
        <p:txBody>
          <a:bodyPr/>
          <a:lstStyle/>
          <a:p>
            <a:r>
              <a:rPr lang="en-US" dirty="0"/>
              <a:t>Click icon to add picture</a:t>
            </a:r>
          </a:p>
        </p:txBody>
      </p:sp>
      <p:pic>
        <p:nvPicPr>
          <p:cNvPr id="29" name="Picture 6">
            <a:extLst>
              <a:ext uri="{FF2B5EF4-FFF2-40B4-BE49-F238E27FC236}">
                <a16:creationId xmlns:a16="http://schemas.microsoft.com/office/drawing/2014/main" id="{4CB6F8D3-4901-B5A3-CC0B-29CB406CE3AE}"/>
              </a:ext>
            </a:extLst>
          </p:cNvPr>
          <p:cNvPicPr>
            <a:picLocks noChangeAspect="1"/>
          </p:cNvPicPr>
          <p:nvPr/>
        </p:nvPicPr>
        <p:blipFill>
          <a:blip r:embed="rId5">
            <a:lum bright="100000"/>
            <a:extLst>
              <a:ext uri="{96DAC541-7B7A-43D3-8B79-37D633B846F1}">
                <asvg:svgBlip xmlns:asvg="http://schemas.microsoft.com/office/drawing/2016/SVG/main" r:embed="rId6"/>
              </a:ext>
            </a:extLst>
          </a:blip>
          <a:srcRect/>
          <a:stretch/>
        </p:blipFill>
        <p:spPr>
          <a:xfrm>
            <a:off x="10247390" y="6448208"/>
            <a:ext cx="1327409" cy="237744"/>
          </a:xfrm>
          <a:prstGeom prst="rect">
            <a:avLst/>
          </a:prstGeom>
        </p:spPr>
      </p:pic>
      <p:cxnSp>
        <p:nvCxnSpPr>
          <p:cNvPr id="8" name="Straight Connector 7">
            <a:extLst>
              <a:ext uri="{FF2B5EF4-FFF2-40B4-BE49-F238E27FC236}">
                <a16:creationId xmlns:a16="http://schemas.microsoft.com/office/drawing/2014/main" id="{F80A1030-F945-328C-FA90-01E6A9401FCC}"/>
              </a:ext>
            </a:extLst>
          </p:cNvPr>
          <p:cNvCxnSpPr/>
          <p:nvPr userDrawn="1"/>
        </p:nvCxnSpPr>
        <p:spPr>
          <a:xfrm>
            <a:off x="835269" y="2435130"/>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pic>
        <p:nvPicPr>
          <p:cNvPr id="9" name="Picture 6">
            <a:extLst>
              <a:ext uri="{FF2B5EF4-FFF2-40B4-BE49-F238E27FC236}">
                <a16:creationId xmlns:a16="http://schemas.microsoft.com/office/drawing/2014/main" id="{B661EB66-1021-4959-87B8-DA72DB00FE2D}"/>
              </a:ext>
            </a:extLst>
          </p:cNvPr>
          <p:cNvPicPr>
            <a:picLocks noChangeAspect="1"/>
          </p:cNvPicPr>
          <p:nvPr userDrawn="1"/>
        </p:nvPicPr>
        <p:blipFill>
          <a:blip r:embed="rId5">
            <a:lum bright="100000"/>
            <a:extLst>
              <a:ext uri="{96DAC541-7B7A-43D3-8B79-37D633B846F1}">
                <asvg:svgBlip xmlns:asvg="http://schemas.microsoft.com/office/drawing/2016/SVG/main" r:embed="rId6"/>
              </a:ext>
            </a:extLst>
          </a:blip>
          <a:srcRect/>
          <a:stretch/>
        </p:blipFill>
        <p:spPr>
          <a:xfrm>
            <a:off x="10247390" y="6448208"/>
            <a:ext cx="1327409" cy="237744"/>
          </a:xfrm>
          <a:prstGeom prst="rect">
            <a:avLst/>
          </a:prstGeom>
        </p:spPr>
      </p:pic>
      <p:sp>
        <p:nvSpPr>
          <p:cNvPr id="2" name="Text Placeholder 6">
            <a:extLst>
              <a:ext uri="{FF2B5EF4-FFF2-40B4-BE49-F238E27FC236}">
                <a16:creationId xmlns:a16="http://schemas.microsoft.com/office/drawing/2014/main" id="{3AA92797-DB00-BFFC-7E0A-AE06679DA565}"/>
              </a:ext>
            </a:extLst>
          </p:cNvPr>
          <p:cNvSpPr>
            <a:spLocks noGrp="1"/>
          </p:cNvSpPr>
          <p:nvPr>
            <p:ph type="body" sz="quarter" idx="25"/>
          </p:nvPr>
        </p:nvSpPr>
        <p:spPr>
          <a:xfrm>
            <a:off x="835025" y="1094663"/>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29880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BB8442-4187-3319-7870-9E8A3A4609F5}"/>
              </a:ext>
            </a:extLst>
          </p:cNvPr>
          <p:cNvGraphicFramePr>
            <a:graphicFrameLocks noChangeAspect="1"/>
          </p:cNvGraphicFramePr>
          <p:nvPr>
            <p:custDataLst>
              <p:tags r:id="rId1"/>
            </p:custDataLst>
            <p:extLst>
              <p:ext uri="{D42A27DB-BD31-4B8C-83A1-F6EECF244321}">
                <p14:modId xmlns:p14="http://schemas.microsoft.com/office/powerpoint/2010/main" val="2655576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4BB8442-4187-3319-7870-9E8A3A4609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659D5A63-3CC2-3583-4959-0EE2F57CB10C}"/>
              </a:ext>
            </a:extLst>
          </p:cNvPr>
          <p:cNvSpPr>
            <a:spLocks noGrp="1"/>
          </p:cNvSpPr>
          <p:nvPr>
            <p:ph sz="quarter" idx="30"/>
          </p:nvPr>
        </p:nvSpPr>
        <p:spPr>
          <a:xfrm>
            <a:off x="846138" y="2841625"/>
            <a:ext cx="5826125" cy="3028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reeform 15">
            <a:extLst>
              <a:ext uri="{FF2B5EF4-FFF2-40B4-BE49-F238E27FC236}">
                <a16:creationId xmlns:a16="http://schemas.microsoft.com/office/drawing/2014/main" id="{2417E22F-174F-6034-5A65-8973542E0594}"/>
              </a:ext>
            </a:extLst>
          </p:cNvPr>
          <p:cNvSpPr/>
          <p:nvPr/>
        </p:nvSpPr>
        <p:spPr>
          <a:xfrm flipH="1">
            <a:off x="7352462" y="-7496"/>
            <a:ext cx="4846771" cy="6865497"/>
          </a:xfrm>
          <a:custGeom>
            <a:avLst/>
            <a:gdLst>
              <a:gd name="connsiteX0" fmla="*/ 4351134 w 4846771"/>
              <a:gd name="connsiteY0" fmla="*/ 0 h 6865497"/>
              <a:gd name="connsiteX1" fmla="*/ 2973889 w 4846771"/>
              <a:gd name="connsiteY1" fmla="*/ 0 h 6865497"/>
              <a:gd name="connsiteX2" fmla="*/ 1377245 w 4846771"/>
              <a:gd name="connsiteY2" fmla="*/ 0 h 6865497"/>
              <a:gd name="connsiteX3" fmla="*/ 0 w 4846771"/>
              <a:gd name="connsiteY3" fmla="*/ 0 h 6865497"/>
              <a:gd name="connsiteX4" fmla="*/ 0 w 4846771"/>
              <a:gd name="connsiteY4" fmla="*/ 6865497 h 6865497"/>
              <a:gd name="connsiteX5" fmla="*/ 1377245 w 4846771"/>
              <a:gd name="connsiteY5" fmla="*/ 6865497 h 6865497"/>
              <a:gd name="connsiteX6" fmla="*/ 2975952 w 4846771"/>
              <a:gd name="connsiteY6" fmla="*/ 6865497 h 6865497"/>
              <a:gd name="connsiteX7" fmla="*/ 4353197 w 4846771"/>
              <a:gd name="connsiteY7" fmla="*/ 6865497 h 6865497"/>
              <a:gd name="connsiteX8" fmla="*/ 4495533 w 4846771"/>
              <a:gd name="connsiteY8" fmla="*/ 6348030 h 6865497"/>
              <a:gd name="connsiteX9" fmla="*/ 4846771 w 4846771"/>
              <a:gd name="connsiteY9" fmla="*/ 3436498 h 6865497"/>
              <a:gd name="connsiteX10" fmla="*/ 4495534 w 4846771"/>
              <a:gd name="connsiteY10"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46771" h="6865497">
                <a:moveTo>
                  <a:pt x="4351134" y="0"/>
                </a:moveTo>
                <a:lnTo>
                  <a:pt x="2973889" y="0"/>
                </a:lnTo>
                <a:lnTo>
                  <a:pt x="1377245" y="0"/>
                </a:lnTo>
                <a:lnTo>
                  <a:pt x="0" y="0"/>
                </a:lnTo>
                <a:lnTo>
                  <a:pt x="0" y="6865497"/>
                </a:lnTo>
                <a:lnTo>
                  <a:pt x="1377245" y="6865497"/>
                </a:lnTo>
                <a:lnTo>
                  <a:pt x="2975952" y="6865497"/>
                </a:lnTo>
                <a:lnTo>
                  <a:pt x="4353197" y="6865497"/>
                </a:lnTo>
                <a:lnTo>
                  <a:pt x="4495533" y="6348030"/>
                </a:lnTo>
                <a:cubicBezTo>
                  <a:pt x="4723543" y="5431152"/>
                  <a:pt x="4846771" y="4452613"/>
                  <a:pt x="4846771" y="3436498"/>
                </a:cubicBezTo>
                <a:cubicBezTo>
                  <a:pt x="4846771" y="2420383"/>
                  <a:pt x="4723543" y="1441845"/>
                  <a:pt x="4495534"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lvl1pPr>
              <a:defRPr>
                <a:solidFill>
                  <a:schemeClr val="bg1"/>
                </a:solidFill>
              </a:defRPr>
            </a:lvl1p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846557" y="1886350"/>
            <a:ext cx="6400800" cy="792721"/>
          </a:xfrm>
        </p:spPr>
        <p:txBody>
          <a:bodyPr vert="horz" anchor="t" anchorCtr="0"/>
          <a:lstStyle>
            <a:lvl1pPr>
              <a:defRPr sz="2800"/>
            </a:lvl1pPr>
          </a:lstStyle>
          <a:p>
            <a:r>
              <a:rPr lang="en-US"/>
              <a:t>Click to edit Master title style</a:t>
            </a:r>
          </a:p>
        </p:txBody>
      </p:sp>
      <p:sp>
        <p:nvSpPr>
          <p:cNvPr id="24" name="Content Placeholder 14">
            <a:extLst>
              <a:ext uri="{FF2B5EF4-FFF2-40B4-BE49-F238E27FC236}">
                <a16:creationId xmlns:a16="http://schemas.microsoft.com/office/drawing/2014/main" id="{8310A8D4-0BD5-E708-B26B-EF05978672D9}"/>
              </a:ext>
            </a:extLst>
          </p:cNvPr>
          <p:cNvSpPr>
            <a:spLocks noGrp="1"/>
          </p:cNvSpPr>
          <p:nvPr>
            <p:ph sz="quarter" idx="27"/>
          </p:nvPr>
        </p:nvSpPr>
        <p:spPr>
          <a:xfrm>
            <a:off x="8801938" y="4473990"/>
            <a:ext cx="3096551" cy="1546577"/>
          </a:xfrm>
        </p:spPr>
        <p:txBody>
          <a:bodyPr wrap="square">
            <a:noAutofit/>
          </a:bodyPr>
          <a:lstStyle>
            <a:lvl1pPr>
              <a:lnSpc>
                <a:spcPct val="120000"/>
              </a:lnSpc>
              <a:spcBef>
                <a:spcPts val="300"/>
              </a:spcBef>
              <a:buClrTx/>
              <a:defRPr sz="1400">
                <a:solidFill>
                  <a:schemeClr val="bg1"/>
                </a:solidFill>
              </a:defRPr>
            </a:lvl1pPr>
            <a:lvl2pPr>
              <a:lnSpc>
                <a:spcPct val="120000"/>
              </a:lnSpc>
              <a:spcBef>
                <a:spcPts val="300"/>
              </a:spcBef>
              <a:buClrTx/>
              <a:defRPr sz="1400">
                <a:solidFill>
                  <a:schemeClr val="bg1"/>
                </a:solidFill>
              </a:defRPr>
            </a:lvl2pPr>
            <a:lvl3pPr>
              <a:lnSpc>
                <a:spcPct val="120000"/>
              </a:lnSpc>
              <a:spcBef>
                <a:spcPts val="300"/>
              </a:spcBef>
              <a:buClrTx/>
              <a:defRPr sz="1400">
                <a:solidFill>
                  <a:schemeClr val="bg1"/>
                </a:solidFill>
              </a:defRPr>
            </a:lvl3pPr>
            <a:lvl4pPr>
              <a:lnSpc>
                <a:spcPct val="120000"/>
              </a:lnSpc>
              <a:spcBef>
                <a:spcPts val="300"/>
              </a:spcBef>
              <a:buClrTx/>
              <a:defRPr sz="1400">
                <a:solidFill>
                  <a:schemeClr val="bg1"/>
                </a:solidFill>
              </a:defRPr>
            </a:lvl4pPr>
            <a:lvl5pPr>
              <a:lnSpc>
                <a:spcPct val="120000"/>
              </a:lnSpc>
              <a:spcBef>
                <a:spcPts val="300"/>
              </a:spcBef>
              <a:buClrTx/>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4">
            <a:extLst>
              <a:ext uri="{FF2B5EF4-FFF2-40B4-BE49-F238E27FC236}">
                <a16:creationId xmlns:a16="http://schemas.microsoft.com/office/drawing/2014/main" id="{1DAF6A17-CD69-F6CF-3F96-503721A065F4}"/>
              </a:ext>
            </a:extLst>
          </p:cNvPr>
          <p:cNvSpPr>
            <a:spLocks noGrp="1"/>
          </p:cNvSpPr>
          <p:nvPr>
            <p:ph sz="quarter" idx="28"/>
          </p:nvPr>
        </p:nvSpPr>
        <p:spPr>
          <a:xfrm>
            <a:off x="8801938" y="4124034"/>
            <a:ext cx="3096551" cy="285335"/>
          </a:xfrm>
        </p:spPr>
        <p:txBody>
          <a:bodyPr wrap="square">
            <a:spAutoFit/>
          </a:bodyPr>
          <a:lstStyle>
            <a:lvl1pPr marL="0" indent="0">
              <a:lnSpc>
                <a:spcPct val="150000"/>
              </a:lnSpc>
              <a:spcBef>
                <a:spcPts val="1000"/>
              </a:spcBef>
              <a:buClrTx/>
              <a:buNone/>
              <a:defRPr sz="1400" b="1">
                <a:solidFill>
                  <a:schemeClr val="bg1"/>
                </a:solidFill>
              </a:defRPr>
            </a:lvl1pPr>
            <a:lvl2pPr marL="182880" indent="0">
              <a:lnSpc>
                <a:spcPct val="150000"/>
              </a:lnSpc>
              <a:spcBef>
                <a:spcPts val="300"/>
              </a:spcBef>
              <a:buClrTx/>
              <a:buNone/>
              <a:defRPr sz="1200">
                <a:solidFill>
                  <a:schemeClr val="bg1"/>
                </a:solidFill>
              </a:defRPr>
            </a:lvl2pPr>
            <a:lvl3pPr marL="365760" indent="0">
              <a:lnSpc>
                <a:spcPct val="150000"/>
              </a:lnSpc>
              <a:spcBef>
                <a:spcPts val="300"/>
              </a:spcBef>
              <a:buClrTx/>
              <a:buNone/>
              <a:defRPr sz="1200">
                <a:solidFill>
                  <a:schemeClr val="bg1"/>
                </a:solidFill>
              </a:defRPr>
            </a:lvl3pPr>
            <a:lvl4pPr marL="548640" indent="0">
              <a:lnSpc>
                <a:spcPct val="150000"/>
              </a:lnSpc>
              <a:spcBef>
                <a:spcPts val="300"/>
              </a:spcBef>
              <a:buClrTx/>
              <a:buNone/>
              <a:defRPr sz="1200">
                <a:solidFill>
                  <a:schemeClr val="bg1"/>
                </a:solidFill>
              </a:defRPr>
            </a:lvl4pPr>
            <a:lvl5pPr marL="731520" indent="0">
              <a:lnSpc>
                <a:spcPct val="150000"/>
              </a:lnSpc>
              <a:spcBef>
                <a:spcPts val="300"/>
              </a:spcBef>
              <a:buClrTx/>
              <a:buNone/>
              <a:defRPr sz="1200">
                <a:solidFill>
                  <a:schemeClr val="bg1"/>
                </a:solidFill>
              </a:defRPr>
            </a:lvl5pPr>
          </a:lstStyle>
          <a:p>
            <a:pPr lvl="0"/>
            <a:r>
              <a:rPr lang="en-US"/>
              <a:t>Click to edit Master text styles</a:t>
            </a:r>
          </a:p>
        </p:txBody>
      </p:sp>
      <p:sp>
        <p:nvSpPr>
          <p:cNvPr id="27" name="Picture Placeholder 26">
            <a:extLst>
              <a:ext uri="{FF2B5EF4-FFF2-40B4-BE49-F238E27FC236}">
                <a16:creationId xmlns:a16="http://schemas.microsoft.com/office/drawing/2014/main" id="{51883BB8-1529-BFF8-47AD-A5E18A097037}"/>
              </a:ext>
            </a:extLst>
          </p:cNvPr>
          <p:cNvSpPr>
            <a:spLocks noGrp="1"/>
          </p:cNvSpPr>
          <p:nvPr>
            <p:ph type="pic" sz="quarter" idx="29"/>
          </p:nvPr>
        </p:nvSpPr>
        <p:spPr>
          <a:xfrm>
            <a:off x="8802688" y="779463"/>
            <a:ext cx="2170112" cy="2798762"/>
          </a:xfrm>
        </p:spPr>
        <p:txBody>
          <a:bodyPr/>
          <a:lstStyle/>
          <a:p>
            <a:r>
              <a:rPr lang="en-US" dirty="0"/>
              <a:t>Click icon to add picture</a:t>
            </a:r>
          </a:p>
        </p:txBody>
      </p:sp>
      <p:sp>
        <p:nvSpPr>
          <p:cNvPr id="2" name="Freeform 1">
            <a:extLst>
              <a:ext uri="{FF2B5EF4-FFF2-40B4-BE49-F238E27FC236}">
                <a16:creationId xmlns:a16="http://schemas.microsoft.com/office/drawing/2014/main" id="{2F2A6027-8DDF-9246-23F9-2B7958ED5D47}"/>
              </a:ext>
            </a:extLst>
          </p:cNvPr>
          <p:cNvSpPr/>
          <p:nvPr/>
        </p:nvSpPr>
        <p:spPr>
          <a:xfrm>
            <a:off x="7345205"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3" name="Picture 6">
            <a:extLst>
              <a:ext uri="{FF2B5EF4-FFF2-40B4-BE49-F238E27FC236}">
                <a16:creationId xmlns:a16="http://schemas.microsoft.com/office/drawing/2014/main" id="{F50D6F4B-E977-8459-FE89-62E90CCA8C84}"/>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 r="79146"/>
          <a:stretch/>
        </p:blipFill>
        <p:spPr>
          <a:xfrm>
            <a:off x="862281" y="926663"/>
            <a:ext cx="472282" cy="405596"/>
          </a:xfrm>
          <a:prstGeom prst="rect">
            <a:avLst/>
          </a:prstGeom>
        </p:spPr>
      </p:pic>
      <p:pic>
        <p:nvPicPr>
          <p:cNvPr id="14" name="Picture 6">
            <a:extLst>
              <a:ext uri="{FF2B5EF4-FFF2-40B4-BE49-F238E27FC236}">
                <a16:creationId xmlns:a16="http://schemas.microsoft.com/office/drawing/2014/main" id="{21F773A4-30D3-39A7-1534-7BE75977E679}"/>
              </a:ext>
            </a:extLst>
          </p:cNvPr>
          <p:cNvPicPr>
            <a:picLocks noChangeAspect="1"/>
          </p:cNvPicPr>
          <p:nvPr/>
        </p:nvPicPr>
        <p:blipFill>
          <a:blip r:embed="rId5">
            <a:lum bright="100000"/>
            <a:extLst>
              <a:ext uri="{96DAC541-7B7A-43D3-8B79-37D633B846F1}">
                <asvg:svgBlip xmlns:asvg="http://schemas.microsoft.com/office/drawing/2016/SVG/main" r:embed="rId6"/>
              </a:ext>
            </a:extLst>
          </a:blip>
          <a:srcRect/>
          <a:stretch/>
        </p:blipFill>
        <p:spPr>
          <a:xfrm>
            <a:off x="10247390" y="6448208"/>
            <a:ext cx="1327409" cy="237744"/>
          </a:xfrm>
          <a:prstGeom prst="rect">
            <a:avLst/>
          </a:prstGeom>
        </p:spPr>
      </p:pic>
      <p:sp>
        <p:nvSpPr>
          <p:cNvPr id="4" name="Text Placeholder 6">
            <a:extLst>
              <a:ext uri="{FF2B5EF4-FFF2-40B4-BE49-F238E27FC236}">
                <a16:creationId xmlns:a16="http://schemas.microsoft.com/office/drawing/2014/main" id="{B7649044-667F-9F00-55EB-F0B012ED03B4}"/>
              </a:ext>
            </a:extLst>
          </p:cNvPr>
          <p:cNvSpPr>
            <a:spLocks noGrp="1"/>
          </p:cNvSpPr>
          <p:nvPr>
            <p:ph type="body" sz="quarter" idx="25"/>
          </p:nvPr>
        </p:nvSpPr>
        <p:spPr>
          <a:xfrm>
            <a:off x="835025" y="1518259"/>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48710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BB8442-4187-3319-7870-9E8A3A4609F5}"/>
              </a:ext>
            </a:extLst>
          </p:cNvPr>
          <p:cNvGraphicFramePr>
            <a:graphicFrameLocks noChangeAspect="1"/>
          </p:cNvGraphicFramePr>
          <p:nvPr>
            <p:custDataLst>
              <p:tags r:id="rId1"/>
            </p:custDataLst>
            <p:extLst>
              <p:ext uri="{D42A27DB-BD31-4B8C-83A1-F6EECF244321}">
                <p14:modId xmlns:p14="http://schemas.microsoft.com/office/powerpoint/2010/main" val="34346378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4BB8442-4187-3319-7870-9E8A3A4609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 name="Freeform 19">
            <a:extLst>
              <a:ext uri="{FF2B5EF4-FFF2-40B4-BE49-F238E27FC236}">
                <a16:creationId xmlns:a16="http://schemas.microsoft.com/office/drawing/2014/main" id="{E11D4238-0889-250F-6013-2319D91A2329}"/>
              </a:ext>
            </a:extLst>
          </p:cNvPr>
          <p:cNvSpPr/>
          <p:nvPr/>
        </p:nvSpPr>
        <p:spPr>
          <a:xfrm>
            <a:off x="0" y="0"/>
            <a:ext cx="3282619" cy="6865497"/>
          </a:xfrm>
          <a:custGeom>
            <a:avLst/>
            <a:gdLst>
              <a:gd name="connsiteX0" fmla="*/ 2786982 w 3282619"/>
              <a:gd name="connsiteY0" fmla="*/ 0 h 6865497"/>
              <a:gd name="connsiteX1" fmla="*/ 1409737 w 3282619"/>
              <a:gd name="connsiteY1" fmla="*/ 0 h 6865497"/>
              <a:gd name="connsiteX2" fmla="*/ 0 w 3282619"/>
              <a:gd name="connsiteY2" fmla="*/ 0 h 6865497"/>
              <a:gd name="connsiteX3" fmla="*/ 0 w 3282619"/>
              <a:gd name="connsiteY3" fmla="*/ 6865497 h 6865497"/>
              <a:gd name="connsiteX4" fmla="*/ 1411800 w 3282619"/>
              <a:gd name="connsiteY4" fmla="*/ 6865497 h 6865497"/>
              <a:gd name="connsiteX5" fmla="*/ 2789045 w 3282619"/>
              <a:gd name="connsiteY5" fmla="*/ 6865497 h 6865497"/>
              <a:gd name="connsiteX6" fmla="*/ 2931381 w 3282619"/>
              <a:gd name="connsiteY6" fmla="*/ 6348030 h 6865497"/>
              <a:gd name="connsiteX7" fmla="*/ 3282619 w 3282619"/>
              <a:gd name="connsiteY7" fmla="*/ 3436498 h 6865497"/>
              <a:gd name="connsiteX8" fmla="*/ 2931382 w 3282619"/>
              <a:gd name="connsiteY8"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619" h="6865497">
                <a:moveTo>
                  <a:pt x="2786982" y="0"/>
                </a:moveTo>
                <a:lnTo>
                  <a:pt x="1409737" y="0"/>
                </a:lnTo>
                <a:lnTo>
                  <a:pt x="0" y="0"/>
                </a:lnTo>
                <a:lnTo>
                  <a:pt x="0" y="6865497"/>
                </a:lnTo>
                <a:lnTo>
                  <a:pt x="1411800" y="6865497"/>
                </a:lnTo>
                <a:lnTo>
                  <a:pt x="2789045" y="6865497"/>
                </a:lnTo>
                <a:lnTo>
                  <a:pt x="2931381" y="6348030"/>
                </a:lnTo>
                <a:cubicBezTo>
                  <a:pt x="3159391" y="5431152"/>
                  <a:pt x="3282619" y="4452613"/>
                  <a:pt x="3282619" y="3436498"/>
                </a:cubicBezTo>
                <a:cubicBezTo>
                  <a:pt x="3282619" y="2420383"/>
                  <a:pt x="3159391" y="1441845"/>
                  <a:pt x="2931382"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3951111" y="557784"/>
            <a:ext cx="6400800" cy="438912"/>
          </a:xfrm>
        </p:spPr>
        <p:txBody>
          <a:bodyPr vert="horz" anchor="b" anchorCtr="0"/>
          <a:lstStyle>
            <a:lvl1pPr>
              <a:defRPr sz="2800"/>
            </a:lvl1pPr>
          </a:lstStyle>
          <a:p>
            <a:r>
              <a:rPr lang="en-US"/>
              <a:t>Click to edit Master title style</a:t>
            </a:r>
          </a:p>
        </p:txBody>
      </p:sp>
      <p:sp>
        <p:nvSpPr>
          <p:cNvPr id="2" name="Freeform 1">
            <a:extLst>
              <a:ext uri="{FF2B5EF4-FFF2-40B4-BE49-F238E27FC236}">
                <a16:creationId xmlns:a16="http://schemas.microsoft.com/office/drawing/2014/main" id="{2F2A6027-8DDF-9246-23F9-2B7958ED5D47}"/>
              </a:ext>
            </a:extLst>
          </p:cNvPr>
          <p:cNvSpPr/>
          <p:nvPr/>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29" name="Straight Connector 28">
            <a:extLst>
              <a:ext uri="{FF2B5EF4-FFF2-40B4-BE49-F238E27FC236}">
                <a16:creationId xmlns:a16="http://schemas.microsoft.com/office/drawing/2014/main" id="{9D79AF69-34F4-A288-B4CA-F49BCF813887}"/>
              </a:ext>
            </a:extLst>
          </p:cNvPr>
          <p:cNvCxnSpPr/>
          <p:nvPr/>
        </p:nvCxnSpPr>
        <p:spPr>
          <a:xfrm>
            <a:off x="3948063"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35" name="Slide Number Placeholder 34">
            <a:extLst>
              <a:ext uri="{FF2B5EF4-FFF2-40B4-BE49-F238E27FC236}">
                <a16:creationId xmlns:a16="http://schemas.microsoft.com/office/drawing/2014/main" id="{928B9CAF-236E-4879-8BF1-9528BB86F303}"/>
              </a:ext>
            </a:extLst>
          </p:cNvPr>
          <p:cNvSpPr>
            <a:spLocks noGrp="1"/>
          </p:cNvSpPr>
          <p:nvPr>
            <p:ph type="sldNum" sz="quarter" idx="28"/>
          </p:nvPr>
        </p:nvSpPr>
        <p:spPr/>
        <p:txBody>
          <a:bodyPr/>
          <a:lstStyle/>
          <a:p>
            <a:fld id="{86CB4B4D-7CA3-9044-876B-883B54F8677D}" type="slidenum">
              <a:rPr lang="en-US" smtClean="0"/>
              <a:pPr/>
              <a:t>‹#›</a:t>
            </a:fld>
            <a:endParaRPr lang="en-US" dirty="0"/>
          </a:p>
        </p:txBody>
      </p:sp>
      <p:sp>
        <p:nvSpPr>
          <p:cNvPr id="64" name="Text Placeholder 5">
            <a:extLst>
              <a:ext uri="{FF2B5EF4-FFF2-40B4-BE49-F238E27FC236}">
                <a16:creationId xmlns:a16="http://schemas.microsoft.com/office/drawing/2014/main" id="{BE7EC41F-F15B-F5DE-CE40-9D3AB6AEB5AB}"/>
              </a:ext>
            </a:extLst>
          </p:cNvPr>
          <p:cNvSpPr>
            <a:spLocks noGrp="1"/>
          </p:cNvSpPr>
          <p:nvPr>
            <p:ph type="body" sz="quarter" idx="30"/>
          </p:nvPr>
        </p:nvSpPr>
        <p:spPr>
          <a:xfrm>
            <a:off x="414338" y="1107831"/>
            <a:ext cx="2074862" cy="4756637"/>
          </a:xfrm>
        </p:spPr>
        <p:txBody>
          <a:bodyPr anchor="ctr" anchorCtr="0"/>
          <a:lstStyle>
            <a:lvl1pPr marL="0" indent="0">
              <a:lnSpc>
                <a:spcPct val="120000"/>
              </a:lnSpc>
              <a:buNone/>
              <a:defRPr>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a:t>Click to edit Master text styles</a:t>
            </a:r>
          </a:p>
        </p:txBody>
      </p:sp>
      <p:sp>
        <p:nvSpPr>
          <p:cNvPr id="4" name="Freeform 3">
            <a:extLst>
              <a:ext uri="{FF2B5EF4-FFF2-40B4-BE49-F238E27FC236}">
                <a16:creationId xmlns:a16="http://schemas.microsoft.com/office/drawing/2014/main" id="{740066A2-8421-7977-CC79-5F657A8EB567}"/>
              </a:ext>
            </a:extLst>
          </p:cNvPr>
          <p:cNvSpPr/>
          <p:nvPr userDrawn="1"/>
        </p:nvSpPr>
        <p:spPr>
          <a:xfrm>
            <a:off x="0" y="0"/>
            <a:ext cx="3282619" cy="6865497"/>
          </a:xfrm>
          <a:custGeom>
            <a:avLst/>
            <a:gdLst>
              <a:gd name="connsiteX0" fmla="*/ 2786982 w 3282619"/>
              <a:gd name="connsiteY0" fmla="*/ 0 h 6865497"/>
              <a:gd name="connsiteX1" fmla="*/ 1409737 w 3282619"/>
              <a:gd name="connsiteY1" fmla="*/ 0 h 6865497"/>
              <a:gd name="connsiteX2" fmla="*/ 0 w 3282619"/>
              <a:gd name="connsiteY2" fmla="*/ 0 h 6865497"/>
              <a:gd name="connsiteX3" fmla="*/ 0 w 3282619"/>
              <a:gd name="connsiteY3" fmla="*/ 6865497 h 6865497"/>
              <a:gd name="connsiteX4" fmla="*/ 1411800 w 3282619"/>
              <a:gd name="connsiteY4" fmla="*/ 6865497 h 6865497"/>
              <a:gd name="connsiteX5" fmla="*/ 2789045 w 3282619"/>
              <a:gd name="connsiteY5" fmla="*/ 6865497 h 6865497"/>
              <a:gd name="connsiteX6" fmla="*/ 2931381 w 3282619"/>
              <a:gd name="connsiteY6" fmla="*/ 6348030 h 6865497"/>
              <a:gd name="connsiteX7" fmla="*/ 3282619 w 3282619"/>
              <a:gd name="connsiteY7" fmla="*/ 3436498 h 6865497"/>
              <a:gd name="connsiteX8" fmla="*/ 2931382 w 3282619"/>
              <a:gd name="connsiteY8"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619" h="6865497">
                <a:moveTo>
                  <a:pt x="2786982" y="0"/>
                </a:moveTo>
                <a:lnTo>
                  <a:pt x="1409737" y="0"/>
                </a:lnTo>
                <a:lnTo>
                  <a:pt x="0" y="0"/>
                </a:lnTo>
                <a:lnTo>
                  <a:pt x="0" y="6865497"/>
                </a:lnTo>
                <a:lnTo>
                  <a:pt x="1411800" y="6865497"/>
                </a:lnTo>
                <a:lnTo>
                  <a:pt x="2789045" y="6865497"/>
                </a:lnTo>
                <a:lnTo>
                  <a:pt x="2931381" y="6348030"/>
                </a:lnTo>
                <a:cubicBezTo>
                  <a:pt x="3159391" y="5431152"/>
                  <a:pt x="3282619" y="4452613"/>
                  <a:pt x="3282619" y="3436498"/>
                </a:cubicBezTo>
                <a:cubicBezTo>
                  <a:pt x="3282619" y="2420383"/>
                  <a:pt x="3159391" y="1441845"/>
                  <a:pt x="2931382"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5" name="Freeform 4">
            <a:extLst>
              <a:ext uri="{FF2B5EF4-FFF2-40B4-BE49-F238E27FC236}">
                <a16:creationId xmlns:a16="http://schemas.microsoft.com/office/drawing/2014/main" id="{BE3052DC-DFBF-DA6A-3656-0B1E2B7BC5BD}"/>
              </a:ext>
            </a:extLst>
          </p:cNvPr>
          <p:cNvSpPr/>
          <p:nvPr userDrawn="1"/>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6" name="Straight Connector 5">
            <a:extLst>
              <a:ext uri="{FF2B5EF4-FFF2-40B4-BE49-F238E27FC236}">
                <a16:creationId xmlns:a16="http://schemas.microsoft.com/office/drawing/2014/main" id="{21C2570F-DC03-BF3F-C542-655F5905E3C9}"/>
              </a:ext>
            </a:extLst>
          </p:cNvPr>
          <p:cNvCxnSpPr/>
          <p:nvPr userDrawn="1"/>
        </p:nvCxnSpPr>
        <p:spPr>
          <a:xfrm>
            <a:off x="3948063"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34" name="Footer Placeholder 33">
            <a:extLst>
              <a:ext uri="{FF2B5EF4-FFF2-40B4-BE49-F238E27FC236}">
                <a16:creationId xmlns:a16="http://schemas.microsoft.com/office/drawing/2014/main" id="{20D68FAF-8FF2-1710-2C94-86B77CB7574D}"/>
              </a:ext>
            </a:extLst>
          </p:cNvPr>
          <p:cNvSpPr>
            <a:spLocks noGrp="1"/>
          </p:cNvSpPr>
          <p:nvPr>
            <p:ph type="ftr" sz="quarter" idx="27"/>
          </p:nvPr>
        </p:nvSpPr>
        <p:spPr/>
        <p:txBody>
          <a:bodyPr/>
          <a:lstStyle>
            <a:lvl1pPr>
              <a:defRPr>
                <a:solidFill>
                  <a:schemeClr val="bg1"/>
                </a:solidFill>
              </a:defRPr>
            </a:lvl1pPr>
          </a:lstStyle>
          <a:p>
            <a:r>
              <a:rPr lang="en-US" dirty="0"/>
              <a:t>Proprietary &amp; Confidential: Not for Distribution.</a:t>
            </a:r>
          </a:p>
        </p:txBody>
      </p:sp>
      <p:sp>
        <p:nvSpPr>
          <p:cNvPr id="3" name="Text Placeholder 6">
            <a:extLst>
              <a:ext uri="{FF2B5EF4-FFF2-40B4-BE49-F238E27FC236}">
                <a16:creationId xmlns:a16="http://schemas.microsoft.com/office/drawing/2014/main" id="{70368AFE-09C7-5EDA-5BE9-5EA6E53D7ACE}"/>
              </a:ext>
            </a:extLst>
          </p:cNvPr>
          <p:cNvSpPr>
            <a:spLocks noGrp="1"/>
          </p:cNvSpPr>
          <p:nvPr>
            <p:ph type="body" sz="quarter" idx="25"/>
          </p:nvPr>
        </p:nvSpPr>
        <p:spPr>
          <a:xfrm>
            <a:off x="3951111" y="2011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223955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BB8442-4187-3319-7870-9E8A3A4609F5}"/>
              </a:ext>
            </a:extLst>
          </p:cNvPr>
          <p:cNvGraphicFramePr>
            <a:graphicFrameLocks noChangeAspect="1"/>
          </p:cNvGraphicFramePr>
          <p:nvPr>
            <p:custDataLst>
              <p:tags r:id="rId1"/>
            </p:custDataLst>
            <p:extLst>
              <p:ext uri="{D42A27DB-BD31-4B8C-83A1-F6EECF244321}">
                <p14:modId xmlns:p14="http://schemas.microsoft.com/office/powerpoint/2010/main" val="35844385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64BB8442-4187-3319-7870-9E8A3A4609F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67A72A43-352B-8F2C-6F2F-E85E28158411}"/>
              </a:ext>
            </a:extLst>
          </p:cNvPr>
          <p:cNvSpPr>
            <a:spLocks noGrp="1"/>
          </p:cNvSpPr>
          <p:nvPr>
            <p:ph type="pic" sz="quarter" idx="31"/>
          </p:nvPr>
        </p:nvSpPr>
        <p:spPr>
          <a:xfrm>
            <a:off x="1" y="1"/>
            <a:ext cx="3282619" cy="6865497"/>
          </a:xfrm>
          <a:custGeom>
            <a:avLst/>
            <a:gdLst>
              <a:gd name="connsiteX0" fmla="*/ 0 w 3282619"/>
              <a:gd name="connsiteY0" fmla="*/ 0 h 6865497"/>
              <a:gd name="connsiteX1" fmla="*/ 1409737 w 3282619"/>
              <a:gd name="connsiteY1" fmla="*/ 0 h 6865497"/>
              <a:gd name="connsiteX2" fmla="*/ 2786982 w 3282619"/>
              <a:gd name="connsiteY2" fmla="*/ 0 h 6865497"/>
              <a:gd name="connsiteX3" fmla="*/ 2931382 w 3282619"/>
              <a:gd name="connsiteY3" fmla="*/ 524966 h 6865497"/>
              <a:gd name="connsiteX4" fmla="*/ 3282619 w 3282619"/>
              <a:gd name="connsiteY4" fmla="*/ 3436498 h 6865497"/>
              <a:gd name="connsiteX5" fmla="*/ 2931381 w 3282619"/>
              <a:gd name="connsiteY5" fmla="*/ 6348030 h 6865497"/>
              <a:gd name="connsiteX6" fmla="*/ 2789045 w 3282619"/>
              <a:gd name="connsiteY6" fmla="*/ 6865497 h 6865497"/>
              <a:gd name="connsiteX7" fmla="*/ 1411800 w 3282619"/>
              <a:gd name="connsiteY7" fmla="*/ 6865497 h 6865497"/>
              <a:gd name="connsiteX8" fmla="*/ 0 w 3282619"/>
              <a:gd name="connsiteY8"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619" h="6865497">
                <a:moveTo>
                  <a:pt x="0" y="0"/>
                </a:moveTo>
                <a:lnTo>
                  <a:pt x="1409737" y="0"/>
                </a:lnTo>
                <a:lnTo>
                  <a:pt x="2786982" y="0"/>
                </a:lnTo>
                <a:lnTo>
                  <a:pt x="2931382" y="524966"/>
                </a:lnTo>
                <a:cubicBezTo>
                  <a:pt x="3159391" y="1441845"/>
                  <a:pt x="3282619" y="2420383"/>
                  <a:pt x="3282619" y="3436498"/>
                </a:cubicBezTo>
                <a:cubicBezTo>
                  <a:pt x="3282619" y="4452613"/>
                  <a:pt x="3159391" y="5431152"/>
                  <a:pt x="2931381" y="6348030"/>
                </a:cubicBezTo>
                <a:lnTo>
                  <a:pt x="2789045" y="6865497"/>
                </a:lnTo>
                <a:lnTo>
                  <a:pt x="1411800" y="6865497"/>
                </a:lnTo>
                <a:lnTo>
                  <a:pt x="0" y="6865497"/>
                </a:ln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3951111" y="557784"/>
            <a:ext cx="6400800" cy="438912"/>
          </a:xfrm>
        </p:spPr>
        <p:txBody>
          <a:bodyPr vert="horz" anchor="b" anchorCtr="0"/>
          <a:lstStyle>
            <a:lvl1pPr>
              <a:defRPr sz="2800"/>
            </a:lvl1pPr>
          </a:lstStyle>
          <a:p>
            <a:r>
              <a:rPr lang="en-US"/>
              <a:t>Click to edit Master title style</a:t>
            </a:r>
          </a:p>
        </p:txBody>
      </p:sp>
      <p:sp>
        <p:nvSpPr>
          <p:cNvPr id="2" name="Freeform 1">
            <a:extLst>
              <a:ext uri="{FF2B5EF4-FFF2-40B4-BE49-F238E27FC236}">
                <a16:creationId xmlns:a16="http://schemas.microsoft.com/office/drawing/2014/main" id="{2F2A6027-8DDF-9246-23F9-2B7958ED5D47}"/>
              </a:ext>
            </a:extLst>
          </p:cNvPr>
          <p:cNvSpPr/>
          <p:nvPr/>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29" name="Straight Connector 28">
            <a:extLst>
              <a:ext uri="{FF2B5EF4-FFF2-40B4-BE49-F238E27FC236}">
                <a16:creationId xmlns:a16="http://schemas.microsoft.com/office/drawing/2014/main" id="{9D79AF69-34F4-A288-B4CA-F49BCF813887}"/>
              </a:ext>
            </a:extLst>
          </p:cNvPr>
          <p:cNvCxnSpPr/>
          <p:nvPr/>
        </p:nvCxnSpPr>
        <p:spPr>
          <a:xfrm>
            <a:off x="3948063"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34" name="Footer Placeholder 33">
            <a:extLst>
              <a:ext uri="{FF2B5EF4-FFF2-40B4-BE49-F238E27FC236}">
                <a16:creationId xmlns:a16="http://schemas.microsoft.com/office/drawing/2014/main" id="{20D68FAF-8FF2-1710-2C94-86B77CB7574D}"/>
              </a:ext>
            </a:extLst>
          </p:cNvPr>
          <p:cNvSpPr>
            <a:spLocks noGrp="1"/>
          </p:cNvSpPr>
          <p:nvPr>
            <p:ph type="ftr" sz="quarter" idx="27"/>
          </p:nvPr>
        </p:nvSpPr>
        <p:spPr/>
        <p:txBody>
          <a:bodyPr/>
          <a:lstStyle>
            <a:lvl1pPr>
              <a:defRPr>
                <a:solidFill>
                  <a:schemeClr val="bg1"/>
                </a:solidFill>
              </a:defRPr>
            </a:lvl1pPr>
          </a:lstStyle>
          <a:p>
            <a:r>
              <a:rPr lang="en-US" dirty="0"/>
              <a:t>Proprietary &amp; Confidential: Not for Distribution.</a:t>
            </a:r>
          </a:p>
        </p:txBody>
      </p:sp>
      <p:sp>
        <p:nvSpPr>
          <p:cNvPr id="35" name="Slide Number Placeholder 34">
            <a:extLst>
              <a:ext uri="{FF2B5EF4-FFF2-40B4-BE49-F238E27FC236}">
                <a16:creationId xmlns:a16="http://schemas.microsoft.com/office/drawing/2014/main" id="{928B9CAF-236E-4879-8BF1-9528BB86F303}"/>
              </a:ext>
            </a:extLst>
          </p:cNvPr>
          <p:cNvSpPr>
            <a:spLocks noGrp="1"/>
          </p:cNvSpPr>
          <p:nvPr>
            <p:ph type="sldNum" sz="quarter" idx="28"/>
          </p:nvPr>
        </p:nvSpPr>
        <p:spPr/>
        <p:txBody>
          <a:bodyPr/>
          <a:lstStyle/>
          <a:p>
            <a:fld id="{86CB4B4D-7CA3-9044-876B-883B54F8677D}" type="slidenum">
              <a:rPr lang="en-US" smtClean="0"/>
              <a:pPr/>
              <a:t>‹#›</a:t>
            </a:fld>
            <a:endParaRPr lang="en-US" dirty="0"/>
          </a:p>
        </p:txBody>
      </p:sp>
      <p:sp>
        <p:nvSpPr>
          <p:cNvPr id="64" name="Text Placeholder 5">
            <a:extLst>
              <a:ext uri="{FF2B5EF4-FFF2-40B4-BE49-F238E27FC236}">
                <a16:creationId xmlns:a16="http://schemas.microsoft.com/office/drawing/2014/main" id="{BE7EC41F-F15B-F5DE-CE40-9D3AB6AEB5AB}"/>
              </a:ext>
            </a:extLst>
          </p:cNvPr>
          <p:cNvSpPr>
            <a:spLocks noGrp="1"/>
          </p:cNvSpPr>
          <p:nvPr>
            <p:ph type="body" sz="quarter" idx="30"/>
          </p:nvPr>
        </p:nvSpPr>
        <p:spPr>
          <a:xfrm>
            <a:off x="414338" y="1107831"/>
            <a:ext cx="2074862" cy="4756637"/>
          </a:xfrm>
        </p:spPr>
        <p:txBody>
          <a:bodyPr anchor="ctr" anchorCtr="0"/>
          <a:lstStyle>
            <a:lvl1pPr marL="0" indent="0">
              <a:lnSpc>
                <a:spcPct val="120000"/>
              </a:lnSpc>
              <a:buNone/>
              <a:defRPr>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a:t>Click to edit Master text styles</a:t>
            </a:r>
          </a:p>
        </p:txBody>
      </p:sp>
      <p:graphicFrame>
        <p:nvGraphicFramePr>
          <p:cNvPr id="3" name="think-cell data - do not delete" hidden="1">
            <a:extLst>
              <a:ext uri="{FF2B5EF4-FFF2-40B4-BE49-F238E27FC236}">
                <a16:creationId xmlns:a16="http://schemas.microsoft.com/office/drawing/2014/main" id="{3585842C-5AD1-A9F3-A9B4-94C6DF26B0D2}"/>
              </a:ext>
            </a:extLst>
          </p:cNvPr>
          <p:cNvGraphicFramePr>
            <a:graphicFrameLocks noChangeAspect="1"/>
          </p:cNvGraphicFramePr>
          <p:nvPr userDrawn="1">
            <p:custDataLst>
              <p:tags r:id="rId2"/>
            </p:custDataLst>
            <p:extLst>
              <p:ext uri="{D42A27DB-BD31-4B8C-83A1-F6EECF244321}">
                <p14:modId xmlns:p14="http://schemas.microsoft.com/office/powerpoint/2010/main" val="35844385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3585842C-5AD1-A9F3-A9B4-94C6DF26B0D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reeform 3">
            <a:extLst>
              <a:ext uri="{FF2B5EF4-FFF2-40B4-BE49-F238E27FC236}">
                <a16:creationId xmlns:a16="http://schemas.microsoft.com/office/drawing/2014/main" id="{01B53721-6A3E-8952-C32F-C52E7158153C}"/>
              </a:ext>
            </a:extLst>
          </p:cNvPr>
          <p:cNvSpPr/>
          <p:nvPr userDrawn="1"/>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5" name="Straight Connector 4">
            <a:extLst>
              <a:ext uri="{FF2B5EF4-FFF2-40B4-BE49-F238E27FC236}">
                <a16:creationId xmlns:a16="http://schemas.microsoft.com/office/drawing/2014/main" id="{DA21310D-D50D-4034-016B-B65F9650E703}"/>
              </a:ext>
            </a:extLst>
          </p:cNvPr>
          <p:cNvCxnSpPr/>
          <p:nvPr userDrawn="1"/>
        </p:nvCxnSpPr>
        <p:spPr>
          <a:xfrm>
            <a:off x="3948063"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7" name="Text Placeholder 6">
            <a:extLst>
              <a:ext uri="{FF2B5EF4-FFF2-40B4-BE49-F238E27FC236}">
                <a16:creationId xmlns:a16="http://schemas.microsoft.com/office/drawing/2014/main" id="{B1954CD7-4BD5-533B-B2EF-9DF9125AAFAF}"/>
              </a:ext>
            </a:extLst>
          </p:cNvPr>
          <p:cNvSpPr>
            <a:spLocks noGrp="1"/>
          </p:cNvSpPr>
          <p:nvPr>
            <p:ph type="body" sz="quarter" idx="25"/>
          </p:nvPr>
        </p:nvSpPr>
        <p:spPr>
          <a:xfrm>
            <a:off x="3951111" y="201051"/>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05465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ject Team-B-3 people">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9C998165-5397-ED51-7597-E46A0E0C3A75}"/>
              </a:ext>
            </a:extLst>
          </p:cNvPr>
          <p:cNvSpPr/>
          <p:nvPr userDrawn="1"/>
        </p:nvSpPr>
        <p:spPr>
          <a:xfrm>
            <a:off x="0" y="0"/>
            <a:ext cx="3282619" cy="6865497"/>
          </a:xfrm>
          <a:custGeom>
            <a:avLst/>
            <a:gdLst>
              <a:gd name="connsiteX0" fmla="*/ 2786982 w 3282619"/>
              <a:gd name="connsiteY0" fmla="*/ 0 h 6865497"/>
              <a:gd name="connsiteX1" fmla="*/ 1409737 w 3282619"/>
              <a:gd name="connsiteY1" fmla="*/ 0 h 6865497"/>
              <a:gd name="connsiteX2" fmla="*/ 0 w 3282619"/>
              <a:gd name="connsiteY2" fmla="*/ 0 h 6865497"/>
              <a:gd name="connsiteX3" fmla="*/ 0 w 3282619"/>
              <a:gd name="connsiteY3" fmla="*/ 6865497 h 6865497"/>
              <a:gd name="connsiteX4" fmla="*/ 1411800 w 3282619"/>
              <a:gd name="connsiteY4" fmla="*/ 6865497 h 6865497"/>
              <a:gd name="connsiteX5" fmla="*/ 2789045 w 3282619"/>
              <a:gd name="connsiteY5" fmla="*/ 6865497 h 6865497"/>
              <a:gd name="connsiteX6" fmla="*/ 2931381 w 3282619"/>
              <a:gd name="connsiteY6" fmla="*/ 6348030 h 6865497"/>
              <a:gd name="connsiteX7" fmla="*/ 3282619 w 3282619"/>
              <a:gd name="connsiteY7" fmla="*/ 3436498 h 6865497"/>
              <a:gd name="connsiteX8" fmla="*/ 2931382 w 3282619"/>
              <a:gd name="connsiteY8"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619" h="6865497">
                <a:moveTo>
                  <a:pt x="2786982" y="0"/>
                </a:moveTo>
                <a:lnTo>
                  <a:pt x="1409737" y="0"/>
                </a:lnTo>
                <a:lnTo>
                  <a:pt x="0" y="0"/>
                </a:lnTo>
                <a:lnTo>
                  <a:pt x="0" y="6865497"/>
                </a:lnTo>
                <a:lnTo>
                  <a:pt x="1411800" y="6865497"/>
                </a:lnTo>
                <a:lnTo>
                  <a:pt x="2789045" y="6865497"/>
                </a:lnTo>
                <a:lnTo>
                  <a:pt x="2931381" y="6348030"/>
                </a:lnTo>
                <a:cubicBezTo>
                  <a:pt x="3159391" y="5431152"/>
                  <a:pt x="3282619" y="4452613"/>
                  <a:pt x="3282619" y="3436498"/>
                </a:cubicBezTo>
                <a:cubicBezTo>
                  <a:pt x="3282619" y="2420383"/>
                  <a:pt x="3159391" y="1441845"/>
                  <a:pt x="2931382"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aphicFrame>
        <p:nvGraphicFramePr>
          <p:cNvPr id="10" name="think-cell data - do not delete" hidden="1">
            <a:extLst>
              <a:ext uri="{FF2B5EF4-FFF2-40B4-BE49-F238E27FC236}">
                <a16:creationId xmlns:a16="http://schemas.microsoft.com/office/drawing/2014/main" id="{64BB8442-4187-3319-7870-9E8A3A4609F5}"/>
              </a:ext>
            </a:extLst>
          </p:cNvPr>
          <p:cNvGraphicFramePr>
            <a:graphicFrameLocks noChangeAspect="1"/>
          </p:cNvGraphicFramePr>
          <p:nvPr>
            <p:custDataLst>
              <p:tags r:id="rId1"/>
            </p:custDataLst>
            <p:extLst>
              <p:ext uri="{D42A27DB-BD31-4B8C-83A1-F6EECF244321}">
                <p14:modId xmlns:p14="http://schemas.microsoft.com/office/powerpoint/2010/main" val="313708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4BB8442-4187-3319-7870-9E8A3A4609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8" name="Text Placeholder 55">
            <a:extLst>
              <a:ext uri="{FF2B5EF4-FFF2-40B4-BE49-F238E27FC236}">
                <a16:creationId xmlns:a16="http://schemas.microsoft.com/office/drawing/2014/main" id="{E5688D42-0D13-10C1-051B-D8544307F43D}"/>
              </a:ext>
            </a:extLst>
          </p:cNvPr>
          <p:cNvSpPr>
            <a:spLocks noGrp="1"/>
          </p:cNvSpPr>
          <p:nvPr>
            <p:ph type="body" sz="quarter" idx="47" hasCustomPrompt="1"/>
          </p:nvPr>
        </p:nvSpPr>
        <p:spPr>
          <a:xfrm>
            <a:off x="5340574" y="1625448"/>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99" name="Text Placeholder 55">
            <a:extLst>
              <a:ext uri="{FF2B5EF4-FFF2-40B4-BE49-F238E27FC236}">
                <a16:creationId xmlns:a16="http://schemas.microsoft.com/office/drawing/2014/main" id="{973A78FE-AD93-00EC-CF5B-5D8535C5FC3C}"/>
              </a:ext>
            </a:extLst>
          </p:cNvPr>
          <p:cNvSpPr>
            <a:spLocks noGrp="1"/>
          </p:cNvSpPr>
          <p:nvPr>
            <p:ph type="body" sz="quarter" idx="48"/>
          </p:nvPr>
        </p:nvSpPr>
        <p:spPr>
          <a:xfrm>
            <a:off x="7659248" y="1642731"/>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100" name="Text Placeholder 55">
            <a:extLst>
              <a:ext uri="{FF2B5EF4-FFF2-40B4-BE49-F238E27FC236}">
                <a16:creationId xmlns:a16="http://schemas.microsoft.com/office/drawing/2014/main" id="{C0DF791B-69CA-AA65-D349-C1D7E5DDE2DC}"/>
              </a:ext>
            </a:extLst>
          </p:cNvPr>
          <p:cNvSpPr>
            <a:spLocks noGrp="1"/>
          </p:cNvSpPr>
          <p:nvPr>
            <p:ph type="body" sz="quarter" idx="49"/>
          </p:nvPr>
        </p:nvSpPr>
        <p:spPr>
          <a:xfrm>
            <a:off x="9962832" y="1642731"/>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101" name="Picture Placeholder 56">
            <a:extLst>
              <a:ext uri="{FF2B5EF4-FFF2-40B4-BE49-F238E27FC236}">
                <a16:creationId xmlns:a16="http://schemas.microsoft.com/office/drawing/2014/main" id="{2629A9A3-369F-C5D3-74C5-275C6BA3F3C0}"/>
              </a:ext>
            </a:extLst>
          </p:cNvPr>
          <p:cNvSpPr>
            <a:spLocks noGrp="1"/>
          </p:cNvSpPr>
          <p:nvPr>
            <p:ph type="pic" sz="quarter" idx="50"/>
          </p:nvPr>
        </p:nvSpPr>
        <p:spPr>
          <a:xfrm>
            <a:off x="4162137" y="1569734"/>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cxnSp>
        <p:nvCxnSpPr>
          <p:cNvPr id="102" name="Straight Connector 101">
            <a:extLst>
              <a:ext uri="{FF2B5EF4-FFF2-40B4-BE49-F238E27FC236}">
                <a16:creationId xmlns:a16="http://schemas.microsoft.com/office/drawing/2014/main" id="{1A08B4D2-51DE-1F15-070E-2E5908F71453}"/>
              </a:ext>
            </a:extLst>
          </p:cNvPr>
          <p:cNvCxnSpPr/>
          <p:nvPr/>
        </p:nvCxnSpPr>
        <p:spPr>
          <a:xfrm>
            <a:off x="7510408" y="1599713"/>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03" name="Straight Connector 102">
            <a:extLst>
              <a:ext uri="{FF2B5EF4-FFF2-40B4-BE49-F238E27FC236}">
                <a16:creationId xmlns:a16="http://schemas.microsoft.com/office/drawing/2014/main" id="{FB753AB8-741A-81C5-E9E1-733E48AE596A}"/>
              </a:ext>
            </a:extLst>
          </p:cNvPr>
          <p:cNvCxnSpPr/>
          <p:nvPr/>
        </p:nvCxnSpPr>
        <p:spPr>
          <a:xfrm>
            <a:off x="9719352" y="1599713"/>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04" name="Straight Connector 103">
            <a:extLst>
              <a:ext uri="{FF2B5EF4-FFF2-40B4-BE49-F238E27FC236}">
                <a16:creationId xmlns:a16="http://schemas.microsoft.com/office/drawing/2014/main" id="{07954389-07CE-A94F-2916-188958330E24}"/>
              </a:ext>
            </a:extLst>
          </p:cNvPr>
          <p:cNvCxnSpPr/>
          <p:nvPr/>
        </p:nvCxnSpPr>
        <p:spPr>
          <a:xfrm>
            <a:off x="7510408" y="2930965"/>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05" name="Straight Connector 104">
            <a:extLst>
              <a:ext uri="{FF2B5EF4-FFF2-40B4-BE49-F238E27FC236}">
                <a16:creationId xmlns:a16="http://schemas.microsoft.com/office/drawing/2014/main" id="{CCE98A4C-0082-1EC6-9B8C-F10164A65570}"/>
              </a:ext>
            </a:extLst>
          </p:cNvPr>
          <p:cNvCxnSpPr/>
          <p:nvPr/>
        </p:nvCxnSpPr>
        <p:spPr>
          <a:xfrm>
            <a:off x="9719352" y="2930965"/>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06" name="Straight Connector 105">
            <a:extLst>
              <a:ext uri="{FF2B5EF4-FFF2-40B4-BE49-F238E27FC236}">
                <a16:creationId xmlns:a16="http://schemas.microsoft.com/office/drawing/2014/main" id="{0C4E41B1-ED7F-7DDE-537E-F2DF8D0E6685}"/>
              </a:ext>
            </a:extLst>
          </p:cNvPr>
          <p:cNvCxnSpPr/>
          <p:nvPr/>
        </p:nvCxnSpPr>
        <p:spPr>
          <a:xfrm>
            <a:off x="7510408" y="4270032"/>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07" name="Straight Connector 106">
            <a:extLst>
              <a:ext uri="{FF2B5EF4-FFF2-40B4-BE49-F238E27FC236}">
                <a16:creationId xmlns:a16="http://schemas.microsoft.com/office/drawing/2014/main" id="{E158EA1B-D482-6487-F333-773502289CD8}"/>
              </a:ext>
            </a:extLst>
          </p:cNvPr>
          <p:cNvCxnSpPr/>
          <p:nvPr/>
        </p:nvCxnSpPr>
        <p:spPr>
          <a:xfrm>
            <a:off x="9719352" y="4270032"/>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110" name="Text Placeholder 55">
            <a:extLst>
              <a:ext uri="{FF2B5EF4-FFF2-40B4-BE49-F238E27FC236}">
                <a16:creationId xmlns:a16="http://schemas.microsoft.com/office/drawing/2014/main" id="{F2624110-DD24-97E0-5285-18150C3D5AAB}"/>
              </a:ext>
            </a:extLst>
          </p:cNvPr>
          <p:cNvSpPr>
            <a:spLocks noGrp="1"/>
          </p:cNvSpPr>
          <p:nvPr>
            <p:ph type="body" sz="quarter" idx="51" hasCustomPrompt="1"/>
          </p:nvPr>
        </p:nvSpPr>
        <p:spPr>
          <a:xfrm>
            <a:off x="5340574" y="2935502"/>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111" name="Text Placeholder 55">
            <a:extLst>
              <a:ext uri="{FF2B5EF4-FFF2-40B4-BE49-F238E27FC236}">
                <a16:creationId xmlns:a16="http://schemas.microsoft.com/office/drawing/2014/main" id="{4CAF9DCF-094D-5D51-7387-AFE3953B6FDC}"/>
              </a:ext>
            </a:extLst>
          </p:cNvPr>
          <p:cNvSpPr>
            <a:spLocks noGrp="1"/>
          </p:cNvSpPr>
          <p:nvPr>
            <p:ph type="body" sz="quarter" idx="52"/>
          </p:nvPr>
        </p:nvSpPr>
        <p:spPr>
          <a:xfrm>
            <a:off x="7659248" y="2952785"/>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112" name="Text Placeholder 55">
            <a:extLst>
              <a:ext uri="{FF2B5EF4-FFF2-40B4-BE49-F238E27FC236}">
                <a16:creationId xmlns:a16="http://schemas.microsoft.com/office/drawing/2014/main" id="{8C330CD0-CED8-D968-CA96-2E4D9489A5A1}"/>
              </a:ext>
            </a:extLst>
          </p:cNvPr>
          <p:cNvSpPr>
            <a:spLocks noGrp="1"/>
          </p:cNvSpPr>
          <p:nvPr>
            <p:ph type="body" sz="quarter" idx="53"/>
          </p:nvPr>
        </p:nvSpPr>
        <p:spPr>
          <a:xfrm>
            <a:off x="9962832" y="2952785"/>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113" name="Picture Placeholder 66">
            <a:extLst>
              <a:ext uri="{FF2B5EF4-FFF2-40B4-BE49-F238E27FC236}">
                <a16:creationId xmlns:a16="http://schemas.microsoft.com/office/drawing/2014/main" id="{5B007ADC-247C-4CC8-6FE0-35B1F2F8A905}"/>
              </a:ext>
            </a:extLst>
          </p:cNvPr>
          <p:cNvSpPr>
            <a:spLocks noGrp="1"/>
          </p:cNvSpPr>
          <p:nvPr>
            <p:ph type="pic" sz="quarter" idx="54"/>
          </p:nvPr>
        </p:nvSpPr>
        <p:spPr>
          <a:xfrm>
            <a:off x="4162137" y="2879788"/>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114" name="Text Placeholder 55">
            <a:extLst>
              <a:ext uri="{FF2B5EF4-FFF2-40B4-BE49-F238E27FC236}">
                <a16:creationId xmlns:a16="http://schemas.microsoft.com/office/drawing/2014/main" id="{F84FFAAE-66DB-91C2-913F-A4DEF5B8A63D}"/>
              </a:ext>
            </a:extLst>
          </p:cNvPr>
          <p:cNvSpPr>
            <a:spLocks noGrp="1"/>
          </p:cNvSpPr>
          <p:nvPr>
            <p:ph type="body" sz="quarter" idx="55" hasCustomPrompt="1"/>
          </p:nvPr>
        </p:nvSpPr>
        <p:spPr>
          <a:xfrm>
            <a:off x="5340574" y="4254349"/>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115" name="Text Placeholder 55">
            <a:extLst>
              <a:ext uri="{FF2B5EF4-FFF2-40B4-BE49-F238E27FC236}">
                <a16:creationId xmlns:a16="http://schemas.microsoft.com/office/drawing/2014/main" id="{23F795B3-7332-27B7-7AA0-19A5A3B1E732}"/>
              </a:ext>
            </a:extLst>
          </p:cNvPr>
          <p:cNvSpPr>
            <a:spLocks noGrp="1"/>
          </p:cNvSpPr>
          <p:nvPr>
            <p:ph type="body" sz="quarter" idx="56"/>
          </p:nvPr>
        </p:nvSpPr>
        <p:spPr>
          <a:xfrm>
            <a:off x="7659248" y="4271632"/>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116" name="Text Placeholder 55">
            <a:extLst>
              <a:ext uri="{FF2B5EF4-FFF2-40B4-BE49-F238E27FC236}">
                <a16:creationId xmlns:a16="http://schemas.microsoft.com/office/drawing/2014/main" id="{B213DBDA-4BEF-F1F8-2339-4F44C1731C2B}"/>
              </a:ext>
            </a:extLst>
          </p:cNvPr>
          <p:cNvSpPr>
            <a:spLocks noGrp="1"/>
          </p:cNvSpPr>
          <p:nvPr>
            <p:ph type="body" sz="quarter" idx="57"/>
          </p:nvPr>
        </p:nvSpPr>
        <p:spPr>
          <a:xfrm>
            <a:off x="9962832" y="4271632"/>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117" name="Picture Placeholder 70">
            <a:extLst>
              <a:ext uri="{FF2B5EF4-FFF2-40B4-BE49-F238E27FC236}">
                <a16:creationId xmlns:a16="http://schemas.microsoft.com/office/drawing/2014/main" id="{EA71B841-F253-DA69-6FFD-14CAD74FBF3B}"/>
              </a:ext>
            </a:extLst>
          </p:cNvPr>
          <p:cNvSpPr>
            <a:spLocks noGrp="1"/>
          </p:cNvSpPr>
          <p:nvPr>
            <p:ph type="pic" sz="quarter" idx="58"/>
          </p:nvPr>
        </p:nvSpPr>
        <p:spPr>
          <a:xfrm>
            <a:off x="4162137" y="4198635"/>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20" name="Freeform 19">
            <a:extLst>
              <a:ext uri="{FF2B5EF4-FFF2-40B4-BE49-F238E27FC236}">
                <a16:creationId xmlns:a16="http://schemas.microsoft.com/office/drawing/2014/main" id="{E11D4238-0889-250F-6013-2319D91A2329}"/>
              </a:ext>
            </a:extLst>
          </p:cNvPr>
          <p:cNvSpPr/>
          <p:nvPr/>
        </p:nvSpPr>
        <p:spPr>
          <a:xfrm>
            <a:off x="0" y="237744"/>
            <a:ext cx="3282619" cy="6865497"/>
          </a:xfrm>
          <a:custGeom>
            <a:avLst/>
            <a:gdLst>
              <a:gd name="connsiteX0" fmla="*/ 2786982 w 3282619"/>
              <a:gd name="connsiteY0" fmla="*/ 0 h 6865497"/>
              <a:gd name="connsiteX1" fmla="*/ 1409737 w 3282619"/>
              <a:gd name="connsiteY1" fmla="*/ 0 h 6865497"/>
              <a:gd name="connsiteX2" fmla="*/ 0 w 3282619"/>
              <a:gd name="connsiteY2" fmla="*/ 0 h 6865497"/>
              <a:gd name="connsiteX3" fmla="*/ 0 w 3282619"/>
              <a:gd name="connsiteY3" fmla="*/ 6865497 h 6865497"/>
              <a:gd name="connsiteX4" fmla="*/ 1411800 w 3282619"/>
              <a:gd name="connsiteY4" fmla="*/ 6865497 h 6865497"/>
              <a:gd name="connsiteX5" fmla="*/ 2789045 w 3282619"/>
              <a:gd name="connsiteY5" fmla="*/ 6865497 h 6865497"/>
              <a:gd name="connsiteX6" fmla="*/ 2931381 w 3282619"/>
              <a:gd name="connsiteY6" fmla="*/ 6348030 h 6865497"/>
              <a:gd name="connsiteX7" fmla="*/ 3282619 w 3282619"/>
              <a:gd name="connsiteY7" fmla="*/ 3436498 h 6865497"/>
              <a:gd name="connsiteX8" fmla="*/ 2931382 w 3282619"/>
              <a:gd name="connsiteY8"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619" h="6865497">
                <a:moveTo>
                  <a:pt x="2786982" y="0"/>
                </a:moveTo>
                <a:lnTo>
                  <a:pt x="1409737" y="0"/>
                </a:lnTo>
                <a:lnTo>
                  <a:pt x="0" y="0"/>
                </a:lnTo>
                <a:lnTo>
                  <a:pt x="0" y="6865497"/>
                </a:lnTo>
                <a:lnTo>
                  <a:pt x="1411800" y="6865497"/>
                </a:lnTo>
                <a:lnTo>
                  <a:pt x="2789045" y="6865497"/>
                </a:lnTo>
                <a:lnTo>
                  <a:pt x="2931381" y="6348030"/>
                </a:lnTo>
                <a:cubicBezTo>
                  <a:pt x="3159391" y="5431152"/>
                  <a:pt x="3282619" y="4452613"/>
                  <a:pt x="3282619" y="3436498"/>
                </a:cubicBezTo>
                <a:cubicBezTo>
                  <a:pt x="3282619" y="2420383"/>
                  <a:pt x="3159391" y="1441845"/>
                  <a:pt x="2931382"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457200" y="1600201"/>
            <a:ext cx="1944372" cy="930587"/>
          </a:xfrm>
        </p:spPr>
        <p:txBody>
          <a:bodyPr vert="horz" anchor="b" anchorCtr="0"/>
          <a:lstStyle>
            <a:lvl1pPr>
              <a:defRPr sz="2800">
                <a:solidFill>
                  <a:schemeClr val="bg1"/>
                </a:solidFill>
              </a:defRPr>
            </a:lvl1pPr>
          </a:lstStyle>
          <a:p>
            <a:r>
              <a:rPr lang="en-US"/>
              <a:t>Click to edit Master title style</a:t>
            </a:r>
          </a:p>
        </p:txBody>
      </p:sp>
      <p:sp>
        <p:nvSpPr>
          <p:cNvPr id="2" name="Freeform 1">
            <a:extLst>
              <a:ext uri="{FF2B5EF4-FFF2-40B4-BE49-F238E27FC236}">
                <a16:creationId xmlns:a16="http://schemas.microsoft.com/office/drawing/2014/main" id="{2F2A6027-8DDF-9246-23F9-2B7958ED5D47}"/>
              </a:ext>
            </a:extLst>
          </p:cNvPr>
          <p:cNvSpPr/>
          <p:nvPr/>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4" name="Footer Placeholder 33">
            <a:extLst>
              <a:ext uri="{FF2B5EF4-FFF2-40B4-BE49-F238E27FC236}">
                <a16:creationId xmlns:a16="http://schemas.microsoft.com/office/drawing/2014/main" id="{20D68FAF-8FF2-1710-2C94-86B77CB7574D}"/>
              </a:ext>
            </a:extLst>
          </p:cNvPr>
          <p:cNvSpPr>
            <a:spLocks noGrp="1"/>
          </p:cNvSpPr>
          <p:nvPr>
            <p:ph type="ftr" sz="quarter" idx="27"/>
          </p:nvPr>
        </p:nvSpPr>
        <p:spPr/>
        <p:txBody>
          <a:bodyPr/>
          <a:lstStyle>
            <a:lvl1pPr>
              <a:defRPr>
                <a:solidFill>
                  <a:schemeClr val="bg1"/>
                </a:solidFill>
              </a:defRPr>
            </a:lvl1pPr>
          </a:lstStyle>
          <a:p>
            <a:r>
              <a:rPr lang="en-US" dirty="0"/>
              <a:t>Proprietary &amp; Confidential: Not for Distribution.</a:t>
            </a:r>
          </a:p>
        </p:txBody>
      </p:sp>
      <p:sp>
        <p:nvSpPr>
          <p:cNvPr id="35" name="Slide Number Placeholder 34">
            <a:extLst>
              <a:ext uri="{FF2B5EF4-FFF2-40B4-BE49-F238E27FC236}">
                <a16:creationId xmlns:a16="http://schemas.microsoft.com/office/drawing/2014/main" id="{928B9CAF-236E-4879-8BF1-9528BB86F303}"/>
              </a:ext>
            </a:extLst>
          </p:cNvPr>
          <p:cNvSpPr>
            <a:spLocks noGrp="1"/>
          </p:cNvSpPr>
          <p:nvPr>
            <p:ph type="sldNum" sz="quarter" idx="28"/>
          </p:nvPr>
        </p:nvSpPr>
        <p:spPr/>
        <p:txBody>
          <a:bodyPr/>
          <a:lstStyle/>
          <a:p>
            <a:fld id="{86CB4B4D-7CA3-9044-876B-883B54F8677D}" type="slidenum">
              <a:rPr lang="en-US" smtClean="0"/>
              <a:pPr/>
              <a:t>‹#›</a:t>
            </a:fld>
            <a:endParaRPr lang="en-US" dirty="0"/>
          </a:p>
        </p:txBody>
      </p:sp>
      <p:sp>
        <p:nvSpPr>
          <p:cNvPr id="6" name="Text Placeholder 5">
            <a:extLst>
              <a:ext uri="{FF2B5EF4-FFF2-40B4-BE49-F238E27FC236}">
                <a16:creationId xmlns:a16="http://schemas.microsoft.com/office/drawing/2014/main" id="{5263B1E8-CCF0-BD07-563F-81F5368DF517}"/>
              </a:ext>
            </a:extLst>
          </p:cNvPr>
          <p:cNvSpPr>
            <a:spLocks noGrp="1"/>
          </p:cNvSpPr>
          <p:nvPr>
            <p:ph type="body" sz="quarter" idx="29"/>
          </p:nvPr>
        </p:nvSpPr>
        <p:spPr>
          <a:xfrm>
            <a:off x="457200" y="2560320"/>
            <a:ext cx="2286000" cy="2297379"/>
          </a:xfrm>
        </p:spPr>
        <p:txBody>
          <a:bodyPr/>
          <a:lstStyle>
            <a:lvl1pPr marL="0" indent="0">
              <a:lnSpc>
                <a:spcPct val="120000"/>
              </a:lnSpc>
              <a:buNone/>
              <a:defRPr>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a:t>Click to edit Master text styles</a:t>
            </a:r>
          </a:p>
        </p:txBody>
      </p:sp>
      <p:pic>
        <p:nvPicPr>
          <p:cNvPr id="3" name="Picture 2" descr="Logo&#10;&#10;Description automatically generated">
            <a:extLst>
              <a:ext uri="{FF2B5EF4-FFF2-40B4-BE49-F238E27FC236}">
                <a16:creationId xmlns:a16="http://schemas.microsoft.com/office/drawing/2014/main" id="{9898A80F-DEDB-8AE3-73E7-844601BD971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1627" y="5261753"/>
            <a:ext cx="1293954" cy="459257"/>
          </a:xfrm>
          <a:prstGeom prst="rect">
            <a:avLst/>
          </a:prstGeom>
        </p:spPr>
      </p:pic>
      <p:cxnSp>
        <p:nvCxnSpPr>
          <p:cNvPr id="8" name="Straight Connector 7">
            <a:extLst>
              <a:ext uri="{FF2B5EF4-FFF2-40B4-BE49-F238E27FC236}">
                <a16:creationId xmlns:a16="http://schemas.microsoft.com/office/drawing/2014/main" id="{256B3956-4DB6-29AD-8612-970A22CAD387}"/>
              </a:ext>
            </a:extLst>
          </p:cNvPr>
          <p:cNvCxnSpPr/>
          <p:nvPr/>
        </p:nvCxnSpPr>
        <p:spPr>
          <a:xfrm>
            <a:off x="4162136" y="2720401"/>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9" name="Straight Connector 8">
            <a:extLst>
              <a:ext uri="{FF2B5EF4-FFF2-40B4-BE49-F238E27FC236}">
                <a16:creationId xmlns:a16="http://schemas.microsoft.com/office/drawing/2014/main" id="{FE1C443C-C911-A28F-B16E-98D582628151}"/>
              </a:ext>
            </a:extLst>
          </p:cNvPr>
          <p:cNvCxnSpPr/>
          <p:nvPr/>
        </p:nvCxnSpPr>
        <p:spPr>
          <a:xfrm>
            <a:off x="4162136" y="4039715"/>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 name="Straight Connector 4">
            <a:extLst>
              <a:ext uri="{FF2B5EF4-FFF2-40B4-BE49-F238E27FC236}">
                <a16:creationId xmlns:a16="http://schemas.microsoft.com/office/drawing/2014/main" id="{1084D49A-4888-C685-9A76-4EDEF1118238}"/>
              </a:ext>
            </a:extLst>
          </p:cNvPr>
          <p:cNvCxnSpPr/>
          <p:nvPr userDrawn="1"/>
        </p:nvCxnSpPr>
        <p:spPr>
          <a:xfrm>
            <a:off x="7510408" y="1599713"/>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7" name="Straight Connector 6">
            <a:extLst>
              <a:ext uri="{FF2B5EF4-FFF2-40B4-BE49-F238E27FC236}">
                <a16:creationId xmlns:a16="http://schemas.microsoft.com/office/drawing/2014/main" id="{D0B2D505-1809-284C-91FE-6E9AE47F0A41}"/>
              </a:ext>
            </a:extLst>
          </p:cNvPr>
          <p:cNvCxnSpPr/>
          <p:nvPr userDrawn="1"/>
        </p:nvCxnSpPr>
        <p:spPr>
          <a:xfrm>
            <a:off x="9719352" y="1599713"/>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1" name="Straight Connector 10">
            <a:extLst>
              <a:ext uri="{FF2B5EF4-FFF2-40B4-BE49-F238E27FC236}">
                <a16:creationId xmlns:a16="http://schemas.microsoft.com/office/drawing/2014/main" id="{38C82861-62F0-C56E-ED35-E0498F433408}"/>
              </a:ext>
            </a:extLst>
          </p:cNvPr>
          <p:cNvCxnSpPr/>
          <p:nvPr userDrawn="1"/>
        </p:nvCxnSpPr>
        <p:spPr>
          <a:xfrm>
            <a:off x="7510408" y="2930965"/>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FBF1F07B-755C-070D-5CFC-A2D5FFEC5283}"/>
              </a:ext>
            </a:extLst>
          </p:cNvPr>
          <p:cNvCxnSpPr/>
          <p:nvPr userDrawn="1"/>
        </p:nvCxnSpPr>
        <p:spPr>
          <a:xfrm>
            <a:off x="9719352" y="2930965"/>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3203DB8A-954B-46B0-09D7-5608D6E37A49}"/>
              </a:ext>
            </a:extLst>
          </p:cNvPr>
          <p:cNvCxnSpPr/>
          <p:nvPr userDrawn="1"/>
        </p:nvCxnSpPr>
        <p:spPr>
          <a:xfrm>
            <a:off x="7510408" y="4270032"/>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4F270FCE-7E3A-F42E-C66F-234DCB451C71}"/>
              </a:ext>
            </a:extLst>
          </p:cNvPr>
          <p:cNvCxnSpPr/>
          <p:nvPr userDrawn="1"/>
        </p:nvCxnSpPr>
        <p:spPr>
          <a:xfrm>
            <a:off x="9719352" y="4270032"/>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18" name="Freeform 17">
            <a:extLst>
              <a:ext uri="{FF2B5EF4-FFF2-40B4-BE49-F238E27FC236}">
                <a16:creationId xmlns:a16="http://schemas.microsoft.com/office/drawing/2014/main" id="{3EA17654-21A8-AAEB-9EBF-091E8D77805B}"/>
              </a:ext>
            </a:extLst>
          </p:cNvPr>
          <p:cNvSpPr/>
          <p:nvPr userDrawn="1"/>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19" name="Straight Connector 18">
            <a:extLst>
              <a:ext uri="{FF2B5EF4-FFF2-40B4-BE49-F238E27FC236}">
                <a16:creationId xmlns:a16="http://schemas.microsoft.com/office/drawing/2014/main" id="{BD2F3B61-9F1F-D2CD-DF8F-50E8690E6A96}"/>
              </a:ext>
            </a:extLst>
          </p:cNvPr>
          <p:cNvCxnSpPr/>
          <p:nvPr userDrawn="1"/>
        </p:nvCxnSpPr>
        <p:spPr>
          <a:xfrm>
            <a:off x="4162136" y="2720401"/>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1" name="Straight Connector 20">
            <a:extLst>
              <a:ext uri="{FF2B5EF4-FFF2-40B4-BE49-F238E27FC236}">
                <a16:creationId xmlns:a16="http://schemas.microsoft.com/office/drawing/2014/main" id="{FCC963FA-46B9-503A-C0EB-F8D95A754172}"/>
              </a:ext>
            </a:extLst>
          </p:cNvPr>
          <p:cNvCxnSpPr/>
          <p:nvPr userDrawn="1"/>
        </p:nvCxnSpPr>
        <p:spPr>
          <a:xfrm>
            <a:off x="4162136" y="4039715"/>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6C05B507-F64D-1910-41C5-E72F5F557476}"/>
              </a:ext>
            </a:extLst>
          </p:cNvPr>
          <p:cNvSpPr>
            <a:spLocks noGrp="1"/>
          </p:cNvSpPr>
          <p:nvPr>
            <p:ph type="body" sz="quarter" idx="25"/>
          </p:nvPr>
        </p:nvSpPr>
        <p:spPr>
          <a:xfrm>
            <a:off x="521978" y="782060"/>
            <a:ext cx="1837335" cy="587438"/>
          </a:xfrm>
        </p:spPr>
        <p:txBody>
          <a:bodyPr anchor="b" anchorCtr="0"/>
          <a:lstStyle>
            <a:lvl1pPr marL="0" indent="0">
              <a:buFontTx/>
              <a:buNone/>
              <a:defRPr sz="1200" cap="all" baseline="0">
                <a:solidFill>
                  <a:schemeClr val="bg1"/>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31182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9D2A16-24A6-AA7D-BFB7-9E6C4A3A004A}"/>
              </a:ext>
            </a:extLst>
          </p:cNvPr>
          <p:cNvGraphicFramePr>
            <a:graphicFrameLocks noChangeAspect="1"/>
          </p:cNvGraphicFramePr>
          <p:nvPr>
            <p:custDataLst>
              <p:tags r:id="rId1"/>
            </p:custDataLst>
            <p:extLst>
              <p:ext uri="{D42A27DB-BD31-4B8C-83A1-F6EECF244321}">
                <p14:modId xmlns:p14="http://schemas.microsoft.com/office/powerpoint/2010/main" val="27499890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A39D2A16-24A6-AA7D-BFB7-9E6C4A3A00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6" name="Picture 6">
            <a:extLst>
              <a:ext uri="{FF2B5EF4-FFF2-40B4-BE49-F238E27FC236}">
                <a16:creationId xmlns:a16="http://schemas.microsoft.com/office/drawing/2014/main" id="{0344F2D8-2682-D0C2-C65E-33E6667FBD8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45388" y="2494061"/>
            <a:ext cx="3270086" cy="585687"/>
          </a:xfrm>
          <a:prstGeom prst="rect">
            <a:avLst/>
          </a:prstGeom>
        </p:spPr>
      </p:pic>
      <p:sp>
        <p:nvSpPr>
          <p:cNvPr id="55" name="Picture Placeholder 54">
            <a:extLst>
              <a:ext uri="{FF2B5EF4-FFF2-40B4-BE49-F238E27FC236}">
                <a16:creationId xmlns:a16="http://schemas.microsoft.com/office/drawing/2014/main" id="{D1B6E5FA-3E9D-5D34-44FC-E0F7DBEFDD84}"/>
              </a:ext>
            </a:extLst>
          </p:cNvPr>
          <p:cNvSpPr>
            <a:spLocks noGrp="1"/>
          </p:cNvSpPr>
          <p:nvPr>
            <p:ph type="pic" sz="quarter" idx="14"/>
          </p:nvPr>
        </p:nvSpPr>
        <p:spPr>
          <a:xfrm>
            <a:off x="1" y="-7497"/>
            <a:ext cx="11961045" cy="6865497"/>
          </a:xfrm>
          <a:custGeom>
            <a:avLst/>
            <a:gdLst>
              <a:gd name="connsiteX0" fmla="*/ 1027072 w 11961045"/>
              <a:gd name="connsiteY0" fmla="*/ 3063100 h 6865497"/>
              <a:gd name="connsiteX1" fmla="*/ 1028410 w 11961045"/>
              <a:gd name="connsiteY1" fmla="*/ 3063100 h 6865497"/>
              <a:gd name="connsiteX2" fmla="*/ 1032056 w 11961045"/>
              <a:gd name="connsiteY2" fmla="*/ 3063339 h 6865497"/>
              <a:gd name="connsiteX3" fmla="*/ 1033151 w 11961045"/>
              <a:gd name="connsiteY3" fmla="*/ 3064056 h 6865497"/>
              <a:gd name="connsiteX4" fmla="*/ 1033515 w 11961045"/>
              <a:gd name="connsiteY4" fmla="*/ 3065251 h 6865497"/>
              <a:gd name="connsiteX5" fmla="*/ 1033151 w 11961045"/>
              <a:gd name="connsiteY5" fmla="*/ 3066447 h 6865497"/>
              <a:gd name="connsiteX6" fmla="*/ 1032056 w 11961045"/>
              <a:gd name="connsiteY6" fmla="*/ 3067283 h 6865497"/>
              <a:gd name="connsiteX7" fmla="*/ 1028410 w 11961045"/>
              <a:gd name="connsiteY7" fmla="*/ 3067522 h 6865497"/>
              <a:gd name="connsiteX8" fmla="*/ 1027072 w 11961045"/>
              <a:gd name="connsiteY8" fmla="*/ 3067522 h 6865497"/>
              <a:gd name="connsiteX9" fmla="*/ 1023669 w 11961045"/>
              <a:gd name="connsiteY9" fmla="*/ 3060470 h 6865497"/>
              <a:gd name="connsiteX10" fmla="*/ 1023669 w 11961045"/>
              <a:gd name="connsiteY10" fmla="*/ 3076846 h 6865497"/>
              <a:gd name="connsiteX11" fmla="*/ 1023790 w 11961045"/>
              <a:gd name="connsiteY11" fmla="*/ 3076846 h 6865497"/>
              <a:gd name="connsiteX12" fmla="*/ 1027194 w 11961045"/>
              <a:gd name="connsiteY12" fmla="*/ 3076846 h 6865497"/>
              <a:gd name="connsiteX13" fmla="*/ 1027194 w 11961045"/>
              <a:gd name="connsiteY13" fmla="*/ 3070152 h 6865497"/>
              <a:gd name="connsiteX14" fmla="*/ 1028045 w 11961045"/>
              <a:gd name="connsiteY14" fmla="*/ 3070152 h 6865497"/>
              <a:gd name="connsiteX15" fmla="*/ 1030355 w 11961045"/>
              <a:gd name="connsiteY15" fmla="*/ 3070869 h 6865497"/>
              <a:gd name="connsiteX16" fmla="*/ 1032664 w 11961045"/>
              <a:gd name="connsiteY16" fmla="*/ 3074216 h 6865497"/>
              <a:gd name="connsiteX17" fmla="*/ 1034123 w 11961045"/>
              <a:gd name="connsiteY17" fmla="*/ 3076846 h 6865497"/>
              <a:gd name="connsiteX18" fmla="*/ 1038256 w 11961045"/>
              <a:gd name="connsiteY18" fmla="*/ 3076846 h 6865497"/>
              <a:gd name="connsiteX19" fmla="*/ 1036311 w 11961045"/>
              <a:gd name="connsiteY19" fmla="*/ 3073499 h 6865497"/>
              <a:gd name="connsiteX20" fmla="*/ 1035096 w 11961045"/>
              <a:gd name="connsiteY20" fmla="*/ 3071467 h 6865497"/>
              <a:gd name="connsiteX21" fmla="*/ 1034001 w 11961045"/>
              <a:gd name="connsiteY21" fmla="*/ 3070152 h 6865497"/>
              <a:gd name="connsiteX22" fmla="*/ 1032786 w 11961045"/>
              <a:gd name="connsiteY22" fmla="*/ 3069554 h 6865497"/>
              <a:gd name="connsiteX23" fmla="*/ 1036068 w 11961045"/>
              <a:gd name="connsiteY23" fmla="*/ 3068000 h 6865497"/>
              <a:gd name="connsiteX24" fmla="*/ 1037284 w 11961045"/>
              <a:gd name="connsiteY24" fmla="*/ 3065012 h 6865497"/>
              <a:gd name="connsiteX25" fmla="*/ 1036676 w 11961045"/>
              <a:gd name="connsiteY25" fmla="*/ 3062622 h 6865497"/>
              <a:gd name="connsiteX26" fmla="*/ 1035096 w 11961045"/>
              <a:gd name="connsiteY26" fmla="*/ 3061068 h 6865497"/>
              <a:gd name="connsiteX27" fmla="*/ 1032421 w 11961045"/>
              <a:gd name="connsiteY27" fmla="*/ 3060470 h 6865497"/>
              <a:gd name="connsiteX28" fmla="*/ 1027072 w 11961045"/>
              <a:gd name="connsiteY28" fmla="*/ 3060470 h 6865497"/>
              <a:gd name="connsiteX29" fmla="*/ 1030841 w 11961045"/>
              <a:gd name="connsiteY29" fmla="*/ 3056167 h 6865497"/>
              <a:gd name="connsiteX30" fmla="*/ 1037041 w 11961045"/>
              <a:gd name="connsiteY30" fmla="*/ 3057721 h 6865497"/>
              <a:gd name="connsiteX31" fmla="*/ 1041782 w 11961045"/>
              <a:gd name="connsiteY31" fmla="*/ 3062263 h 6865497"/>
              <a:gd name="connsiteX32" fmla="*/ 1043484 w 11961045"/>
              <a:gd name="connsiteY32" fmla="*/ 3068479 h 6865497"/>
              <a:gd name="connsiteX33" fmla="*/ 1041782 w 11961045"/>
              <a:gd name="connsiteY33" fmla="*/ 3074694 h 6865497"/>
              <a:gd name="connsiteX34" fmla="*/ 1037162 w 11961045"/>
              <a:gd name="connsiteY34" fmla="*/ 3079236 h 6865497"/>
              <a:gd name="connsiteX35" fmla="*/ 1030841 w 11961045"/>
              <a:gd name="connsiteY35" fmla="*/ 3080909 h 6865497"/>
              <a:gd name="connsiteX36" fmla="*/ 1024519 w 11961045"/>
              <a:gd name="connsiteY36" fmla="*/ 3079236 h 6865497"/>
              <a:gd name="connsiteX37" fmla="*/ 1019900 w 11961045"/>
              <a:gd name="connsiteY37" fmla="*/ 3074694 h 6865497"/>
              <a:gd name="connsiteX38" fmla="*/ 1018198 w 11961045"/>
              <a:gd name="connsiteY38" fmla="*/ 3068479 h 6865497"/>
              <a:gd name="connsiteX39" fmla="*/ 1019900 w 11961045"/>
              <a:gd name="connsiteY39" fmla="*/ 3062263 h 6865497"/>
              <a:gd name="connsiteX40" fmla="*/ 1024641 w 11961045"/>
              <a:gd name="connsiteY40" fmla="*/ 3057721 h 6865497"/>
              <a:gd name="connsiteX41" fmla="*/ 1030841 w 11961045"/>
              <a:gd name="connsiteY41" fmla="*/ 3056167 h 6865497"/>
              <a:gd name="connsiteX42" fmla="*/ 1030841 w 11961045"/>
              <a:gd name="connsiteY42" fmla="*/ 3053179 h 6865497"/>
              <a:gd name="connsiteX43" fmla="*/ 1023061 w 11961045"/>
              <a:gd name="connsiteY43" fmla="*/ 3055211 h 6865497"/>
              <a:gd name="connsiteX44" fmla="*/ 1017226 w 11961045"/>
              <a:gd name="connsiteY44" fmla="*/ 3060948 h 6865497"/>
              <a:gd name="connsiteX45" fmla="*/ 1015159 w 11961045"/>
              <a:gd name="connsiteY45" fmla="*/ 3068718 h 6865497"/>
              <a:gd name="connsiteX46" fmla="*/ 1017226 w 11961045"/>
              <a:gd name="connsiteY46" fmla="*/ 3076367 h 6865497"/>
              <a:gd name="connsiteX47" fmla="*/ 1023061 w 11961045"/>
              <a:gd name="connsiteY47" fmla="*/ 3082105 h 6865497"/>
              <a:gd name="connsiteX48" fmla="*/ 1030841 w 11961045"/>
              <a:gd name="connsiteY48" fmla="*/ 3084137 h 6865497"/>
              <a:gd name="connsiteX49" fmla="*/ 1038621 w 11961045"/>
              <a:gd name="connsiteY49" fmla="*/ 3082105 h 6865497"/>
              <a:gd name="connsiteX50" fmla="*/ 1044456 w 11961045"/>
              <a:gd name="connsiteY50" fmla="*/ 3076367 h 6865497"/>
              <a:gd name="connsiteX51" fmla="*/ 1046523 w 11961045"/>
              <a:gd name="connsiteY51" fmla="*/ 3068718 h 6865497"/>
              <a:gd name="connsiteX52" fmla="*/ 1044456 w 11961045"/>
              <a:gd name="connsiteY52" fmla="*/ 3060948 h 6865497"/>
              <a:gd name="connsiteX53" fmla="*/ 1038621 w 11961045"/>
              <a:gd name="connsiteY53" fmla="*/ 3055211 h 6865497"/>
              <a:gd name="connsiteX54" fmla="*/ 1030841 w 11961045"/>
              <a:gd name="connsiteY54" fmla="*/ 3053179 h 6865497"/>
              <a:gd name="connsiteX55" fmla="*/ 577405 w 11961045"/>
              <a:gd name="connsiteY55" fmla="*/ 2842451 h 6865497"/>
              <a:gd name="connsiteX56" fmla="*/ 577284 w 11961045"/>
              <a:gd name="connsiteY56" fmla="*/ 2842571 h 6865497"/>
              <a:gd name="connsiteX57" fmla="*/ 454625 w 11961045"/>
              <a:gd name="connsiteY57" fmla="*/ 2963174 h 6865497"/>
              <a:gd name="connsiteX58" fmla="*/ 577405 w 11961045"/>
              <a:gd name="connsiteY58" fmla="*/ 3083658 h 6865497"/>
              <a:gd name="connsiteX59" fmla="*/ 700064 w 11961045"/>
              <a:gd name="connsiteY59" fmla="*/ 2963055 h 6865497"/>
              <a:gd name="connsiteX60" fmla="*/ 577405 w 11961045"/>
              <a:gd name="connsiteY60" fmla="*/ 2842451 h 6865497"/>
              <a:gd name="connsiteX61" fmla="*/ 3534220 w 11961045"/>
              <a:gd name="connsiteY61" fmla="*/ 2754001 h 6865497"/>
              <a:gd name="connsiteX62" fmla="*/ 3568866 w 11961045"/>
              <a:gd name="connsiteY62" fmla="*/ 2761292 h 6865497"/>
              <a:gd name="connsiteX63" fmla="*/ 3596704 w 11961045"/>
              <a:gd name="connsiteY63" fmla="*/ 2781731 h 6865497"/>
              <a:gd name="connsiteX64" fmla="*/ 3615304 w 11961045"/>
              <a:gd name="connsiteY64" fmla="*/ 2813287 h 6865497"/>
              <a:gd name="connsiteX65" fmla="*/ 3621990 w 11961045"/>
              <a:gd name="connsiteY65" fmla="*/ 2852970 h 6865497"/>
              <a:gd name="connsiteX66" fmla="*/ 3615304 w 11961045"/>
              <a:gd name="connsiteY66" fmla="*/ 2893370 h 6865497"/>
              <a:gd name="connsiteX67" fmla="*/ 3596704 w 11961045"/>
              <a:gd name="connsiteY67" fmla="*/ 2924926 h 6865497"/>
              <a:gd name="connsiteX68" fmla="*/ 3568866 w 11961045"/>
              <a:gd name="connsiteY68" fmla="*/ 2945365 h 6865497"/>
              <a:gd name="connsiteX69" fmla="*/ 3534220 w 11961045"/>
              <a:gd name="connsiteY69" fmla="*/ 2952656 h 6865497"/>
              <a:gd name="connsiteX70" fmla="*/ 3499574 w 11961045"/>
              <a:gd name="connsiteY70" fmla="*/ 2945365 h 6865497"/>
              <a:gd name="connsiteX71" fmla="*/ 3471736 w 11961045"/>
              <a:gd name="connsiteY71" fmla="*/ 2924926 h 6865497"/>
              <a:gd name="connsiteX72" fmla="*/ 3453136 w 11961045"/>
              <a:gd name="connsiteY72" fmla="*/ 2893729 h 6865497"/>
              <a:gd name="connsiteX73" fmla="*/ 3446450 w 11961045"/>
              <a:gd name="connsiteY73" fmla="*/ 2853687 h 6865497"/>
              <a:gd name="connsiteX74" fmla="*/ 3446450 w 11961045"/>
              <a:gd name="connsiteY74" fmla="*/ 2853568 h 6865497"/>
              <a:gd name="connsiteX75" fmla="*/ 3453136 w 11961045"/>
              <a:gd name="connsiteY75" fmla="*/ 2813884 h 6865497"/>
              <a:gd name="connsiteX76" fmla="*/ 3471736 w 11961045"/>
              <a:gd name="connsiteY76" fmla="*/ 2782329 h 6865497"/>
              <a:gd name="connsiteX77" fmla="*/ 3499574 w 11961045"/>
              <a:gd name="connsiteY77" fmla="*/ 2761531 h 6865497"/>
              <a:gd name="connsiteX78" fmla="*/ 3534220 w 11961045"/>
              <a:gd name="connsiteY78" fmla="*/ 2754001 h 6865497"/>
              <a:gd name="connsiteX79" fmla="*/ 2694573 w 11961045"/>
              <a:gd name="connsiteY79" fmla="*/ 2745036 h 6865497"/>
              <a:gd name="connsiteX80" fmla="*/ 2753532 w 11961045"/>
              <a:gd name="connsiteY80" fmla="*/ 2767029 h 6865497"/>
              <a:gd name="connsiteX81" fmla="*/ 2781006 w 11961045"/>
              <a:gd name="connsiteY81" fmla="*/ 2825598 h 6865497"/>
              <a:gd name="connsiteX82" fmla="*/ 2781127 w 11961045"/>
              <a:gd name="connsiteY82" fmla="*/ 2825717 h 6865497"/>
              <a:gd name="connsiteX83" fmla="*/ 2609478 w 11961045"/>
              <a:gd name="connsiteY83" fmla="*/ 2825717 h 6865497"/>
              <a:gd name="connsiteX84" fmla="*/ 2617987 w 11961045"/>
              <a:gd name="connsiteY84" fmla="*/ 2792847 h 6865497"/>
              <a:gd name="connsiteX85" fmla="*/ 2636587 w 11961045"/>
              <a:gd name="connsiteY85" fmla="*/ 2767388 h 6865497"/>
              <a:gd name="connsiteX86" fmla="*/ 2662723 w 11961045"/>
              <a:gd name="connsiteY86" fmla="*/ 2750893 h 6865497"/>
              <a:gd name="connsiteX87" fmla="*/ 2694573 w 11961045"/>
              <a:gd name="connsiteY87" fmla="*/ 2745036 h 6865497"/>
              <a:gd name="connsiteX88" fmla="*/ 1795118 w 11961045"/>
              <a:gd name="connsiteY88" fmla="*/ 2686467 h 6865497"/>
              <a:gd name="connsiteX89" fmla="*/ 1795118 w 11961045"/>
              <a:gd name="connsiteY89" fmla="*/ 3021982 h 6865497"/>
              <a:gd name="connsiteX90" fmla="*/ 1881186 w 11961045"/>
              <a:gd name="connsiteY90" fmla="*/ 3021982 h 6865497"/>
              <a:gd name="connsiteX91" fmla="*/ 1881186 w 11961045"/>
              <a:gd name="connsiteY91" fmla="*/ 2686467 h 6865497"/>
              <a:gd name="connsiteX92" fmla="*/ 2369875 w 11961045"/>
              <a:gd name="connsiteY92" fmla="*/ 2685152 h 6865497"/>
              <a:gd name="connsiteX93" fmla="*/ 2297908 w 11961045"/>
              <a:gd name="connsiteY93" fmla="*/ 2703201 h 6865497"/>
              <a:gd name="connsiteX94" fmla="*/ 2245879 w 11961045"/>
              <a:gd name="connsiteY94" fmla="*/ 2755315 h 6865497"/>
              <a:gd name="connsiteX95" fmla="*/ 2216338 w 11961045"/>
              <a:gd name="connsiteY95" fmla="*/ 2705472 h 6865497"/>
              <a:gd name="connsiteX96" fmla="*/ 2150815 w 11961045"/>
              <a:gd name="connsiteY96" fmla="*/ 2685272 h 6865497"/>
              <a:gd name="connsiteX97" fmla="*/ 2076661 w 11961045"/>
              <a:gd name="connsiteY97" fmla="*/ 2702603 h 6865497"/>
              <a:gd name="connsiteX98" fmla="*/ 2025604 w 11961045"/>
              <a:gd name="connsiteY98" fmla="*/ 2752207 h 6865497"/>
              <a:gd name="connsiteX99" fmla="*/ 2025604 w 11961045"/>
              <a:gd name="connsiteY99" fmla="*/ 2686347 h 6865497"/>
              <a:gd name="connsiteX100" fmla="*/ 1947924 w 11961045"/>
              <a:gd name="connsiteY100" fmla="*/ 2686347 h 6865497"/>
              <a:gd name="connsiteX101" fmla="*/ 1947924 w 11961045"/>
              <a:gd name="connsiteY101" fmla="*/ 3021982 h 6865497"/>
              <a:gd name="connsiteX102" fmla="*/ 2033992 w 11961045"/>
              <a:gd name="connsiteY102" fmla="*/ 3021982 h 6865497"/>
              <a:gd name="connsiteX103" fmla="*/ 2033992 w 11961045"/>
              <a:gd name="connsiteY103" fmla="*/ 2828705 h 6865497"/>
              <a:gd name="connsiteX104" fmla="*/ 2066450 w 11961045"/>
              <a:gd name="connsiteY104" fmla="*/ 2778862 h 6865497"/>
              <a:gd name="connsiteX105" fmla="*/ 2114346 w 11961045"/>
              <a:gd name="connsiteY105" fmla="*/ 2759977 h 6865497"/>
              <a:gd name="connsiteX106" fmla="*/ 2152517 w 11961045"/>
              <a:gd name="connsiteY106" fmla="*/ 2778264 h 6865497"/>
              <a:gd name="connsiteX107" fmla="*/ 2166376 w 11961045"/>
              <a:gd name="connsiteY107" fmla="*/ 2836355 h 6865497"/>
              <a:gd name="connsiteX108" fmla="*/ 2166376 w 11961045"/>
              <a:gd name="connsiteY108" fmla="*/ 3021982 h 6865497"/>
              <a:gd name="connsiteX109" fmla="*/ 2252443 w 11961045"/>
              <a:gd name="connsiteY109" fmla="*/ 3021982 h 6865497"/>
              <a:gd name="connsiteX110" fmla="*/ 2252443 w 11961045"/>
              <a:gd name="connsiteY110" fmla="*/ 2829422 h 6865497"/>
              <a:gd name="connsiteX111" fmla="*/ 2284536 w 11961045"/>
              <a:gd name="connsiteY111" fmla="*/ 2779221 h 6865497"/>
              <a:gd name="connsiteX112" fmla="*/ 2332676 w 11961045"/>
              <a:gd name="connsiteY112" fmla="*/ 2759977 h 6865497"/>
              <a:gd name="connsiteX113" fmla="*/ 2370847 w 11961045"/>
              <a:gd name="connsiteY113" fmla="*/ 2778264 h 6865497"/>
              <a:gd name="connsiteX114" fmla="*/ 2384705 w 11961045"/>
              <a:gd name="connsiteY114" fmla="*/ 2836355 h 6865497"/>
              <a:gd name="connsiteX115" fmla="*/ 2384705 w 11961045"/>
              <a:gd name="connsiteY115" fmla="*/ 3021982 h 6865497"/>
              <a:gd name="connsiteX116" fmla="*/ 2470773 w 11961045"/>
              <a:gd name="connsiteY116" fmla="*/ 3021982 h 6865497"/>
              <a:gd name="connsiteX117" fmla="*/ 2470652 w 11961045"/>
              <a:gd name="connsiteY117" fmla="*/ 3021743 h 6865497"/>
              <a:gd name="connsiteX118" fmla="*/ 2470652 w 11961045"/>
              <a:gd name="connsiteY118" fmla="*/ 2815198 h 6865497"/>
              <a:gd name="connsiteX119" fmla="*/ 2466518 w 11961045"/>
              <a:gd name="connsiteY119" fmla="*/ 2767865 h 6865497"/>
              <a:gd name="connsiteX120" fmla="*/ 2451444 w 11961045"/>
              <a:gd name="connsiteY120" fmla="*/ 2726150 h 6865497"/>
              <a:gd name="connsiteX121" fmla="*/ 2420567 w 11961045"/>
              <a:gd name="connsiteY121" fmla="*/ 2696507 h 6865497"/>
              <a:gd name="connsiteX122" fmla="*/ 2369875 w 11961045"/>
              <a:gd name="connsiteY122" fmla="*/ 2685152 h 6865497"/>
              <a:gd name="connsiteX123" fmla="*/ 2695910 w 11961045"/>
              <a:gd name="connsiteY123" fmla="*/ 2684794 h 6865497"/>
              <a:gd name="connsiteX124" fmla="*/ 2622972 w 11961045"/>
              <a:gd name="connsiteY124" fmla="*/ 2698420 h 6865497"/>
              <a:gd name="connsiteX125" fmla="*/ 2567781 w 11961045"/>
              <a:gd name="connsiteY125" fmla="*/ 2735354 h 6865497"/>
              <a:gd name="connsiteX126" fmla="*/ 2533014 w 11961045"/>
              <a:gd name="connsiteY126" fmla="*/ 2789381 h 6865497"/>
              <a:gd name="connsiteX127" fmla="*/ 2520979 w 11961045"/>
              <a:gd name="connsiteY127" fmla="*/ 2854882 h 6865497"/>
              <a:gd name="connsiteX128" fmla="*/ 2533257 w 11961045"/>
              <a:gd name="connsiteY128" fmla="*/ 2918830 h 6865497"/>
              <a:gd name="connsiteX129" fmla="*/ 2568268 w 11961045"/>
              <a:gd name="connsiteY129" fmla="*/ 2972139 h 6865497"/>
              <a:gd name="connsiteX130" fmla="*/ 2623093 w 11961045"/>
              <a:gd name="connsiteY130" fmla="*/ 3008476 h 6865497"/>
              <a:gd name="connsiteX131" fmla="*/ 2695059 w 11961045"/>
              <a:gd name="connsiteY131" fmla="*/ 3021863 h 6865497"/>
              <a:gd name="connsiteX132" fmla="*/ 2695181 w 11961045"/>
              <a:gd name="connsiteY132" fmla="*/ 3021624 h 6865497"/>
              <a:gd name="connsiteX133" fmla="*/ 2790731 w 11961045"/>
              <a:gd name="connsiteY133" fmla="*/ 2997718 h 6865497"/>
              <a:gd name="connsiteX134" fmla="*/ 2849082 w 11961045"/>
              <a:gd name="connsiteY134" fmla="*/ 2936639 h 6865497"/>
              <a:gd name="connsiteX135" fmla="*/ 2776508 w 11961045"/>
              <a:gd name="connsiteY135" fmla="*/ 2916798 h 6865497"/>
              <a:gd name="connsiteX136" fmla="*/ 2745873 w 11961045"/>
              <a:gd name="connsiteY136" fmla="*/ 2948712 h 6865497"/>
              <a:gd name="connsiteX137" fmla="*/ 2698220 w 11961045"/>
              <a:gd name="connsiteY137" fmla="*/ 2960784 h 6865497"/>
              <a:gd name="connsiteX138" fmla="*/ 2666735 w 11961045"/>
              <a:gd name="connsiteY138" fmla="*/ 2955166 h 6865497"/>
              <a:gd name="connsiteX139" fmla="*/ 2639626 w 11961045"/>
              <a:gd name="connsiteY139" fmla="*/ 2939030 h 6865497"/>
              <a:gd name="connsiteX140" fmla="*/ 2620054 w 11961045"/>
              <a:gd name="connsiteY140" fmla="*/ 2913571 h 6865497"/>
              <a:gd name="connsiteX141" fmla="*/ 2610572 w 11961045"/>
              <a:gd name="connsiteY141" fmla="*/ 2879505 h 6865497"/>
              <a:gd name="connsiteX142" fmla="*/ 2866101 w 11961045"/>
              <a:gd name="connsiteY142" fmla="*/ 2879505 h 6865497"/>
              <a:gd name="connsiteX143" fmla="*/ 2867681 w 11961045"/>
              <a:gd name="connsiteY143" fmla="*/ 2867074 h 6865497"/>
              <a:gd name="connsiteX144" fmla="*/ 2868046 w 11961045"/>
              <a:gd name="connsiteY144" fmla="*/ 2851536 h 6865497"/>
              <a:gd name="connsiteX145" fmla="*/ 2856376 w 11961045"/>
              <a:gd name="connsiteY145" fmla="*/ 2788305 h 6865497"/>
              <a:gd name="connsiteX146" fmla="*/ 2822337 w 11961045"/>
              <a:gd name="connsiteY146" fmla="*/ 2734996 h 6865497"/>
              <a:gd name="connsiteX147" fmla="*/ 2768120 w 11961045"/>
              <a:gd name="connsiteY147" fmla="*/ 2698420 h 6865497"/>
              <a:gd name="connsiteX148" fmla="*/ 2695910 w 11961045"/>
              <a:gd name="connsiteY148" fmla="*/ 2684794 h 6865497"/>
              <a:gd name="connsiteX149" fmla="*/ 3534220 w 11961045"/>
              <a:gd name="connsiteY149" fmla="*/ 2682284 h 6865497"/>
              <a:gd name="connsiteX150" fmla="*/ 3460552 w 11961045"/>
              <a:gd name="connsiteY150" fmla="*/ 2696149 h 6865497"/>
              <a:gd name="connsiteX151" fmla="*/ 3405118 w 11961045"/>
              <a:gd name="connsiteY151" fmla="*/ 2733681 h 6865497"/>
              <a:gd name="connsiteX152" fmla="*/ 3370229 w 11961045"/>
              <a:gd name="connsiteY152" fmla="*/ 2788186 h 6865497"/>
              <a:gd name="connsiteX153" fmla="*/ 3358073 w 11961045"/>
              <a:gd name="connsiteY153" fmla="*/ 2853687 h 6865497"/>
              <a:gd name="connsiteX154" fmla="*/ 3370229 w 11961045"/>
              <a:gd name="connsiteY154" fmla="*/ 2918591 h 6865497"/>
              <a:gd name="connsiteX155" fmla="*/ 3405118 w 11961045"/>
              <a:gd name="connsiteY155" fmla="*/ 2973096 h 6865497"/>
              <a:gd name="connsiteX156" fmla="*/ 3460552 w 11961045"/>
              <a:gd name="connsiteY156" fmla="*/ 3010627 h 6865497"/>
              <a:gd name="connsiteX157" fmla="*/ 3534220 w 11961045"/>
              <a:gd name="connsiteY157" fmla="*/ 3024493 h 6865497"/>
              <a:gd name="connsiteX158" fmla="*/ 3607888 w 11961045"/>
              <a:gd name="connsiteY158" fmla="*/ 3010627 h 6865497"/>
              <a:gd name="connsiteX159" fmla="*/ 3663078 w 11961045"/>
              <a:gd name="connsiteY159" fmla="*/ 2973096 h 6865497"/>
              <a:gd name="connsiteX160" fmla="*/ 3697724 w 11961045"/>
              <a:gd name="connsiteY160" fmla="*/ 2918591 h 6865497"/>
              <a:gd name="connsiteX161" fmla="*/ 3709881 w 11961045"/>
              <a:gd name="connsiteY161" fmla="*/ 2853687 h 6865497"/>
              <a:gd name="connsiteX162" fmla="*/ 3697724 w 11961045"/>
              <a:gd name="connsiteY162" fmla="*/ 2788186 h 6865497"/>
              <a:gd name="connsiteX163" fmla="*/ 3662835 w 11961045"/>
              <a:gd name="connsiteY163" fmla="*/ 2733681 h 6865497"/>
              <a:gd name="connsiteX164" fmla="*/ 3607645 w 11961045"/>
              <a:gd name="connsiteY164" fmla="*/ 2696149 h 6865497"/>
              <a:gd name="connsiteX165" fmla="*/ 3534220 w 11961045"/>
              <a:gd name="connsiteY165" fmla="*/ 2682284 h 6865497"/>
              <a:gd name="connsiteX166" fmla="*/ 3142417 w 11961045"/>
              <a:gd name="connsiteY166" fmla="*/ 2567298 h 6865497"/>
              <a:gd name="connsiteX167" fmla="*/ 3047353 w 11961045"/>
              <a:gd name="connsiteY167" fmla="*/ 2586901 h 6865497"/>
              <a:gd name="connsiteX168" fmla="*/ 2976724 w 11961045"/>
              <a:gd name="connsiteY168" fmla="*/ 2638059 h 6865497"/>
              <a:gd name="connsiteX169" fmla="*/ 2932718 w 11961045"/>
              <a:gd name="connsiteY169" fmla="*/ 2709775 h 6865497"/>
              <a:gd name="connsiteX170" fmla="*/ 2917656 w 11961045"/>
              <a:gd name="connsiteY170" fmla="*/ 2790874 h 6865497"/>
              <a:gd name="connsiteX171" fmla="*/ 2917644 w 11961045"/>
              <a:gd name="connsiteY171" fmla="*/ 2790815 h 6865497"/>
              <a:gd name="connsiteX172" fmla="*/ 2917644 w 11961045"/>
              <a:gd name="connsiteY172" fmla="*/ 2790935 h 6865497"/>
              <a:gd name="connsiteX173" fmla="*/ 2917656 w 11961045"/>
              <a:gd name="connsiteY173" fmla="*/ 2790874 h 6865497"/>
              <a:gd name="connsiteX174" fmla="*/ 2934055 w 11961045"/>
              <a:gd name="connsiteY174" fmla="*/ 2875083 h 6865497"/>
              <a:gd name="connsiteX175" fmla="*/ 2979642 w 11961045"/>
              <a:gd name="connsiteY175" fmla="*/ 2948951 h 6865497"/>
              <a:gd name="connsiteX176" fmla="*/ 3049298 w 11961045"/>
              <a:gd name="connsiteY176" fmla="*/ 3001663 h 6865497"/>
              <a:gd name="connsiteX177" fmla="*/ 3138527 w 11961045"/>
              <a:gd name="connsiteY177" fmla="*/ 3021863 h 6865497"/>
              <a:gd name="connsiteX178" fmla="*/ 3195054 w 11961045"/>
              <a:gd name="connsiteY178" fmla="*/ 3014930 h 6865497"/>
              <a:gd name="connsiteX179" fmla="*/ 3249272 w 11961045"/>
              <a:gd name="connsiteY179" fmla="*/ 2994730 h 6865497"/>
              <a:gd name="connsiteX180" fmla="*/ 3294859 w 11961045"/>
              <a:gd name="connsiteY180" fmla="*/ 2962218 h 6865497"/>
              <a:gd name="connsiteX181" fmla="*/ 3325979 w 11961045"/>
              <a:gd name="connsiteY181" fmla="*/ 2917754 h 6865497"/>
              <a:gd name="connsiteX182" fmla="*/ 3253405 w 11961045"/>
              <a:gd name="connsiteY182" fmla="*/ 2876756 h 6865497"/>
              <a:gd name="connsiteX183" fmla="*/ 3232861 w 11961045"/>
              <a:gd name="connsiteY183" fmla="*/ 2908072 h 6865497"/>
              <a:gd name="connsiteX184" fmla="*/ 3204901 w 11961045"/>
              <a:gd name="connsiteY184" fmla="*/ 2929229 h 6865497"/>
              <a:gd name="connsiteX185" fmla="*/ 3173173 w 11961045"/>
              <a:gd name="connsiteY185" fmla="*/ 2941181 h 6865497"/>
              <a:gd name="connsiteX186" fmla="*/ 3141080 w 11961045"/>
              <a:gd name="connsiteY186" fmla="*/ 2945006 h 6865497"/>
              <a:gd name="connsiteX187" fmla="*/ 3086862 w 11961045"/>
              <a:gd name="connsiteY187" fmla="*/ 2932336 h 6865497"/>
              <a:gd name="connsiteX188" fmla="*/ 3044436 w 11961045"/>
              <a:gd name="connsiteY188" fmla="*/ 2898869 h 6865497"/>
              <a:gd name="connsiteX189" fmla="*/ 3017084 w 11961045"/>
              <a:gd name="connsiteY189" fmla="*/ 2850579 h 6865497"/>
              <a:gd name="connsiteX190" fmla="*/ 3007480 w 11961045"/>
              <a:gd name="connsiteY190" fmla="*/ 2793445 h 6865497"/>
              <a:gd name="connsiteX191" fmla="*/ 3015868 w 11961045"/>
              <a:gd name="connsiteY191" fmla="*/ 2740016 h 6865497"/>
              <a:gd name="connsiteX192" fmla="*/ 3040667 w 11961045"/>
              <a:gd name="connsiteY192" fmla="*/ 2692085 h 6865497"/>
              <a:gd name="connsiteX193" fmla="*/ 3081756 w 11961045"/>
              <a:gd name="connsiteY193" fmla="*/ 2657661 h 6865497"/>
              <a:gd name="connsiteX194" fmla="*/ 3139864 w 11961045"/>
              <a:gd name="connsiteY194" fmla="*/ 2644394 h 6865497"/>
              <a:gd name="connsiteX195" fmla="*/ 3171349 w 11961045"/>
              <a:gd name="connsiteY195" fmla="*/ 2647860 h 6865497"/>
              <a:gd name="connsiteX196" fmla="*/ 3202227 w 11961045"/>
              <a:gd name="connsiteY196" fmla="*/ 2658856 h 6865497"/>
              <a:gd name="connsiteX197" fmla="*/ 3229822 w 11961045"/>
              <a:gd name="connsiteY197" fmla="*/ 2679415 h 6865497"/>
              <a:gd name="connsiteX198" fmla="*/ 3251703 w 11961045"/>
              <a:gd name="connsiteY198" fmla="*/ 2711329 h 6865497"/>
              <a:gd name="connsiteX199" fmla="*/ 3319780 w 11961045"/>
              <a:gd name="connsiteY199" fmla="*/ 2665191 h 6865497"/>
              <a:gd name="connsiteX200" fmla="*/ 3251339 w 11961045"/>
              <a:gd name="connsiteY200" fmla="*/ 2594431 h 6865497"/>
              <a:gd name="connsiteX201" fmla="*/ 3142417 w 11961045"/>
              <a:gd name="connsiteY201" fmla="*/ 2567298 h 6865497"/>
              <a:gd name="connsiteX202" fmla="*/ 1371708 w 11961045"/>
              <a:gd name="connsiteY202" fmla="*/ 2567298 h 6865497"/>
              <a:gd name="connsiteX203" fmla="*/ 1276644 w 11961045"/>
              <a:gd name="connsiteY203" fmla="*/ 2586901 h 6865497"/>
              <a:gd name="connsiteX204" fmla="*/ 1206015 w 11961045"/>
              <a:gd name="connsiteY204" fmla="*/ 2638059 h 6865497"/>
              <a:gd name="connsiteX205" fmla="*/ 1162009 w 11961045"/>
              <a:gd name="connsiteY205" fmla="*/ 2709775 h 6865497"/>
              <a:gd name="connsiteX206" fmla="*/ 1146946 w 11961045"/>
              <a:gd name="connsiteY206" fmla="*/ 2790874 h 6865497"/>
              <a:gd name="connsiteX207" fmla="*/ 1146935 w 11961045"/>
              <a:gd name="connsiteY207" fmla="*/ 2790815 h 6865497"/>
              <a:gd name="connsiteX208" fmla="*/ 1146935 w 11961045"/>
              <a:gd name="connsiteY208" fmla="*/ 2790935 h 6865497"/>
              <a:gd name="connsiteX209" fmla="*/ 1146946 w 11961045"/>
              <a:gd name="connsiteY209" fmla="*/ 2790874 h 6865497"/>
              <a:gd name="connsiteX210" fmla="*/ 1163346 w 11961045"/>
              <a:gd name="connsiteY210" fmla="*/ 2875083 h 6865497"/>
              <a:gd name="connsiteX211" fmla="*/ 1208933 w 11961045"/>
              <a:gd name="connsiteY211" fmla="*/ 2948951 h 6865497"/>
              <a:gd name="connsiteX212" fmla="*/ 1278589 w 11961045"/>
              <a:gd name="connsiteY212" fmla="*/ 3001663 h 6865497"/>
              <a:gd name="connsiteX213" fmla="*/ 1367818 w 11961045"/>
              <a:gd name="connsiteY213" fmla="*/ 3021863 h 6865497"/>
              <a:gd name="connsiteX214" fmla="*/ 1424345 w 11961045"/>
              <a:gd name="connsiteY214" fmla="*/ 3014930 h 6865497"/>
              <a:gd name="connsiteX215" fmla="*/ 1478685 w 11961045"/>
              <a:gd name="connsiteY215" fmla="*/ 2994730 h 6865497"/>
              <a:gd name="connsiteX216" fmla="*/ 1524271 w 11961045"/>
              <a:gd name="connsiteY216" fmla="*/ 2962218 h 6865497"/>
              <a:gd name="connsiteX217" fmla="*/ 1555392 w 11961045"/>
              <a:gd name="connsiteY217" fmla="*/ 2917754 h 6865497"/>
              <a:gd name="connsiteX218" fmla="*/ 1482818 w 11961045"/>
              <a:gd name="connsiteY218" fmla="*/ 2876756 h 6865497"/>
              <a:gd name="connsiteX219" fmla="*/ 1462273 w 11961045"/>
              <a:gd name="connsiteY219" fmla="*/ 2908072 h 6865497"/>
              <a:gd name="connsiteX220" fmla="*/ 1434314 w 11961045"/>
              <a:gd name="connsiteY220" fmla="*/ 2929229 h 6865497"/>
              <a:gd name="connsiteX221" fmla="*/ 1402585 w 11961045"/>
              <a:gd name="connsiteY221" fmla="*/ 2941181 h 6865497"/>
              <a:gd name="connsiteX222" fmla="*/ 1370492 w 11961045"/>
              <a:gd name="connsiteY222" fmla="*/ 2945006 h 6865497"/>
              <a:gd name="connsiteX223" fmla="*/ 1316274 w 11961045"/>
              <a:gd name="connsiteY223" fmla="*/ 2932336 h 6865497"/>
              <a:gd name="connsiteX224" fmla="*/ 1273848 w 11961045"/>
              <a:gd name="connsiteY224" fmla="*/ 2898869 h 6865497"/>
              <a:gd name="connsiteX225" fmla="*/ 1246496 w 11961045"/>
              <a:gd name="connsiteY225" fmla="*/ 2850579 h 6865497"/>
              <a:gd name="connsiteX226" fmla="*/ 1236893 w 11961045"/>
              <a:gd name="connsiteY226" fmla="*/ 2793445 h 6865497"/>
              <a:gd name="connsiteX227" fmla="*/ 1245281 w 11961045"/>
              <a:gd name="connsiteY227" fmla="*/ 2740016 h 6865497"/>
              <a:gd name="connsiteX228" fmla="*/ 1269958 w 11961045"/>
              <a:gd name="connsiteY228" fmla="*/ 2692085 h 6865497"/>
              <a:gd name="connsiteX229" fmla="*/ 1311047 w 11961045"/>
              <a:gd name="connsiteY229" fmla="*/ 2657661 h 6865497"/>
              <a:gd name="connsiteX230" fmla="*/ 1369155 w 11961045"/>
              <a:gd name="connsiteY230" fmla="*/ 2644394 h 6865497"/>
              <a:gd name="connsiteX231" fmla="*/ 1400640 w 11961045"/>
              <a:gd name="connsiteY231" fmla="*/ 2647860 h 6865497"/>
              <a:gd name="connsiteX232" fmla="*/ 1431518 w 11961045"/>
              <a:gd name="connsiteY232" fmla="*/ 2658856 h 6865497"/>
              <a:gd name="connsiteX233" fmla="*/ 1459113 w 11961045"/>
              <a:gd name="connsiteY233" fmla="*/ 2679415 h 6865497"/>
              <a:gd name="connsiteX234" fmla="*/ 1480994 w 11961045"/>
              <a:gd name="connsiteY234" fmla="*/ 2711329 h 6865497"/>
              <a:gd name="connsiteX235" fmla="*/ 1549071 w 11961045"/>
              <a:gd name="connsiteY235" fmla="*/ 2665191 h 6865497"/>
              <a:gd name="connsiteX236" fmla="*/ 1480630 w 11961045"/>
              <a:gd name="connsiteY236" fmla="*/ 2594431 h 6865497"/>
              <a:gd name="connsiteX237" fmla="*/ 1371708 w 11961045"/>
              <a:gd name="connsiteY237" fmla="*/ 2567298 h 6865497"/>
              <a:gd name="connsiteX238" fmla="*/ 1795118 w 11961045"/>
              <a:gd name="connsiteY238" fmla="*/ 2560963 h 6865497"/>
              <a:gd name="connsiteX239" fmla="*/ 1795118 w 11961045"/>
              <a:gd name="connsiteY239" fmla="*/ 2644991 h 6865497"/>
              <a:gd name="connsiteX240" fmla="*/ 1881186 w 11961045"/>
              <a:gd name="connsiteY240" fmla="*/ 2644991 h 6865497"/>
              <a:gd name="connsiteX241" fmla="*/ 1881186 w 11961045"/>
              <a:gd name="connsiteY241" fmla="*/ 2560963 h 6865497"/>
              <a:gd name="connsiteX242" fmla="*/ 1598183 w 11961045"/>
              <a:gd name="connsiteY242" fmla="*/ 2556062 h 6865497"/>
              <a:gd name="connsiteX243" fmla="*/ 1598183 w 11961045"/>
              <a:gd name="connsiteY243" fmla="*/ 2940703 h 6865497"/>
              <a:gd name="connsiteX244" fmla="*/ 1620308 w 11961045"/>
              <a:gd name="connsiteY244" fmla="*/ 3001065 h 6865497"/>
              <a:gd name="connsiteX245" fmla="*/ 1621159 w 11961045"/>
              <a:gd name="connsiteY245" fmla="*/ 3001901 h 6865497"/>
              <a:gd name="connsiteX246" fmla="*/ 1634166 w 11961045"/>
              <a:gd name="connsiteY246" fmla="*/ 3011224 h 6865497"/>
              <a:gd name="connsiteX247" fmla="*/ 1644499 w 11961045"/>
              <a:gd name="connsiteY247" fmla="*/ 3015886 h 6865497"/>
              <a:gd name="connsiteX248" fmla="*/ 1696529 w 11961045"/>
              <a:gd name="connsiteY248" fmla="*/ 3021862 h 6865497"/>
              <a:gd name="connsiteX249" fmla="*/ 1701148 w 11961045"/>
              <a:gd name="connsiteY249" fmla="*/ 3021623 h 6865497"/>
              <a:gd name="connsiteX250" fmla="*/ 1706011 w 11961045"/>
              <a:gd name="connsiteY250" fmla="*/ 3021265 h 6865497"/>
              <a:gd name="connsiteX251" fmla="*/ 1710752 w 11961045"/>
              <a:gd name="connsiteY251" fmla="*/ 3020787 h 6865497"/>
              <a:gd name="connsiteX252" fmla="*/ 1715493 w 11961045"/>
              <a:gd name="connsiteY252" fmla="*/ 3020189 h 6865497"/>
              <a:gd name="connsiteX253" fmla="*/ 1720234 w 11961045"/>
              <a:gd name="connsiteY253" fmla="*/ 3019472 h 6865497"/>
              <a:gd name="connsiteX254" fmla="*/ 1725096 w 11961045"/>
              <a:gd name="connsiteY254" fmla="*/ 3018516 h 6865497"/>
              <a:gd name="connsiteX255" fmla="*/ 1727649 w 11961045"/>
              <a:gd name="connsiteY255" fmla="*/ 3017918 h 6865497"/>
              <a:gd name="connsiteX256" fmla="*/ 1732998 w 11961045"/>
              <a:gd name="connsiteY256" fmla="*/ 3016364 h 6865497"/>
              <a:gd name="connsiteX257" fmla="*/ 1734943 w 11961045"/>
              <a:gd name="connsiteY257" fmla="*/ 3015767 h 6865497"/>
              <a:gd name="connsiteX258" fmla="*/ 1723151 w 11961045"/>
              <a:gd name="connsiteY258" fmla="*/ 2942018 h 6865497"/>
              <a:gd name="connsiteX259" fmla="*/ 1695191 w 11961045"/>
              <a:gd name="connsiteY259" fmla="*/ 2943572 h 6865497"/>
              <a:gd name="connsiteX260" fmla="*/ 1695070 w 11961045"/>
              <a:gd name="connsiteY260" fmla="*/ 2943572 h 6865497"/>
              <a:gd name="connsiteX261" fmla="*/ 1684251 w 11961045"/>
              <a:gd name="connsiteY261" fmla="*/ 2913570 h 6865497"/>
              <a:gd name="connsiteX262" fmla="*/ 1684251 w 11961045"/>
              <a:gd name="connsiteY262" fmla="*/ 2556062 h 6865497"/>
              <a:gd name="connsiteX263" fmla="*/ 576722 w 11961045"/>
              <a:gd name="connsiteY263" fmla="*/ 2501528 h 6865497"/>
              <a:gd name="connsiteX264" fmla="*/ 490000 w 11961045"/>
              <a:gd name="connsiteY264" fmla="*/ 2536938 h 6865497"/>
              <a:gd name="connsiteX265" fmla="*/ 490000 w 11961045"/>
              <a:gd name="connsiteY265" fmla="*/ 2707505 h 6865497"/>
              <a:gd name="connsiteX266" fmla="*/ 663473 w 11961045"/>
              <a:gd name="connsiteY266" fmla="*/ 2707505 h 6865497"/>
              <a:gd name="connsiteX267" fmla="*/ 837067 w 11961045"/>
              <a:gd name="connsiteY267" fmla="*/ 2707505 h 6865497"/>
              <a:gd name="connsiteX268" fmla="*/ 837067 w 11961045"/>
              <a:gd name="connsiteY268" fmla="*/ 2878190 h 6865497"/>
              <a:gd name="connsiteX269" fmla="*/ 837067 w 11961045"/>
              <a:gd name="connsiteY269" fmla="*/ 3048757 h 6865497"/>
              <a:gd name="connsiteX270" fmla="*/ 1010661 w 11961045"/>
              <a:gd name="connsiteY270" fmla="*/ 3048757 h 6865497"/>
              <a:gd name="connsiteX271" fmla="*/ 1010661 w 11961045"/>
              <a:gd name="connsiteY271" fmla="*/ 2878190 h 6865497"/>
              <a:gd name="connsiteX272" fmla="*/ 1010661 w 11961045"/>
              <a:gd name="connsiteY272" fmla="*/ 2707505 h 6865497"/>
              <a:gd name="connsiteX273" fmla="*/ 1010540 w 11961045"/>
              <a:gd name="connsiteY273" fmla="*/ 2707505 h 6865497"/>
              <a:gd name="connsiteX274" fmla="*/ 1010540 w 11961045"/>
              <a:gd name="connsiteY274" fmla="*/ 2536938 h 6865497"/>
              <a:gd name="connsiteX275" fmla="*/ 836946 w 11961045"/>
              <a:gd name="connsiteY275" fmla="*/ 2536938 h 6865497"/>
              <a:gd name="connsiteX276" fmla="*/ 663352 w 11961045"/>
              <a:gd name="connsiteY276" fmla="*/ 2536938 h 6865497"/>
              <a:gd name="connsiteX277" fmla="*/ 576722 w 11961045"/>
              <a:gd name="connsiteY277" fmla="*/ 2501528 h 6865497"/>
              <a:gd name="connsiteX278" fmla="*/ 0 w 11961045"/>
              <a:gd name="connsiteY278" fmla="*/ 0 h 6865497"/>
              <a:gd name="connsiteX279" fmla="*/ 11465408 w 11961045"/>
              <a:gd name="connsiteY279" fmla="*/ 0 h 6865497"/>
              <a:gd name="connsiteX280" fmla="*/ 11609808 w 11961045"/>
              <a:gd name="connsiteY280" fmla="*/ 524966 h 6865497"/>
              <a:gd name="connsiteX281" fmla="*/ 11961045 w 11961045"/>
              <a:gd name="connsiteY281" fmla="*/ 3436498 h 6865497"/>
              <a:gd name="connsiteX282" fmla="*/ 11609807 w 11961045"/>
              <a:gd name="connsiteY282" fmla="*/ 6348030 h 6865497"/>
              <a:gd name="connsiteX283" fmla="*/ 11467471 w 11961045"/>
              <a:gd name="connsiteY283" fmla="*/ 6865497 h 6865497"/>
              <a:gd name="connsiteX284" fmla="*/ 0 w 11961045"/>
              <a:gd name="connsiteY284"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11961045" h="6865497">
                <a:moveTo>
                  <a:pt x="1027072" y="3063100"/>
                </a:moveTo>
                <a:lnTo>
                  <a:pt x="1028410" y="3063100"/>
                </a:lnTo>
                <a:cubicBezTo>
                  <a:pt x="1030355" y="3063100"/>
                  <a:pt x="1031570" y="3063219"/>
                  <a:pt x="1032056" y="3063339"/>
                </a:cubicBezTo>
                <a:cubicBezTo>
                  <a:pt x="1032543" y="3063458"/>
                  <a:pt x="1032907" y="3063697"/>
                  <a:pt x="1033151" y="3064056"/>
                </a:cubicBezTo>
                <a:cubicBezTo>
                  <a:pt x="1033394" y="3064415"/>
                  <a:pt x="1033515" y="3064893"/>
                  <a:pt x="1033515" y="3065251"/>
                </a:cubicBezTo>
                <a:cubicBezTo>
                  <a:pt x="1033515" y="3065610"/>
                  <a:pt x="1033394" y="3066088"/>
                  <a:pt x="1033151" y="3066447"/>
                </a:cubicBezTo>
                <a:cubicBezTo>
                  <a:pt x="1032907" y="3066925"/>
                  <a:pt x="1032543" y="3067164"/>
                  <a:pt x="1032056" y="3067283"/>
                </a:cubicBezTo>
                <a:cubicBezTo>
                  <a:pt x="1031570" y="3067522"/>
                  <a:pt x="1030355" y="3067522"/>
                  <a:pt x="1028410" y="3067522"/>
                </a:cubicBezTo>
                <a:lnTo>
                  <a:pt x="1027072" y="3067522"/>
                </a:lnTo>
                <a:close/>
                <a:moveTo>
                  <a:pt x="1023669" y="3060470"/>
                </a:moveTo>
                <a:lnTo>
                  <a:pt x="1023669" y="3076846"/>
                </a:lnTo>
                <a:lnTo>
                  <a:pt x="1023790" y="3076846"/>
                </a:lnTo>
                <a:lnTo>
                  <a:pt x="1027194" y="3076846"/>
                </a:lnTo>
                <a:lnTo>
                  <a:pt x="1027194" y="3070152"/>
                </a:lnTo>
                <a:lnTo>
                  <a:pt x="1028045" y="3070152"/>
                </a:lnTo>
                <a:cubicBezTo>
                  <a:pt x="1028896" y="3070152"/>
                  <a:pt x="1029747" y="3070391"/>
                  <a:pt x="1030355" y="3070869"/>
                </a:cubicBezTo>
                <a:cubicBezTo>
                  <a:pt x="1030962" y="3071347"/>
                  <a:pt x="1031692" y="3072423"/>
                  <a:pt x="1032664" y="3074216"/>
                </a:cubicBezTo>
                <a:lnTo>
                  <a:pt x="1034123" y="3076846"/>
                </a:lnTo>
                <a:lnTo>
                  <a:pt x="1038256" y="3076846"/>
                </a:lnTo>
                <a:lnTo>
                  <a:pt x="1036311" y="3073499"/>
                </a:lnTo>
                <a:cubicBezTo>
                  <a:pt x="1035703" y="3072303"/>
                  <a:pt x="1035217" y="3071586"/>
                  <a:pt x="1035096" y="3071467"/>
                </a:cubicBezTo>
                <a:cubicBezTo>
                  <a:pt x="1034609" y="3070750"/>
                  <a:pt x="1034245" y="3070391"/>
                  <a:pt x="1034001" y="3070152"/>
                </a:cubicBezTo>
                <a:cubicBezTo>
                  <a:pt x="1033637" y="3069913"/>
                  <a:pt x="1033272" y="3069793"/>
                  <a:pt x="1032786" y="3069554"/>
                </a:cubicBezTo>
                <a:cubicBezTo>
                  <a:pt x="1034245" y="3069315"/>
                  <a:pt x="1035339" y="3068837"/>
                  <a:pt x="1036068" y="3068000"/>
                </a:cubicBezTo>
                <a:cubicBezTo>
                  <a:pt x="1036919" y="3067164"/>
                  <a:pt x="1037284" y="3066208"/>
                  <a:pt x="1037284" y="3065012"/>
                </a:cubicBezTo>
                <a:cubicBezTo>
                  <a:pt x="1037284" y="3064056"/>
                  <a:pt x="1037041" y="3063339"/>
                  <a:pt x="1036676" y="3062622"/>
                </a:cubicBezTo>
                <a:cubicBezTo>
                  <a:pt x="1036190" y="3061905"/>
                  <a:pt x="1035703" y="3061426"/>
                  <a:pt x="1035096" y="3061068"/>
                </a:cubicBezTo>
                <a:cubicBezTo>
                  <a:pt x="1034366" y="3060829"/>
                  <a:pt x="1033515" y="3060470"/>
                  <a:pt x="1032421" y="3060470"/>
                </a:cubicBezTo>
                <a:cubicBezTo>
                  <a:pt x="1032056" y="3060470"/>
                  <a:pt x="1030233" y="3060470"/>
                  <a:pt x="1027072" y="3060470"/>
                </a:cubicBezTo>
                <a:close/>
                <a:moveTo>
                  <a:pt x="1030841" y="3056167"/>
                </a:moveTo>
                <a:cubicBezTo>
                  <a:pt x="1033029" y="3056167"/>
                  <a:pt x="1035096" y="3056645"/>
                  <a:pt x="1037041" y="3057721"/>
                </a:cubicBezTo>
                <a:cubicBezTo>
                  <a:pt x="1039107" y="3058797"/>
                  <a:pt x="1040688" y="3060231"/>
                  <a:pt x="1041782" y="3062263"/>
                </a:cubicBezTo>
                <a:cubicBezTo>
                  <a:pt x="1042876" y="3064176"/>
                  <a:pt x="1043484" y="3066327"/>
                  <a:pt x="1043484" y="3068479"/>
                </a:cubicBezTo>
                <a:cubicBezTo>
                  <a:pt x="1043484" y="3070630"/>
                  <a:pt x="1042876" y="3072782"/>
                  <a:pt x="1041782" y="3074694"/>
                </a:cubicBezTo>
                <a:cubicBezTo>
                  <a:pt x="1040688" y="3076606"/>
                  <a:pt x="1039107" y="3078160"/>
                  <a:pt x="1037162" y="3079236"/>
                </a:cubicBezTo>
                <a:cubicBezTo>
                  <a:pt x="1035096" y="3080312"/>
                  <a:pt x="1033029" y="3080909"/>
                  <a:pt x="1030841" y="3080909"/>
                </a:cubicBezTo>
                <a:cubicBezTo>
                  <a:pt x="1028653" y="3080909"/>
                  <a:pt x="1026465" y="3080312"/>
                  <a:pt x="1024519" y="3079236"/>
                </a:cubicBezTo>
                <a:cubicBezTo>
                  <a:pt x="1022574" y="3078160"/>
                  <a:pt x="1020994" y="3076606"/>
                  <a:pt x="1019900" y="3074694"/>
                </a:cubicBezTo>
                <a:cubicBezTo>
                  <a:pt x="1018806" y="3072662"/>
                  <a:pt x="1018198" y="3070630"/>
                  <a:pt x="1018198" y="3068479"/>
                </a:cubicBezTo>
                <a:cubicBezTo>
                  <a:pt x="1018198" y="3066327"/>
                  <a:pt x="1018806" y="3064295"/>
                  <a:pt x="1019900" y="3062263"/>
                </a:cubicBezTo>
                <a:cubicBezTo>
                  <a:pt x="1021116" y="3060351"/>
                  <a:pt x="1022696" y="3058797"/>
                  <a:pt x="1024641" y="3057721"/>
                </a:cubicBezTo>
                <a:cubicBezTo>
                  <a:pt x="1026586" y="3056645"/>
                  <a:pt x="1028653" y="3056167"/>
                  <a:pt x="1030841" y="3056167"/>
                </a:cubicBezTo>
                <a:close/>
                <a:moveTo>
                  <a:pt x="1030841" y="3053179"/>
                </a:moveTo>
                <a:cubicBezTo>
                  <a:pt x="1028166" y="3053179"/>
                  <a:pt x="1025492" y="3053896"/>
                  <a:pt x="1023061" y="3055211"/>
                </a:cubicBezTo>
                <a:cubicBezTo>
                  <a:pt x="1020629" y="3056645"/>
                  <a:pt x="1018684" y="3058438"/>
                  <a:pt x="1017226" y="3060948"/>
                </a:cubicBezTo>
                <a:cubicBezTo>
                  <a:pt x="1015888" y="3063458"/>
                  <a:pt x="1015159" y="3066088"/>
                  <a:pt x="1015159" y="3068718"/>
                </a:cubicBezTo>
                <a:cubicBezTo>
                  <a:pt x="1015159" y="3071347"/>
                  <a:pt x="1015888" y="3073977"/>
                  <a:pt x="1017226" y="3076367"/>
                </a:cubicBezTo>
                <a:cubicBezTo>
                  <a:pt x="1018684" y="3078877"/>
                  <a:pt x="1020629" y="3080790"/>
                  <a:pt x="1023061" y="3082105"/>
                </a:cubicBezTo>
                <a:cubicBezTo>
                  <a:pt x="1025492" y="3083420"/>
                  <a:pt x="1028166" y="3084137"/>
                  <a:pt x="1030841" y="3084137"/>
                </a:cubicBezTo>
                <a:cubicBezTo>
                  <a:pt x="1033515" y="3084137"/>
                  <a:pt x="1036190" y="3083420"/>
                  <a:pt x="1038621" y="3082105"/>
                </a:cubicBezTo>
                <a:cubicBezTo>
                  <a:pt x="1041174" y="3080670"/>
                  <a:pt x="1043119" y="3078758"/>
                  <a:pt x="1044456" y="3076367"/>
                </a:cubicBezTo>
                <a:cubicBezTo>
                  <a:pt x="1045793" y="3073977"/>
                  <a:pt x="1046523" y="3071467"/>
                  <a:pt x="1046523" y="3068718"/>
                </a:cubicBezTo>
                <a:cubicBezTo>
                  <a:pt x="1046523" y="3065968"/>
                  <a:pt x="1045915" y="3063458"/>
                  <a:pt x="1044456" y="3060948"/>
                </a:cubicBezTo>
                <a:cubicBezTo>
                  <a:pt x="1042997" y="3058438"/>
                  <a:pt x="1041052" y="3056526"/>
                  <a:pt x="1038621" y="3055211"/>
                </a:cubicBezTo>
                <a:cubicBezTo>
                  <a:pt x="1036068" y="3053896"/>
                  <a:pt x="1033515" y="3053179"/>
                  <a:pt x="1030841" y="3053179"/>
                </a:cubicBezTo>
                <a:close/>
                <a:moveTo>
                  <a:pt x="577405" y="2842451"/>
                </a:moveTo>
                <a:lnTo>
                  <a:pt x="577284" y="2842571"/>
                </a:lnTo>
                <a:cubicBezTo>
                  <a:pt x="509572" y="2842571"/>
                  <a:pt x="454625" y="2896597"/>
                  <a:pt x="454625" y="2963174"/>
                </a:cubicBezTo>
                <a:cubicBezTo>
                  <a:pt x="454625" y="3029751"/>
                  <a:pt x="509694" y="3083658"/>
                  <a:pt x="577405" y="3083658"/>
                </a:cubicBezTo>
                <a:cubicBezTo>
                  <a:pt x="645117" y="3083658"/>
                  <a:pt x="700064" y="3029632"/>
                  <a:pt x="700064" y="2963055"/>
                </a:cubicBezTo>
                <a:cubicBezTo>
                  <a:pt x="700064" y="2896478"/>
                  <a:pt x="645117" y="2842451"/>
                  <a:pt x="577405" y="2842451"/>
                </a:cubicBezTo>
                <a:close/>
                <a:moveTo>
                  <a:pt x="3534220" y="2754001"/>
                </a:moveTo>
                <a:cubicBezTo>
                  <a:pt x="3546620" y="2754001"/>
                  <a:pt x="3558168" y="2756511"/>
                  <a:pt x="3568866" y="2761292"/>
                </a:cubicBezTo>
                <a:cubicBezTo>
                  <a:pt x="3579442" y="2766073"/>
                  <a:pt x="3588802" y="2772886"/>
                  <a:pt x="3596704" y="2781731"/>
                </a:cubicBezTo>
                <a:cubicBezTo>
                  <a:pt x="3604606" y="2790576"/>
                  <a:pt x="3610806" y="2801095"/>
                  <a:pt x="3615304" y="2813287"/>
                </a:cubicBezTo>
                <a:cubicBezTo>
                  <a:pt x="3619801" y="2825479"/>
                  <a:pt x="3621990" y="2838148"/>
                  <a:pt x="3621990" y="2852970"/>
                </a:cubicBezTo>
                <a:cubicBezTo>
                  <a:pt x="3621990" y="2867791"/>
                  <a:pt x="3619801" y="2881179"/>
                  <a:pt x="3615304" y="2893370"/>
                </a:cubicBezTo>
                <a:cubicBezTo>
                  <a:pt x="3610806" y="2905562"/>
                  <a:pt x="3604606" y="2916081"/>
                  <a:pt x="3596704" y="2924926"/>
                </a:cubicBezTo>
                <a:cubicBezTo>
                  <a:pt x="3588802" y="2933771"/>
                  <a:pt x="3579564" y="2940584"/>
                  <a:pt x="3568866" y="2945365"/>
                </a:cubicBezTo>
                <a:cubicBezTo>
                  <a:pt x="3558168" y="2950266"/>
                  <a:pt x="3546620" y="2952656"/>
                  <a:pt x="3534220" y="2952656"/>
                </a:cubicBezTo>
                <a:cubicBezTo>
                  <a:pt x="3521820" y="2952656"/>
                  <a:pt x="3510272" y="2950146"/>
                  <a:pt x="3499574" y="2945365"/>
                </a:cubicBezTo>
                <a:cubicBezTo>
                  <a:pt x="3488876" y="2940584"/>
                  <a:pt x="3479638" y="2933771"/>
                  <a:pt x="3471736" y="2924926"/>
                </a:cubicBezTo>
                <a:cubicBezTo>
                  <a:pt x="3463834" y="2916081"/>
                  <a:pt x="3457634" y="2905682"/>
                  <a:pt x="3453136" y="2893729"/>
                </a:cubicBezTo>
                <a:cubicBezTo>
                  <a:pt x="3448639" y="2881776"/>
                  <a:pt x="3446450" y="2868389"/>
                  <a:pt x="3446450" y="2853687"/>
                </a:cubicBezTo>
                <a:lnTo>
                  <a:pt x="3446450" y="2853568"/>
                </a:lnTo>
                <a:cubicBezTo>
                  <a:pt x="3446450" y="2839344"/>
                  <a:pt x="3448639" y="2826076"/>
                  <a:pt x="3453136" y="2813884"/>
                </a:cubicBezTo>
                <a:cubicBezTo>
                  <a:pt x="3457634" y="2801692"/>
                  <a:pt x="3463834" y="2791174"/>
                  <a:pt x="3471736" y="2782329"/>
                </a:cubicBezTo>
                <a:cubicBezTo>
                  <a:pt x="3479638" y="2773484"/>
                  <a:pt x="3488876" y="2766551"/>
                  <a:pt x="3499574" y="2761531"/>
                </a:cubicBezTo>
                <a:cubicBezTo>
                  <a:pt x="3510272" y="2756511"/>
                  <a:pt x="3521820" y="2754001"/>
                  <a:pt x="3534220" y="2754001"/>
                </a:cubicBezTo>
                <a:close/>
                <a:moveTo>
                  <a:pt x="2694573" y="2745036"/>
                </a:moveTo>
                <a:cubicBezTo>
                  <a:pt x="2717670" y="2745036"/>
                  <a:pt x="2737364" y="2752327"/>
                  <a:pt x="2753532" y="2767029"/>
                </a:cubicBezTo>
                <a:cubicBezTo>
                  <a:pt x="2769700" y="2781612"/>
                  <a:pt x="2778939" y="2801214"/>
                  <a:pt x="2781006" y="2825598"/>
                </a:cubicBezTo>
                <a:lnTo>
                  <a:pt x="2781127" y="2825717"/>
                </a:lnTo>
                <a:lnTo>
                  <a:pt x="2609478" y="2825717"/>
                </a:lnTo>
                <a:cubicBezTo>
                  <a:pt x="2610329" y="2813765"/>
                  <a:pt x="2613125" y="2802768"/>
                  <a:pt x="2617987" y="2792847"/>
                </a:cubicBezTo>
                <a:cubicBezTo>
                  <a:pt x="2622850" y="2782926"/>
                  <a:pt x="2629050" y="2774440"/>
                  <a:pt x="2636587" y="2767388"/>
                </a:cubicBezTo>
                <a:cubicBezTo>
                  <a:pt x="2644124" y="2760336"/>
                  <a:pt x="2652876" y="2754837"/>
                  <a:pt x="2662723" y="2750893"/>
                </a:cubicBezTo>
                <a:cubicBezTo>
                  <a:pt x="2672570" y="2746949"/>
                  <a:pt x="2683268" y="2745036"/>
                  <a:pt x="2694573" y="2745036"/>
                </a:cubicBezTo>
                <a:close/>
                <a:moveTo>
                  <a:pt x="1795118" y="2686467"/>
                </a:moveTo>
                <a:lnTo>
                  <a:pt x="1795118" y="3021982"/>
                </a:lnTo>
                <a:lnTo>
                  <a:pt x="1881186" y="3021982"/>
                </a:lnTo>
                <a:lnTo>
                  <a:pt x="1881186" y="2686467"/>
                </a:lnTo>
                <a:close/>
                <a:moveTo>
                  <a:pt x="2369875" y="2685152"/>
                </a:moveTo>
                <a:cubicBezTo>
                  <a:pt x="2342887" y="2685152"/>
                  <a:pt x="2318939" y="2691248"/>
                  <a:pt x="2297908" y="2703201"/>
                </a:cubicBezTo>
                <a:cubicBezTo>
                  <a:pt x="2276878" y="2715273"/>
                  <a:pt x="2259616" y="2732605"/>
                  <a:pt x="2245879" y="2755315"/>
                </a:cubicBezTo>
                <a:cubicBezTo>
                  <a:pt x="2241624" y="2735593"/>
                  <a:pt x="2231777" y="2718978"/>
                  <a:pt x="2216338" y="2705472"/>
                </a:cubicBezTo>
                <a:cubicBezTo>
                  <a:pt x="2200900" y="2691965"/>
                  <a:pt x="2178654" y="2685272"/>
                  <a:pt x="2150815" y="2685272"/>
                </a:cubicBezTo>
                <a:cubicBezTo>
                  <a:pt x="2122977" y="2685272"/>
                  <a:pt x="2098299" y="2691009"/>
                  <a:pt x="2076661" y="2702603"/>
                </a:cubicBezTo>
                <a:cubicBezTo>
                  <a:pt x="2055022" y="2714197"/>
                  <a:pt x="2038003" y="2730812"/>
                  <a:pt x="2025604" y="2752207"/>
                </a:cubicBezTo>
                <a:lnTo>
                  <a:pt x="2025604" y="2686347"/>
                </a:lnTo>
                <a:lnTo>
                  <a:pt x="1947924" y="2686347"/>
                </a:lnTo>
                <a:lnTo>
                  <a:pt x="1947924" y="3021982"/>
                </a:lnTo>
                <a:lnTo>
                  <a:pt x="2033992" y="3021982"/>
                </a:lnTo>
                <a:lnTo>
                  <a:pt x="2033992" y="2828705"/>
                </a:lnTo>
                <a:cubicBezTo>
                  <a:pt x="2040435" y="2808146"/>
                  <a:pt x="2051254" y="2791532"/>
                  <a:pt x="2066450" y="2778862"/>
                </a:cubicBezTo>
                <a:cubicBezTo>
                  <a:pt x="2081645" y="2766311"/>
                  <a:pt x="2098178" y="2759977"/>
                  <a:pt x="2114346" y="2759977"/>
                </a:cubicBezTo>
                <a:cubicBezTo>
                  <a:pt x="2130514" y="2759977"/>
                  <a:pt x="2143278" y="2766072"/>
                  <a:pt x="2152517" y="2778264"/>
                </a:cubicBezTo>
                <a:cubicBezTo>
                  <a:pt x="2161756" y="2790456"/>
                  <a:pt x="2166376" y="2809820"/>
                  <a:pt x="2166376" y="2836355"/>
                </a:cubicBezTo>
                <a:lnTo>
                  <a:pt x="2166376" y="3021982"/>
                </a:lnTo>
                <a:lnTo>
                  <a:pt x="2252443" y="3021982"/>
                </a:lnTo>
                <a:lnTo>
                  <a:pt x="2252443" y="2829422"/>
                </a:lnTo>
                <a:cubicBezTo>
                  <a:pt x="2258886" y="2808863"/>
                  <a:pt x="2269584" y="2792010"/>
                  <a:pt x="2284536" y="2779221"/>
                </a:cubicBezTo>
                <a:cubicBezTo>
                  <a:pt x="2299489" y="2766431"/>
                  <a:pt x="2315535" y="2759977"/>
                  <a:pt x="2332676" y="2759977"/>
                </a:cubicBezTo>
                <a:cubicBezTo>
                  <a:pt x="2348965" y="2759977"/>
                  <a:pt x="2361608" y="2766072"/>
                  <a:pt x="2370847" y="2778264"/>
                </a:cubicBezTo>
                <a:cubicBezTo>
                  <a:pt x="2380086" y="2790456"/>
                  <a:pt x="2384705" y="2809820"/>
                  <a:pt x="2384705" y="2836355"/>
                </a:cubicBezTo>
                <a:lnTo>
                  <a:pt x="2384705" y="3021982"/>
                </a:lnTo>
                <a:lnTo>
                  <a:pt x="2470773" y="3021982"/>
                </a:lnTo>
                <a:lnTo>
                  <a:pt x="2470652" y="3021743"/>
                </a:lnTo>
                <a:lnTo>
                  <a:pt x="2470652" y="2815198"/>
                </a:lnTo>
                <a:cubicBezTo>
                  <a:pt x="2470652" y="2799182"/>
                  <a:pt x="2469314" y="2783404"/>
                  <a:pt x="2466518" y="2767865"/>
                </a:cubicBezTo>
                <a:cubicBezTo>
                  <a:pt x="2463722" y="2752207"/>
                  <a:pt x="2458738" y="2738342"/>
                  <a:pt x="2451444" y="2726150"/>
                </a:cubicBezTo>
                <a:cubicBezTo>
                  <a:pt x="2444150" y="2713958"/>
                  <a:pt x="2433818" y="2704037"/>
                  <a:pt x="2420567" y="2696507"/>
                </a:cubicBezTo>
                <a:cubicBezTo>
                  <a:pt x="2407316" y="2688977"/>
                  <a:pt x="2390419" y="2685152"/>
                  <a:pt x="2369875" y="2685152"/>
                </a:cubicBezTo>
                <a:close/>
                <a:moveTo>
                  <a:pt x="2695910" y="2684794"/>
                </a:moveTo>
                <a:cubicBezTo>
                  <a:pt x="2668923" y="2684794"/>
                  <a:pt x="2644610" y="2689336"/>
                  <a:pt x="2622972" y="2698420"/>
                </a:cubicBezTo>
                <a:cubicBezTo>
                  <a:pt x="2601333" y="2707504"/>
                  <a:pt x="2582855" y="2719816"/>
                  <a:pt x="2567781" y="2735354"/>
                </a:cubicBezTo>
                <a:cubicBezTo>
                  <a:pt x="2552586" y="2750893"/>
                  <a:pt x="2541037" y="2768942"/>
                  <a:pt x="2533014" y="2789381"/>
                </a:cubicBezTo>
                <a:cubicBezTo>
                  <a:pt x="2524991" y="2809940"/>
                  <a:pt x="2520979" y="2832531"/>
                  <a:pt x="2520979" y="2854882"/>
                </a:cubicBezTo>
                <a:cubicBezTo>
                  <a:pt x="2520979" y="2877234"/>
                  <a:pt x="2524991" y="2898630"/>
                  <a:pt x="2533257" y="2918830"/>
                </a:cubicBezTo>
                <a:cubicBezTo>
                  <a:pt x="2541402" y="2939030"/>
                  <a:pt x="2553072" y="2956840"/>
                  <a:pt x="2568268" y="2972139"/>
                </a:cubicBezTo>
                <a:cubicBezTo>
                  <a:pt x="2583341" y="2987558"/>
                  <a:pt x="2601698" y="2999631"/>
                  <a:pt x="2623093" y="3008476"/>
                </a:cubicBezTo>
                <a:cubicBezTo>
                  <a:pt x="2644610" y="3017440"/>
                  <a:pt x="2668558" y="3021863"/>
                  <a:pt x="2695059" y="3021863"/>
                </a:cubicBezTo>
                <a:lnTo>
                  <a:pt x="2695181" y="3021624"/>
                </a:lnTo>
                <a:cubicBezTo>
                  <a:pt x="2732137" y="3021624"/>
                  <a:pt x="2763986" y="3013615"/>
                  <a:pt x="2790731" y="2997718"/>
                </a:cubicBezTo>
                <a:cubicBezTo>
                  <a:pt x="2817475" y="2981821"/>
                  <a:pt x="2836925" y="2961501"/>
                  <a:pt x="2849082" y="2936639"/>
                </a:cubicBezTo>
                <a:lnTo>
                  <a:pt x="2776508" y="2916798"/>
                </a:lnTo>
                <a:cubicBezTo>
                  <a:pt x="2771037" y="2930065"/>
                  <a:pt x="2760826" y="2940703"/>
                  <a:pt x="2745873" y="2948712"/>
                </a:cubicBezTo>
                <a:cubicBezTo>
                  <a:pt x="2730921" y="2956720"/>
                  <a:pt x="2714996" y="2960784"/>
                  <a:pt x="2698220" y="2960784"/>
                </a:cubicBezTo>
                <a:cubicBezTo>
                  <a:pt x="2687401" y="2960784"/>
                  <a:pt x="2676825" y="2958872"/>
                  <a:pt x="2666735" y="2955166"/>
                </a:cubicBezTo>
                <a:cubicBezTo>
                  <a:pt x="2656645" y="2951461"/>
                  <a:pt x="2647649" y="2946082"/>
                  <a:pt x="2639626" y="2939030"/>
                </a:cubicBezTo>
                <a:cubicBezTo>
                  <a:pt x="2631603" y="2931978"/>
                  <a:pt x="2625038" y="2923491"/>
                  <a:pt x="2620054" y="2913571"/>
                </a:cubicBezTo>
                <a:cubicBezTo>
                  <a:pt x="2614948" y="2903650"/>
                  <a:pt x="2611788" y="2892295"/>
                  <a:pt x="2610572" y="2879505"/>
                </a:cubicBezTo>
                <a:lnTo>
                  <a:pt x="2866101" y="2879505"/>
                </a:lnTo>
                <a:cubicBezTo>
                  <a:pt x="2866952" y="2876158"/>
                  <a:pt x="2867438" y="2872094"/>
                  <a:pt x="2867681" y="2867074"/>
                </a:cubicBezTo>
                <a:cubicBezTo>
                  <a:pt x="2868046" y="2862054"/>
                  <a:pt x="2868046" y="2856914"/>
                  <a:pt x="2868046" y="2851536"/>
                </a:cubicBezTo>
                <a:cubicBezTo>
                  <a:pt x="2868046" y="2829662"/>
                  <a:pt x="2864156" y="2808625"/>
                  <a:pt x="2856376" y="2788305"/>
                </a:cubicBezTo>
                <a:cubicBezTo>
                  <a:pt x="2848595" y="2768105"/>
                  <a:pt x="2837290" y="2750295"/>
                  <a:pt x="2822337" y="2734996"/>
                </a:cubicBezTo>
                <a:cubicBezTo>
                  <a:pt x="2807507" y="2719696"/>
                  <a:pt x="2789394" y="2707504"/>
                  <a:pt x="2768120" y="2698420"/>
                </a:cubicBezTo>
                <a:cubicBezTo>
                  <a:pt x="2746846" y="2689336"/>
                  <a:pt x="2722898" y="2684794"/>
                  <a:pt x="2695910" y="2684794"/>
                </a:cubicBezTo>
                <a:close/>
                <a:moveTo>
                  <a:pt x="3534220" y="2682284"/>
                </a:moveTo>
                <a:cubicBezTo>
                  <a:pt x="3506868" y="2682284"/>
                  <a:pt x="3482312" y="2686946"/>
                  <a:pt x="3460552" y="2696149"/>
                </a:cubicBezTo>
                <a:cubicBezTo>
                  <a:pt x="3438792" y="2705472"/>
                  <a:pt x="3420314" y="2717903"/>
                  <a:pt x="3405118" y="2733681"/>
                </a:cubicBezTo>
                <a:cubicBezTo>
                  <a:pt x="3390044" y="2749459"/>
                  <a:pt x="3378374" y="2767627"/>
                  <a:pt x="3370229" y="2788186"/>
                </a:cubicBezTo>
                <a:cubicBezTo>
                  <a:pt x="3362084" y="2808745"/>
                  <a:pt x="3358073" y="2830977"/>
                  <a:pt x="3358073" y="2853687"/>
                </a:cubicBezTo>
                <a:cubicBezTo>
                  <a:pt x="3358073" y="2876397"/>
                  <a:pt x="3362084" y="2898032"/>
                  <a:pt x="3370229" y="2918591"/>
                </a:cubicBezTo>
                <a:cubicBezTo>
                  <a:pt x="3378253" y="2939150"/>
                  <a:pt x="3389923" y="2957318"/>
                  <a:pt x="3405118" y="2973096"/>
                </a:cubicBezTo>
                <a:cubicBezTo>
                  <a:pt x="3420314" y="2988873"/>
                  <a:pt x="3438792" y="3001424"/>
                  <a:pt x="3460552" y="3010627"/>
                </a:cubicBezTo>
                <a:cubicBezTo>
                  <a:pt x="3482312" y="3019831"/>
                  <a:pt x="3506868" y="3024493"/>
                  <a:pt x="3534220" y="3024493"/>
                </a:cubicBezTo>
                <a:cubicBezTo>
                  <a:pt x="3561572" y="3024493"/>
                  <a:pt x="3586128" y="3019831"/>
                  <a:pt x="3607888" y="3010627"/>
                </a:cubicBezTo>
                <a:cubicBezTo>
                  <a:pt x="3629770" y="3001304"/>
                  <a:pt x="3648126" y="2988873"/>
                  <a:pt x="3663078" y="2973096"/>
                </a:cubicBezTo>
                <a:cubicBezTo>
                  <a:pt x="3678031" y="2957318"/>
                  <a:pt x="3689579" y="2939150"/>
                  <a:pt x="3697724" y="2918591"/>
                </a:cubicBezTo>
                <a:cubicBezTo>
                  <a:pt x="3705869" y="2898032"/>
                  <a:pt x="3709881" y="2876756"/>
                  <a:pt x="3709881" y="2853687"/>
                </a:cubicBezTo>
                <a:cubicBezTo>
                  <a:pt x="3709881" y="2830618"/>
                  <a:pt x="3705869" y="2808745"/>
                  <a:pt x="3697724" y="2788186"/>
                </a:cubicBezTo>
                <a:cubicBezTo>
                  <a:pt x="3689701" y="2767627"/>
                  <a:pt x="3678031" y="2749459"/>
                  <a:pt x="3662835" y="2733681"/>
                </a:cubicBezTo>
                <a:cubicBezTo>
                  <a:pt x="3647640" y="2717903"/>
                  <a:pt x="3629162" y="2705353"/>
                  <a:pt x="3607645" y="2696149"/>
                </a:cubicBezTo>
                <a:cubicBezTo>
                  <a:pt x="3586007" y="2686946"/>
                  <a:pt x="3561572" y="2682284"/>
                  <a:pt x="3534220" y="2682284"/>
                </a:cubicBezTo>
                <a:close/>
                <a:moveTo>
                  <a:pt x="3142417" y="2567298"/>
                </a:moveTo>
                <a:cubicBezTo>
                  <a:pt x="3106798" y="2567298"/>
                  <a:pt x="3075192" y="2573872"/>
                  <a:pt x="3047353" y="2586901"/>
                </a:cubicBezTo>
                <a:cubicBezTo>
                  <a:pt x="3019515" y="2599929"/>
                  <a:pt x="2996053" y="2617022"/>
                  <a:pt x="2976724" y="2638059"/>
                </a:cubicBezTo>
                <a:cubicBezTo>
                  <a:pt x="2957396" y="2659095"/>
                  <a:pt x="2942808" y="2683001"/>
                  <a:pt x="2932718" y="2709775"/>
                </a:cubicBezTo>
                <a:lnTo>
                  <a:pt x="2917656" y="2790874"/>
                </a:lnTo>
                <a:lnTo>
                  <a:pt x="2917644" y="2790815"/>
                </a:lnTo>
                <a:lnTo>
                  <a:pt x="2917644" y="2790935"/>
                </a:lnTo>
                <a:lnTo>
                  <a:pt x="2917656" y="2790874"/>
                </a:lnTo>
                <a:lnTo>
                  <a:pt x="2934055" y="2875083"/>
                </a:lnTo>
                <a:cubicBezTo>
                  <a:pt x="2944996" y="2902693"/>
                  <a:pt x="2960192" y="2927316"/>
                  <a:pt x="2979642" y="2948951"/>
                </a:cubicBezTo>
                <a:cubicBezTo>
                  <a:pt x="2999092" y="2970585"/>
                  <a:pt x="3022311" y="2988156"/>
                  <a:pt x="3049298" y="3001663"/>
                </a:cubicBezTo>
                <a:cubicBezTo>
                  <a:pt x="3076164" y="3015169"/>
                  <a:pt x="3105948" y="3021863"/>
                  <a:pt x="3138527" y="3021863"/>
                </a:cubicBezTo>
                <a:cubicBezTo>
                  <a:pt x="3156883" y="3021863"/>
                  <a:pt x="3175726" y="3019592"/>
                  <a:pt x="3195054" y="3014930"/>
                </a:cubicBezTo>
                <a:cubicBezTo>
                  <a:pt x="3214262" y="3010269"/>
                  <a:pt x="3232375" y="3003575"/>
                  <a:pt x="3249272" y="2994730"/>
                </a:cubicBezTo>
                <a:cubicBezTo>
                  <a:pt x="3266170" y="2985885"/>
                  <a:pt x="3281365" y="2975008"/>
                  <a:pt x="3294859" y="2962218"/>
                </a:cubicBezTo>
                <a:cubicBezTo>
                  <a:pt x="3308352" y="2949429"/>
                  <a:pt x="3318685" y="2934607"/>
                  <a:pt x="3325979" y="2917754"/>
                </a:cubicBezTo>
                <a:lnTo>
                  <a:pt x="3253405" y="2876756"/>
                </a:lnTo>
                <a:cubicBezTo>
                  <a:pt x="3248300" y="2889067"/>
                  <a:pt x="3241370" y="2899466"/>
                  <a:pt x="3232861" y="2908072"/>
                </a:cubicBezTo>
                <a:cubicBezTo>
                  <a:pt x="3224230" y="2916678"/>
                  <a:pt x="3214991" y="2923730"/>
                  <a:pt x="3204901" y="2929229"/>
                </a:cubicBezTo>
                <a:cubicBezTo>
                  <a:pt x="3194933" y="2934607"/>
                  <a:pt x="3184357" y="2938671"/>
                  <a:pt x="3173173" y="2941181"/>
                </a:cubicBezTo>
                <a:cubicBezTo>
                  <a:pt x="3162110" y="2943692"/>
                  <a:pt x="3151413" y="2945006"/>
                  <a:pt x="3141080" y="2945006"/>
                </a:cubicBezTo>
                <a:cubicBezTo>
                  <a:pt x="3121386" y="2945006"/>
                  <a:pt x="3103273" y="2940823"/>
                  <a:pt x="3086862" y="2932336"/>
                </a:cubicBezTo>
                <a:cubicBezTo>
                  <a:pt x="3070329" y="2923969"/>
                  <a:pt x="3056228" y="2912734"/>
                  <a:pt x="3044436" y="2898869"/>
                </a:cubicBezTo>
                <a:cubicBezTo>
                  <a:pt x="3032644" y="2885003"/>
                  <a:pt x="3023527" y="2868867"/>
                  <a:pt x="3017084" y="2850579"/>
                </a:cubicBezTo>
                <a:cubicBezTo>
                  <a:pt x="3010641" y="2832292"/>
                  <a:pt x="3007480" y="2813287"/>
                  <a:pt x="3007480" y="2793445"/>
                </a:cubicBezTo>
                <a:cubicBezTo>
                  <a:pt x="3007480" y="2775755"/>
                  <a:pt x="3010276" y="2757945"/>
                  <a:pt x="3015868" y="2740016"/>
                </a:cubicBezTo>
                <a:cubicBezTo>
                  <a:pt x="3021460" y="2722206"/>
                  <a:pt x="3029727" y="2706190"/>
                  <a:pt x="3040667" y="2692085"/>
                </a:cubicBezTo>
                <a:cubicBezTo>
                  <a:pt x="3051608" y="2677981"/>
                  <a:pt x="3065223" y="2666506"/>
                  <a:pt x="3081756" y="2657661"/>
                </a:cubicBezTo>
                <a:cubicBezTo>
                  <a:pt x="3098167" y="2648816"/>
                  <a:pt x="3117618" y="2644394"/>
                  <a:pt x="3139864" y="2644394"/>
                </a:cubicBezTo>
                <a:cubicBezTo>
                  <a:pt x="3150197" y="2644394"/>
                  <a:pt x="3160652" y="2645589"/>
                  <a:pt x="3171349" y="2647860"/>
                </a:cubicBezTo>
                <a:cubicBezTo>
                  <a:pt x="3182047" y="2650131"/>
                  <a:pt x="3192380" y="2653836"/>
                  <a:pt x="3202227" y="2658856"/>
                </a:cubicBezTo>
                <a:cubicBezTo>
                  <a:pt x="3212073" y="2663996"/>
                  <a:pt x="3221191" y="2670809"/>
                  <a:pt x="3229822" y="2679415"/>
                </a:cubicBezTo>
                <a:cubicBezTo>
                  <a:pt x="3238453" y="2688021"/>
                  <a:pt x="3245747" y="2698659"/>
                  <a:pt x="3251703" y="2711329"/>
                </a:cubicBezTo>
                <a:lnTo>
                  <a:pt x="3319780" y="2665191"/>
                </a:lnTo>
                <a:cubicBezTo>
                  <a:pt x="3304706" y="2636146"/>
                  <a:pt x="3281973" y="2612599"/>
                  <a:pt x="3251339" y="2594431"/>
                </a:cubicBezTo>
                <a:cubicBezTo>
                  <a:pt x="3220704" y="2576382"/>
                  <a:pt x="3184357" y="2567298"/>
                  <a:pt x="3142417" y="2567298"/>
                </a:cubicBezTo>
                <a:close/>
                <a:moveTo>
                  <a:pt x="1371708" y="2567298"/>
                </a:moveTo>
                <a:cubicBezTo>
                  <a:pt x="1336089" y="2567298"/>
                  <a:pt x="1304483" y="2573872"/>
                  <a:pt x="1276644" y="2586901"/>
                </a:cubicBezTo>
                <a:cubicBezTo>
                  <a:pt x="1248806" y="2599929"/>
                  <a:pt x="1225223" y="2617022"/>
                  <a:pt x="1206015" y="2638059"/>
                </a:cubicBezTo>
                <a:cubicBezTo>
                  <a:pt x="1186687" y="2659095"/>
                  <a:pt x="1172099" y="2683001"/>
                  <a:pt x="1162009" y="2709775"/>
                </a:cubicBezTo>
                <a:lnTo>
                  <a:pt x="1146946" y="2790874"/>
                </a:lnTo>
                <a:lnTo>
                  <a:pt x="1146935" y="2790815"/>
                </a:lnTo>
                <a:lnTo>
                  <a:pt x="1146935" y="2790935"/>
                </a:lnTo>
                <a:lnTo>
                  <a:pt x="1146946" y="2790874"/>
                </a:lnTo>
                <a:lnTo>
                  <a:pt x="1163346" y="2875083"/>
                </a:lnTo>
                <a:cubicBezTo>
                  <a:pt x="1174287" y="2902693"/>
                  <a:pt x="1189483" y="2927316"/>
                  <a:pt x="1208933" y="2948951"/>
                </a:cubicBezTo>
                <a:cubicBezTo>
                  <a:pt x="1228383" y="2970585"/>
                  <a:pt x="1251602" y="2988156"/>
                  <a:pt x="1278589" y="3001663"/>
                </a:cubicBezTo>
                <a:cubicBezTo>
                  <a:pt x="1305577" y="3015169"/>
                  <a:pt x="1335238" y="3021863"/>
                  <a:pt x="1367818" y="3021863"/>
                </a:cubicBezTo>
                <a:cubicBezTo>
                  <a:pt x="1386174" y="3021863"/>
                  <a:pt x="1405138" y="3019592"/>
                  <a:pt x="1424345" y="3014930"/>
                </a:cubicBezTo>
                <a:cubicBezTo>
                  <a:pt x="1443674" y="3010269"/>
                  <a:pt x="1461787" y="3003575"/>
                  <a:pt x="1478685" y="2994730"/>
                </a:cubicBezTo>
                <a:cubicBezTo>
                  <a:pt x="1495582" y="2985885"/>
                  <a:pt x="1510778" y="2975008"/>
                  <a:pt x="1524271" y="2962218"/>
                </a:cubicBezTo>
                <a:cubicBezTo>
                  <a:pt x="1537765" y="2949429"/>
                  <a:pt x="1548098" y="2934607"/>
                  <a:pt x="1555392" y="2917754"/>
                </a:cubicBezTo>
                <a:lnTo>
                  <a:pt x="1482818" y="2876756"/>
                </a:lnTo>
                <a:cubicBezTo>
                  <a:pt x="1477712" y="2889067"/>
                  <a:pt x="1470783" y="2899466"/>
                  <a:pt x="1462273" y="2908072"/>
                </a:cubicBezTo>
                <a:cubicBezTo>
                  <a:pt x="1453642" y="2916678"/>
                  <a:pt x="1444403" y="2923730"/>
                  <a:pt x="1434314" y="2929229"/>
                </a:cubicBezTo>
                <a:cubicBezTo>
                  <a:pt x="1424345" y="2934607"/>
                  <a:pt x="1413769" y="2938671"/>
                  <a:pt x="1402585" y="2941181"/>
                </a:cubicBezTo>
                <a:cubicBezTo>
                  <a:pt x="1391523" y="2943692"/>
                  <a:pt x="1380825" y="2945006"/>
                  <a:pt x="1370492" y="2945006"/>
                </a:cubicBezTo>
                <a:cubicBezTo>
                  <a:pt x="1350920" y="2945006"/>
                  <a:pt x="1332807" y="2940823"/>
                  <a:pt x="1316274" y="2932336"/>
                </a:cubicBezTo>
                <a:cubicBezTo>
                  <a:pt x="1299742" y="2923969"/>
                  <a:pt x="1285640" y="2912734"/>
                  <a:pt x="1273848" y="2898869"/>
                </a:cubicBezTo>
                <a:cubicBezTo>
                  <a:pt x="1262057" y="2885003"/>
                  <a:pt x="1252939" y="2868867"/>
                  <a:pt x="1246496" y="2850579"/>
                </a:cubicBezTo>
                <a:cubicBezTo>
                  <a:pt x="1240053" y="2832292"/>
                  <a:pt x="1236893" y="2813287"/>
                  <a:pt x="1236893" y="2793445"/>
                </a:cubicBezTo>
                <a:cubicBezTo>
                  <a:pt x="1236893" y="2775755"/>
                  <a:pt x="1239689" y="2757945"/>
                  <a:pt x="1245281" y="2740016"/>
                </a:cubicBezTo>
                <a:cubicBezTo>
                  <a:pt x="1250751" y="2722206"/>
                  <a:pt x="1259018" y="2706190"/>
                  <a:pt x="1269958" y="2692085"/>
                </a:cubicBezTo>
                <a:cubicBezTo>
                  <a:pt x="1280899" y="2677981"/>
                  <a:pt x="1294514" y="2666506"/>
                  <a:pt x="1311047" y="2657661"/>
                </a:cubicBezTo>
                <a:cubicBezTo>
                  <a:pt x="1327458" y="2648816"/>
                  <a:pt x="1346909" y="2644394"/>
                  <a:pt x="1369155" y="2644394"/>
                </a:cubicBezTo>
                <a:cubicBezTo>
                  <a:pt x="1379488" y="2644394"/>
                  <a:pt x="1389942" y="2645589"/>
                  <a:pt x="1400640" y="2647860"/>
                </a:cubicBezTo>
                <a:cubicBezTo>
                  <a:pt x="1411338" y="2650131"/>
                  <a:pt x="1421671" y="2653836"/>
                  <a:pt x="1431518" y="2658856"/>
                </a:cubicBezTo>
                <a:cubicBezTo>
                  <a:pt x="1441364" y="2663996"/>
                  <a:pt x="1450603" y="2670809"/>
                  <a:pt x="1459113" y="2679415"/>
                </a:cubicBezTo>
                <a:cubicBezTo>
                  <a:pt x="1467744" y="2688021"/>
                  <a:pt x="1475038" y="2698659"/>
                  <a:pt x="1480994" y="2711329"/>
                </a:cubicBezTo>
                <a:lnTo>
                  <a:pt x="1549071" y="2665191"/>
                </a:lnTo>
                <a:cubicBezTo>
                  <a:pt x="1533997" y="2636146"/>
                  <a:pt x="1511264" y="2612599"/>
                  <a:pt x="1480630" y="2594431"/>
                </a:cubicBezTo>
                <a:cubicBezTo>
                  <a:pt x="1449995" y="2576382"/>
                  <a:pt x="1413648" y="2567298"/>
                  <a:pt x="1371708" y="2567298"/>
                </a:cubicBezTo>
                <a:close/>
                <a:moveTo>
                  <a:pt x="1795118" y="2560963"/>
                </a:moveTo>
                <a:lnTo>
                  <a:pt x="1795118" y="2644991"/>
                </a:lnTo>
                <a:lnTo>
                  <a:pt x="1881186" y="2644991"/>
                </a:lnTo>
                <a:lnTo>
                  <a:pt x="1881186" y="2560963"/>
                </a:lnTo>
                <a:close/>
                <a:moveTo>
                  <a:pt x="1598183" y="2556062"/>
                </a:moveTo>
                <a:lnTo>
                  <a:pt x="1598183" y="2940703"/>
                </a:lnTo>
                <a:cubicBezTo>
                  <a:pt x="1598183" y="2966760"/>
                  <a:pt x="1605598" y="2986960"/>
                  <a:pt x="1620308" y="3001065"/>
                </a:cubicBezTo>
                <a:cubicBezTo>
                  <a:pt x="1620672" y="3001304"/>
                  <a:pt x="1620916" y="3001662"/>
                  <a:pt x="1621159" y="3001901"/>
                </a:cubicBezTo>
                <a:cubicBezTo>
                  <a:pt x="1625049" y="3005487"/>
                  <a:pt x="1629425" y="3008595"/>
                  <a:pt x="1634166" y="3011224"/>
                </a:cubicBezTo>
                <a:cubicBezTo>
                  <a:pt x="1637448" y="3013017"/>
                  <a:pt x="1640974" y="3014571"/>
                  <a:pt x="1644499" y="3015886"/>
                </a:cubicBezTo>
                <a:cubicBezTo>
                  <a:pt x="1660910" y="3021982"/>
                  <a:pt x="1679267" y="3022460"/>
                  <a:pt x="1696529" y="3021862"/>
                </a:cubicBezTo>
                <a:cubicBezTo>
                  <a:pt x="1697987" y="3021862"/>
                  <a:pt x="1699568" y="3021743"/>
                  <a:pt x="1701148" y="3021623"/>
                </a:cubicBezTo>
                <a:cubicBezTo>
                  <a:pt x="1702728" y="3021623"/>
                  <a:pt x="1704430" y="3021384"/>
                  <a:pt x="1706011" y="3021265"/>
                </a:cubicBezTo>
                <a:cubicBezTo>
                  <a:pt x="1707591" y="3021265"/>
                  <a:pt x="1709171" y="3021026"/>
                  <a:pt x="1710752" y="3020787"/>
                </a:cubicBezTo>
                <a:cubicBezTo>
                  <a:pt x="1712332" y="3020667"/>
                  <a:pt x="1713912" y="3020428"/>
                  <a:pt x="1715493" y="3020189"/>
                </a:cubicBezTo>
                <a:cubicBezTo>
                  <a:pt x="1717073" y="3019950"/>
                  <a:pt x="1718653" y="3019711"/>
                  <a:pt x="1720234" y="3019472"/>
                </a:cubicBezTo>
                <a:cubicBezTo>
                  <a:pt x="1721814" y="3019233"/>
                  <a:pt x="1723394" y="3018874"/>
                  <a:pt x="1725096" y="3018516"/>
                </a:cubicBezTo>
                <a:cubicBezTo>
                  <a:pt x="1725947" y="3018277"/>
                  <a:pt x="1726798" y="3018157"/>
                  <a:pt x="1727649" y="3017918"/>
                </a:cubicBezTo>
                <a:cubicBezTo>
                  <a:pt x="1729473" y="3017440"/>
                  <a:pt x="1731175" y="3016962"/>
                  <a:pt x="1732998" y="3016364"/>
                </a:cubicBezTo>
                <a:cubicBezTo>
                  <a:pt x="1733606" y="3016125"/>
                  <a:pt x="1734214" y="3016006"/>
                  <a:pt x="1734943" y="3015767"/>
                </a:cubicBezTo>
                <a:lnTo>
                  <a:pt x="1723151" y="2942018"/>
                </a:lnTo>
                <a:cubicBezTo>
                  <a:pt x="1714156" y="2944886"/>
                  <a:pt x="1702485" y="2946201"/>
                  <a:pt x="1695191" y="2943572"/>
                </a:cubicBezTo>
                <a:lnTo>
                  <a:pt x="1695070" y="2943572"/>
                </a:lnTo>
                <a:cubicBezTo>
                  <a:pt x="1682913" y="2939269"/>
                  <a:pt x="1684251" y="2926838"/>
                  <a:pt x="1684251" y="2913570"/>
                </a:cubicBezTo>
                <a:lnTo>
                  <a:pt x="1684251" y="2556062"/>
                </a:lnTo>
                <a:close/>
                <a:moveTo>
                  <a:pt x="576722" y="2501528"/>
                </a:moveTo>
                <a:cubicBezTo>
                  <a:pt x="545343" y="2501528"/>
                  <a:pt x="513949" y="2513331"/>
                  <a:pt x="490000" y="2536938"/>
                </a:cubicBezTo>
                <a:cubicBezTo>
                  <a:pt x="441983" y="2584032"/>
                  <a:pt x="441983" y="2660411"/>
                  <a:pt x="490000" y="2707505"/>
                </a:cubicBezTo>
                <a:cubicBezTo>
                  <a:pt x="537897" y="2754599"/>
                  <a:pt x="615577" y="2754599"/>
                  <a:pt x="663473" y="2707505"/>
                </a:cubicBezTo>
                <a:cubicBezTo>
                  <a:pt x="711370" y="2660411"/>
                  <a:pt x="789049" y="2660411"/>
                  <a:pt x="837067" y="2707505"/>
                </a:cubicBezTo>
                <a:cubicBezTo>
                  <a:pt x="884964" y="2754599"/>
                  <a:pt x="884964" y="2830977"/>
                  <a:pt x="837067" y="2878190"/>
                </a:cubicBezTo>
                <a:cubicBezTo>
                  <a:pt x="789171" y="2925285"/>
                  <a:pt x="789171" y="3001663"/>
                  <a:pt x="837067" y="3048757"/>
                </a:cubicBezTo>
                <a:cubicBezTo>
                  <a:pt x="884964" y="3095851"/>
                  <a:pt x="962643" y="3095851"/>
                  <a:pt x="1010661" y="3048757"/>
                </a:cubicBezTo>
                <a:cubicBezTo>
                  <a:pt x="1058558" y="3001663"/>
                  <a:pt x="1058558" y="2925285"/>
                  <a:pt x="1010661" y="2878190"/>
                </a:cubicBezTo>
                <a:cubicBezTo>
                  <a:pt x="963008" y="2830738"/>
                  <a:pt x="963008" y="2754360"/>
                  <a:pt x="1010661" y="2707505"/>
                </a:cubicBezTo>
                <a:lnTo>
                  <a:pt x="1010540" y="2707505"/>
                </a:lnTo>
                <a:cubicBezTo>
                  <a:pt x="1058436" y="2660411"/>
                  <a:pt x="1058436" y="2584032"/>
                  <a:pt x="1010540" y="2536938"/>
                </a:cubicBezTo>
                <a:cubicBezTo>
                  <a:pt x="962643" y="2489844"/>
                  <a:pt x="884964" y="2489844"/>
                  <a:pt x="836946" y="2536938"/>
                </a:cubicBezTo>
                <a:cubicBezTo>
                  <a:pt x="789049" y="2584032"/>
                  <a:pt x="711370" y="2584032"/>
                  <a:pt x="663352" y="2536938"/>
                </a:cubicBezTo>
                <a:cubicBezTo>
                  <a:pt x="639465" y="2513331"/>
                  <a:pt x="608101" y="2501528"/>
                  <a:pt x="576722" y="2501528"/>
                </a:cubicBezTo>
                <a:close/>
                <a:moveTo>
                  <a:pt x="0" y="0"/>
                </a:moveTo>
                <a:lnTo>
                  <a:pt x="11465408" y="0"/>
                </a:lnTo>
                <a:lnTo>
                  <a:pt x="11609808" y="524966"/>
                </a:lnTo>
                <a:cubicBezTo>
                  <a:pt x="11837817" y="1441845"/>
                  <a:pt x="11961045" y="2420383"/>
                  <a:pt x="11961045" y="3436498"/>
                </a:cubicBezTo>
                <a:cubicBezTo>
                  <a:pt x="11961045" y="4452613"/>
                  <a:pt x="11837817" y="5431152"/>
                  <a:pt x="11609807" y="6348030"/>
                </a:cubicBezTo>
                <a:lnTo>
                  <a:pt x="11467471" y="6865497"/>
                </a:lnTo>
                <a:lnTo>
                  <a:pt x="0" y="6865497"/>
                </a:ln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35" name="Content Placeholder 34">
            <a:extLst>
              <a:ext uri="{FF2B5EF4-FFF2-40B4-BE49-F238E27FC236}">
                <a16:creationId xmlns:a16="http://schemas.microsoft.com/office/drawing/2014/main" id="{5ABA7B34-981F-0914-F1FD-B14771B2D8D4}"/>
              </a:ext>
            </a:extLst>
          </p:cNvPr>
          <p:cNvSpPr>
            <a:spLocks noGrp="1"/>
          </p:cNvSpPr>
          <p:nvPr>
            <p:ph sz="quarter" idx="15"/>
          </p:nvPr>
        </p:nvSpPr>
        <p:spPr>
          <a:xfrm>
            <a:off x="-2" y="1929384"/>
            <a:ext cx="8312795" cy="2999232"/>
          </a:xfrm>
          <a:custGeom>
            <a:avLst/>
            <a:gdLst>
              <a:gd name="connsiteX0" fmla="*/ 1027075 w 8312795"/>
              <a:gd name="connsiteY0" fmla="*/ 1126219 h 2999232"/>
              <a:gd name="connsiteX1" fmla="*/ 1028413 w 8312795"/>
              <a:gd name="connsiteY1" fmla="*/ 1126219 h 2999232"/>
              <a:gd name="connsiteX2" fmla="*/ 1032059 w 8312795"/>
              <a:gd name="connsiteY2" fmla="*/ 1126458 h 2999232"/>
              <a:gd name="connsiteX3" fmla="*/ 1033154 w 8312795"/>
              <a:gd name="connsiteY3" fmla="*/ 1127175 h 2999232"/>
              <a:gd name="connsiteX4" fmla="*/ 1033518 w 8312795"/>
              <a:gd name="connsiteY4" fmla="*/ 1128370 h 2999232"/>
              <a:gd name="connsiteX5" fmla="*/ 1033154 w 8312795"/>
              <a:gd name="connsiteY5" fmla="*/ 1129566 h 2999232"/>
              <a:gd name="connsiteX6" fmla="*/ 1032059 w 8312795"/>
              <a:gd name="connsiteY6" fmla="*/ 1130402 h 2999232"/>
              <a:gd name="connsiteX7" fmla="*/ 1028413 w 8312795"/>
              <a:gd name="connsiteY7" fmla="*/ 1130641 h 2999232"/>
              <a:gd name="connsiteX8" fmla="*/ 1027075 w 8312795"/>
              <a:gd name="connsiteY8" fmla="*/ 1130641 h 2999232"/>
              <a:gd name="connsiteX9" fmla="*/ 1023672 w 8312795"/>
              <a:gd name="connsiteY9" fmla="*/ 1123589 h 2999232"/>
              <a:gd name="connsiteX10" fmla="*/ 1023672 w 8312795"/>
              <a:gd name="connsiteY10" fmla="*/ 1139965 h 2999232"/>
              <a:gd name="connsiteX11" fmla="*/ 1023793 w 8312795"/>
              <a:gd name="connsiteY11" fmla="*/ 1139965 h 2999232"/>
              <a:gd name="connsiteX12" fmla="*/ 1027197 w 8312795"/>
              <a:gd name="connsiteY12" fmla="*/ 1139965 h 2999232"/>
              <a:gd name="connsiteX13" fmla="*/ 1027197 w 8312795"/>
              <a:gd name="connsiteY13" fmla="*/ 1133271 h 2999232"/>
              <a:gd name="connsiteX14" fmla="*/ 1028048 w 8312795"/>
              <a:gd name="connsiteY14" fmla="*/ 1133271 h 2999232"/>
              <a:gd name="connsiteX15" fmla="*/ 1030358 w 8312795"/>
              <a:gd name="connsiteY15" fmla="*/ 1133988 h 2999232"/>
              <a:gd name="connsiteX16" fmla="*/ 1032667 w 8312795"/>
              <a:gd name="connsiteY16" fmla="*/ 1137335 h 2999232"/>
              <a:gd name="connsiteX17" fmla="*/ 1034126 w 8312795"/>
              <a:gd name="connsiteY17" fmla="*/ 1139965 h 2999232"/>
              <a:gd name="connsiteX18" fmla="*/ 1038259 w 8312795"/>
              <a:gd name="connsiteY18" fmla="*/ 1139965 h 2999232"/>
              <a:gd name="connsiteX19" fmla="*/ 1036314 w 8312795"/>
              <a:gd name="connsiteY19" fmla="*/ 1136618 h 2999232"/>
              <a:gd name="connsiteX20" fmla="*/ 1035099 w 8312795"/>
              <a:gd name="connsiteY20" fmla="*/ 1134586 h 2999232"/>
              <a:gd name="connsiteX21" fmla="*/ 1034004 w 8312795"/>
              <a:gd name="connsiteY21" fmla="*/ 1133271 h 2999232"/>
              <a:gd name="connsiteX22" fmla="*/ 1032789 w 8312795"/>
              <a:gd name="connsiteY22" fmla="*/ 1132673 h 2999232"/>
              <a:gd name="connsiteX23" fmla="*/ 1036071 w 8312795"/>
              <a:gd name="connsiteY23" fmla="*/ 1131119 h 2999232"/>
              <a:gd name="connsiteX24" fmla="*/ 1037287 w 8312795"/>
              <a:gd name="connsiteY24" fmla="*/ 1128131 h 2999232"/>
              <a:gd name="connsiteX25" fmla="*/ 1036679 w 8312795"/>
              <a:gd name="connsiteY25" fmla="*/ 1125741 h 2999232"/>
              <a:gd name="connsiteX26" fmla="*/ 1035099 w 8312795"/>
              <a:gd name="connsiteY26" fmla="*/ 1124187 h 2999232"/>
              <a:gd name="connsiteX27" fmla="*/ 1032424 w 8312795"/>
              <a:gd name="connsiteY27" fmla="*/ 1123589 h 2999232"/>
              <a:gd name="connsiteX28" fmla="*/ 1027075 w 8312795"/>
              <a:gd name="connsiteY28" fmla="*/ 1123589 h 2999232"/>
              <a:gd name="connsiteX29" fmla="*/ 1030844 w 8312795"/>
              <a:gd name="connsiteY29" fmla="*/ 1119286 h 2999232"/>
              <a:gd name="connsiteX30" fmla="*/ 1037044 w 8312795"/>
              <a:gd name="connsiteY30" fmla="*/ 1120840 h 2999232"/>
              <a:gd name="connsiteX31" fmla="*/ 1041785 w 8312795"/>
              <a:gd name="connsiteY31" fmla="*/ 1125382 h 2999232"/>
              <a:gd name="connsiteX32" fmla="*/ 1043487 w 8312795"/>
              <a:gd name="connsiteY32" fmla="*/ 1131598 h 2999232"/>
              <a:gd name="connsiteX33" fmla="*/ 1041785 w 8312795"/>
              <a:gd name="connsiteY33" fmla="*/ 1137813 h 2999232"/>
              <a:gd name="connsiteX34" fmla="*/ 1037165 w 8312795"/>
              <a:gd name="connsiteY34" fmla="*/ 1142355 h 2999232"/>
              <a:gd name="connsiteX35" fmla="*/ 1030844 w 8312795"/>
              <a:gd name="connsiteY35" fmla="*/ 1144028 h 2999232"/>
              <a:gd name="connsiteX36" fmla="*/ 1024522 w 8312795"/>
              <a:gd name="connsiteY36" fmla="*/ 1142355 h 2999232"/>
              <a:gd name="connsiteX37" fmla="*/ 1019903 w 8312795"/>
              <a:gd name="connsiteY37" fmla="*/ 1137813 h 2999232"/>
              <a:gd name="connsiteX38" fmla="*/ 1018201 w 8312795"/>
              <a:gd name="connsiteY38" fmla="*/ 1131598 h 2999232"/>
              <a:gd name="connsiteX39" fmla="*/ 1019903 w 8312795"/>
              <a:gd name="connsiteY39" fmla="*/ 1125382 h 2999232"/>
              <a:gd name="connsiteX40" fmla="*/ 1024644 w 8312795"/>
              <a:gd name="connsiteY40" fmla="*/ 1120840 h 2999232"/>
              <a:gd name="connsiteX41" fmla="*/ 1030844 w 8312795"/>
              <a:gd name="connsiteY41" fmla="*/ 1119286 h 2999232"/>
              <a:gd name="connsiteX42" fmla="*/ 1030844 w 8312795"/>
              <a:gd name="connsiteY42" fmla="*/ 1116298 h 2999232"/>
              <a:gd name="connsiteX43" fmla="*/ 1023064 w 8312795"/>
              <a:gd name="connsiteY43" fmla="*/ 1118330 h 2999232"/>
              <a:gd name="connsiteX44" fmla="*/ 1017229 w 8312795"/>
              <a:gd name="connsiteY44" fmla="*/ 1124067 h 2999232"/>
              <a:gd name="connsiteX45" fmla="*/ 1015162 w 8312795"/>
              <a:gd name="connsiteY45" fmla="*/ 1131837 h 2999232"/>
              <a:gd name="connsiteX46" fmla="*/ 1017229 w 8312795"/>
              <a:gd name="connsiteY46" fmla="*/ 1139486 h 2999232"/>
              <a:gd name="connsiteX47" fmla="*/ 1023064 w 8312795"/>
              <a:gd name="connsiteY47" fmla="*/ 1145224 h 2999232"/>
              <a:gd name="connsiteX48" fmla="*/ 1030844 w 8312795"/>
              <a:gd name="connsiteY48" fmla="*/ 1147256 h 2999232"/>
              <a:gd name="connsiteX49" fmla="*/ 1038624 w 8312795"/>
              <a:gd name="connsiteY49" fmla="*/ 1145224 h 2999232"/>
              <a:gd name="connsiteX50" fmla="*/ 1044459 w 8312795"/>
              <a:gd name="connsiteY50" fmla="*/ 1139486 h 2999232"/>
              <a:gd name="connsiteX51" fmla="*/ 1046526 w 8312795"/>
              <a:gd name="connsiteY51" fmla="*/ 1131837 h 2999232"/>
              <a:gd name="connsiteX52" fmla="*/ 1044459 w 8312795"/>
              <a:gd name="connsiteY52" fmla="*/ 1124067 h 2999232"/>
              <a:gd name="connsiteX53" fmla="*/ 1038624 w 8312795"/>
              <a:gd name="connsiteY53" fmla="*/ 1118330 h 2999232"/>
              <a:gd name="connsiteX54" fmla="*/ 1030844 w 8312795"/>
              <a:gd name="connsiteY54" fmla="*/ 1116298 h 2999232"/>
              <a:gd name="connsiteX55" fmla="*/ 577408 w 8312795"/>
              <a:gd name="connsiteY55" fmla="*/ 905570 h 2999232"/>
              <a:gd name="connsiteX56" fmla="*/ 577287 w 8312795"/>
              <a:gd name="connsiteY56" fmla="*/ 905690 h 2999232"/>
              <a:gd name="connsiteX57" fmla="*/ 454628 w 8312795"/>
              <a:gd name="connsiteY57" fmla="*/ 1026293 h 2999232"/>
              <a:gd name="connsiteX58" fmla="*/ 577408 w 8312795"/>
              <a:gd name="connsiteY58" fmla="*/ 1146777 h 2999232"/>
              <a:gd name="connsiteX59" fmla="*/ 700067 w 8312795"/>
              <a:gd name="connsiteY59" fmla="*/ 1026174 h 2999232"/>
              <a:gd name="connsiteX60" fmla="*/ 577408 w 8312795"/>
              <a:gd name="connsiteY60" fmla="*/ 905570 h 2999232"/>
              <a:gd name="connsiteX61" fmla="*/ 3534223 w 8312795"/>
              <a:gd name="connsiteY61" fmla="*/ 817120 h 2999232"/>
              <a:gd name="connsiteX62" fmla="*/ 3568869 w 8312795"/>
              <a:gd name="connsiteY62" fmla="*/ 824411 h 2999232"/>
              <a:gd name="connsiteX63" fmla="*/ 3596707 w 8312795"/>
              <a:gd name="connsiteY63" fmla="*/ 844850 h 2999232"/>
              <a:gd name="connsiteX64" fmla="*/ 3615307 w 8312795"/>
              <a:gd name="connsiteY64" fmla="*/ 876406 h 2999232"/>
              <a:gd name="connsiteX65" fmla="*/ 3621993 w 8312795"/>
              <a:gd name="connsiteY65" fmla="*/ 916089 h 2999232"/>
              <a:gd name="connsiteX66" fmla="*/ 3615307 w 8312795"/>
              <a:gd name="connsiteY66" fmla="*/ 956489 h 2999232"/>
              <a:gd name="connsiteX67" fmla="*/ 3596707 w 8312795"/>
              <a:gd name="connsiteY67" fmla="*/ 988045 h 2999232"/>
              <a:gd name="connsiteX68" fmla="*/ 3568869 w 8312795"/>
              <a:gd name="connsiteY68" fmla="*/ 1008484 h 2999232"/>
              <a:gd name="connsiteX69" fmla="*/ 3534223 w 8312795"/>
              <a:gd name="connsiteY69" fmla="*/ 1015775 h 2999232"/>
              <a:gd name="connsiteX70" fmla="*/ 3499577 w 8312795"/>
              <a:gd name="connsiteY70" fmla="*/ 1008484 h 2999232"/>
              <a:gd name="connsiteX71" fmla="*/ 3471739 w 8312795"/>
              <a:gd name="connsiteY71" fmla="*/ 988045 h 2999232"/>
              <a:gd name="connsiteX72" fmla="*/ 3453139 w 8312795"/>
              <a:gd name="connsiteY72" fmla="*/ 956848 h 2999232"/>
              <a:gd name="connsiteX73" fmla="*/ 3446453 w 8312795"/>
              <a:gd name="connsiteY73" fmla="*/ 916806 h 2999232"/>
              <a:gd name="connsiteX74" fmla="*/ 3446453 w 8312795"/>
              <a:gd name="connsiteY74" fmla="*/ 916687 h 2999232"/>
              <a:gd name="connsiteX75" fmla="*/ 3453139 w 8312795"/>
              <a:gd name="connsiteY75" fmla="*/ 877003 h 2999232"/>
              <a:gd name="connsiteX76" fmla="*/ 3471739 w 8312795"/>
              <a:gd name="connsiteY76" fmla="*/ 845448 h 2999232"/>
              <a:gd name="connsiteX77" fmla="*/ 3499577 w 8312795"/>
              <a:gd name="connsiteY77" fmla="*/ 824650 h 2999232"/>
              <a:gd name="connsiteX78" fmla="*/ 3534223 w 8312795"/>
              <a:gd name="connsiteY78" fmla="*/ 817120 h 2999232"/>
              <a:gd name="connsiteX79" fmla="*/ 2694576 w 8312795"/>
              <a:gd name="connsiteY79" fmla="*/ 808155 h 2999232"/>
              <a:gd name="connsiteX80" fmla="*/ 2753535 w 8312795"/>
              <a:gd name="connsiteY80" fmla="*/ 830148 h 2999232"/>
              <a:gd name="connsiteX81" fmla="*/ 2781009 w 8312795"/>
              <a:gd name="connsiteY81" fmla="*/ 888717 h 2999232"/>
              <a:gd name="connsiteX82" fmla="*/ 2781130 w 8312795"/>
              <a:gd name="connsiteY82" fmla="*/ 888836 h 2999232"/>
              <a:gd name="connsiteX83" fmla="*/ 2609481 w 8312795"/>
              <a:gd name="connsiteY83" fmla="*/ 888836 h 2999232"/>
              <a:gd name="connsiteX84" fmla="*/ 2617990 w 8312795"/>
              <a:gd name="connsiteY84" fmla="*/ 855966 h 2999232"/>
              <a:gd name="connsiteX85" fmla="*/ 2636590 w 8312795"/>
              <a:gd name="connsiteY85" fmla="*/ 830507 h 2999232"/>
              <a:gd name="connsiteX86" fmla="*/ 2662726 w 8312795"/>
              <a:gd name="connsiteY86" fmla="*/ 814012 h 2999232"/>
              <a:gd name="connsiteX87" fmla="*/ 2694576 w 8312795"/>
              <a:gd name="connsiteY87" fmla="*/ 808155 h 2999232"/>
              <a:gd name="connsiteX88" fmla="*/ 1795121 w 8312795"/>
              <a:gd name="connsiteY88" fmla="*/ 749586 h 2999232"/>
              <a:gd name="connsiteX89" fmla="*/ 1795121 w 8312795"/>
              <a:gd name="connsiteY89" fmla="*/ 1085101 h 2999232"/>
              <a:gd name="connsiteX90" fmla="*/ 1881189 w 8312795"/>
              <a:gd name="connsiteY90" fmla="*/ 1085101 h 2999232"/>
              <a:gd name="connsiteX91" fmla="*/ 1881189 w 8312795"/>
              <a:gd name="connsiteY91" fmla="*/ 749586 h 2999232"/>
              <a:gd name="connsiteX92" fmla="*/ 2369878 w 8312795"/>
              <a:gd name="connsiteY92" fmla="*/ 748271 h 2999232"/>
              <a:gd name="connsiteX93" fmla="*/ 2297911 w 8312795"/>
              <a:gd name="connsiteY93" fmla="*/ 766320 h 2999232"/>
              <a:gd name="connsiteX94" fmla="*/ 2245882 w 8312795"/>
              <a:gd name="connsiteY94" fmla="*/ 818434 h 2999232"/>
              <a:gd name="connsiteX95" fmla="*/ 2216341 w 8312795"/>
              <a:gd name="connsiteY95" fmla="*/ 768591 h 2999232"/>
              <a:gd name="connsiteX96" fmla="*/ 2150818 w 8312795"/>
              <a:gd name="connsiteY96" fmla="*/ 748391 h 2999232"/>
              <a:gd name="connsiteX97" fmla="*/ 2076664 w 8312795"/>
              <a:gd name="connsiteY97" fmla="*/ 765722 h 2999232"/>
              <a:gd name="connsiteX98" fmla="*/ 2025607 w 8312795"/>
              <a:gd name="connsiteY98" fmla="*/ 815326 h 2999232"/>
              <a:gd name="connsiteX99" fmla="*/ 2025607 w 8312795"/>
              <a:gd name="connsiteY99" fmla="*/ 749466 h 2999232"/>
              <a:gd name="connsiteX100" fmla="*/ 1947927 w 8312795"/>
              <a:gd name="connsiteY100" fmla="*/ 749466 h 2999232"/>
              <a:gd name="connsiteX101" fmla="*/ 1947927 w 8312795"/>
              <a:gd name="connsiteY101" fmla="*/ 1085101 h 2999232"/>
              <a:gd name="connsiteX102" fmla="*/ 2033995 w 8312795"/>
              <a:gd name="connsiteY102" fmla="*/ 1085101 h 2999232"/>
              <a:gd name="connsiteX103" fmla="*/ 2033995 w 8312795"/>
              <a:gd name="connsiteY103" fmla="*/ 891824 h 2999232"/>
              <a:gd name="connsiteX104" fmla="*/ 2066453 w 8312795"/>
              <a:gd name="connsiteY104" fmla="*/ 841981 h 2999232"/>
              <a:gd name="connsiteX105" fmla="*/ 2114349 w 8312795"/>
              <a:gd name="connsiteY105" fmla="*/ 823096 h 2999232"/>
              <a:gd name="connsiteX106" fmla="*/ 2152520 w 8312795"/>
              <a:gd name="connsiteY106" fmla="*/ 841383 h 2999232"/>
              <a:gd name="connsiteX107" fmla="*/ 2166379 w 8312795"/>
              <a:gd name="connsiteY107" fmla="*/ 899474 h 2999232"/>
              <a:gd name="connsiteX108" fmla="*/ 2166379 w 8312795"/>
              <a:gd name="connsiteY108" fmla="*/ 1085101 h 2999232"/>
              <a:gd name="connsiteX109" fmla="*/ 2252446 w 8312795"/>
              <a:gd name="connsiteY109" fmla="*/ 1085101 h 2999232"/>
              <a:gd name="connsiteX110" fmla="*/ 2252446 w 8312795"/>
              <a:gd name="connsiteY110" fmla="*/ 892541 h 2999232"/>
              <a:gd name="connsiteX111" fmla="*/ 2284539 w 8312795"/>
              <a:gd name="connsiteY111" fmla="*/ 842340 h 2999232"/>
              <a:gd name="connsiteX112" fmla="*/ 2332679 w 8312795"/>
              <a:gd name="connsiteY112" fmla="*/ 823096 h 2999232"/>
              <a:gd name="connsiteX113" fmla="*/ 2370850 w 8312795"/>
              <a:gd name="connsiteY113" fmla="*/ 841383 h 2999232"/>
              <a:gd name="connsiteX114" fmla="*/ 2384708 w 8312795"/>
              <a:gd name="connsiteY114" fmla="*/ 899474 h 2999232"/>
              <a:gd name="connsiteX115" fmla="*/ 2384708 w 8312795"/>
              <a:gd name="connsiteY115" fmla="*/ 1085101 h 2999232"/>
              <a:gd name="connsiteX116" fmla="*/ 2470776 w 8312795"/>
              <a:gd name="connsiteY116" fmla="*/ 1085101 h 2999232"/>
              <a:gd name="connsiteX117" fmla="*/ 2470655 w 8312795"/>
              <a:gd name="connsiteY117" fmla="*/ 1084862 h 2999232"/>
              <a:gd name="connsiteX118" fmla="*/ 2470655 w 8312795"/>
              <a:gd name="connsiteY118" fmla="*/ 878317 h 2999232"/>
              <a:gd name="connsiteX119" fmla="*/ 2466521 w 8312795"/>
              <a:gd name="connsiteY119" fmla="*/ 830984 h 2999232"/>
              <a:gd name="connsiteX120" fmla="*/ 2451447 w 8312795"/>
              <a:gd name="connsiteY120" fmla="*/ 789269 h 2999232"/>
              <a:gd name="connsiteX121" fmla="*/ 2420570 w 8312795"/>
              <a:gd name="connsiteY121" fmla="*/ 759626 h 2999232"/>
              <a:gd name="connsiteX122" fmla="*/ 2369878 w 8312795"/>
              <a:gd name="connsiteY122" fmla="*/ 748271 h 2999232"/>
              <a:gd name="connsiteX123" fmla="*/ 2695913 w 8312795"/>
              <a:gd name="connsiteY123" fmla="*/ 747913 h 2999232"/>
              <a:gd name="connsiteX124" fmla="*/ 2622975 w 8312795"/>
              <a:gd name="connsiteY124" fmla="*/ 761539 h 2999232"/>
              <a:gd name="connsiteX125" fmla="*/ 2567784 w 8312795"/>
              <a:gd name="connsiteY125" fmla="*/ 798473 h 2999232"/>
              <a:gd name="connsiteX126" fmla="*/ 2533017 w 8312795"/>
              <a:gd name="connsiteY126" fmla="*/ 852500 h 2999232"/>
              <a:gd name="connsiteX127" fmla="*/ 2520982 w 8312795"/>
              <a:gd name="connsiteY127" fmla="*/ 918001 h 2999232"/>
              <a:gd name="connsiteX128" fmla="*/ 2533260 w 8312795"/>
              <a:gd name="connsiteY128" fmla="*/ 981949 h 2999232"/>
              <a:gd name="connsiteX129" fmla="*/ 2568271 w 8312795"/>
              <a:gd name="connsiteY129" fmla="*/ 1035258 h 2999232"/>
              <a:gd name="connsiteX130" fmla="*/ 2623096 w 8312795"/>
              <a:gd name="connsiteY130" fmla="*/ 1071595 h 2999232"/>
              <a:gd name="connsiteX131" fmla="*/ 2695062 w 8312795"/>
              <a:gd name="connsiteY131" fmla="*/ 1084982 h 2999232"/>
              <a:gd name="connsiteX132" fmla="*/ 2695184 w 8312795"/>
              <a:gd name="connsiteY132" fmla="*/ 1084743 h 2999232"/>
              <a:gd name="connsiteX133" fmla="*/ 2790734 w 8312795"/>
              <a:gd name="connsiteY133" fmla="*/ 1060837 h 2999232"/>
              <a:gd name="connsiteX134" fmla="*/ 2849085 w 8312795"/>
              <a:gd name="connsiteY134" fmla="*/ 999758 h 2999232"/>
              <a:gd name="connsiteX135" fmla="*/ 2776511 w 8312795"/>
              <a:gd name="connsiteY135" fmla="*/ 979917 h 2999232"/>
              <a:gd name="connsiteX136" fmla="*/ 2745876 w 8312795"/>
              <a:gd name="connsiteY136" fmla="*/ 1011831 h 2999232"/>
              <a:gd name="connsiteX137" fmla="*/ 2698223 w 8312795"/>
              <a:gd name="connsiteY137" fmla="*/ 1023903 h 2999232"/>
              <a:gd name="connsiteX138" fmla="*/ 2666738 w 8312795"/>
              <a:gd name="connsiteY138" fmla="*/ 1018285 h 2999232"/>
              <a:gd name="connsiteX139" fmla="*/ 2639629 w 8312795"/>
              <a:gd name="connsiteY139" fmla="*/ 1002149 h 2999232"/>
              <a:gd name="connsiteX140" fmla="*/ 2620057 w 8312795"/>
              <a:gd name="connsiteY140" fmla="*/ 976690 h 2999232"/>
              <a:gd name="connsiteX141" fmla="*/ 2610575 w 8312795"/>
              <a:gd name="connsiteY141" fmla="*/ 942624 h 2999232"/>
              <a:gd name="connsiteX142" fmla="*/ 2866104 w 8312795"/>
              <a:gd name="connsiteY142" fmla="*/ 942624 h 2999232"/>
              <a:gd name="connsiteX143" fmla="*/ 2867684 w 8312795"/>
              <a:gd name="connsiteY143" fmla="*/ 930193 h 2999232"/>
              <a:gd name="connsiteX144" fmla="*/ 2868049 w 8312795"/>
              <a:gd name="connsiteY144" fmla="*/ 914655 h 2999232"/>
              <a:gd name="connsiteX145" fmla="*/ 2856379 w 8312795"/>
              <a:gd name="connsiteY145" fmla="*/ 851424 h 2999232"/>
              <a:gd name="connsiteX146" fmla="*/ 2822340 w 8312795"/>
              <a:gd name="connsiteY146" fmla="*/ 798115 h 2999232"/>
              <a:gd name="connsiteX147" fmla="*/ 2768123 w 8312795"/>
              <a:gd name="connsiteY147" fmla="*/ 761539 h 2999232"/>
              <a:gd name="connsiteX148" fmla="*/ 2695913 w 8312795"/>
              <a:gd name="connsiteY148" fmla="*/ 747913 h 2999232"/>
              <a:gd name="connsiteX149" fmla="*/ 3534223 w 8312795"/>
              <a:gd name="connsiteY149" fmla="*/ 745403 h 2999232"/>
              <a:gd name="connsiteX150" fmla="*/ 3460555 w 8312795"/>
              <a:gd name="connsiteY150" fmla="*/ 759268 h 2999232"/>
              <a:gd name="connsiteX151" fmla="*/ 3405121 w 8312795"/>
              <a:gd name="connsiteY151" fmla="*/ 796800 h 2999232"/>
              <a:gd name="connsiteX152" fmla="*/ 3370232 w 8312795"/>
              <a:gd name="connsiteY152" fmla="*/ 851305 h 2999232"/>
              <a:gd name="connsiteX153" fmla="*/ 3358076 w 8312795"/>
              <a:gd name="connsiteY153" fmla="*/ 916806 h 2999232"/>
              <a:gd name="connsiteX154" fmla="*/ 3370232 w 8312795"/>
              <a:gd name="connsiteY154" fmla="*/ 981710 h 2999232"/>
              <a:gd name="connsiteX155" fmla="*/ 3405121 w 8312795"/>
              <a:gd name="connsiteY155" fmla="*/ 1036215 h 2999232"/>
              <a:gd name="connsiteX156" fmla="*/ 3460555 w 8312795"/>
              <a:gd name="connsiteY156" fmla="*/ 1073746 h 2999232"/>
              <a:gd name="connsiteX157" fmla="*/ 3534223 w 8312795"/>
              <a:gd name="connsiteY157" fmla="*/ 1087612 h 2999232"/>
              <a:gd name="connsiteX158" fmla="*/ 3607891 w 8312795"/>
              <a:gd name="connsiteY158" fmla="*/ 1073746 h 2999232"/>
              <a:gd name="connsiteX159" fmla="*/ 3663081 w 8312795"/>
              <a:gd name="connsiteY159" fmla="*/ 1036215 h 2999232"/>
              <a:gd name="connsiteX160" fmla="*/ 3697727 w 8312795"/>
              <a:gd name="connsiteY160" fmla="*/ 981710 h 2999232"/>
              <a:gd name="connsiteX161" fmla="*/ 3709884 w 8312795"/>
              <a:gd name="connsiteY161" fmla="*/ 916806 h 2999232"/>
              <a:gd name="connsiteX162" fmla="*/ 3697727 w 8312795"/>
              <a:gd name="connsiteY162" fmla="*/ 851305 h 2999232"/>
              <a:gd name="connsiteX163" fmla="*/ 3662838 w 8312795"/>
              <a:gd name="connsiteY163" fmla="*/ 796800 h 2999232"/>
              <a:gd name="connsiteX164" fmla="*/ 3607648 w 8312795"/>
              <a:gd name="connsiteY164" fmla="*/ 759268 h 2999232"/>
              <a:gd name="connsiteX165" fmla="*/ 3534223 w 8312795"/>
              <a:gd name="connsiteY165" fmla="*/ 745403 h 2999232"/>
              <a:gd name="connsiteX166" fmla="*/ 3142420 w 8312795"/>
              <a:gd name="connsiteY166" fmla="*/ 630417 h 2999232"/>
              <a:gd name="connsiteX167" fmla="*/ 3047356 w 8312795"/>
              <a:gd name="connsiteY167" fmla="*/ 650020 h 2999232"/>
              <a:gd name="connsiteX168" fmla="*/ 2976727 w 8312795"/>
              <a:gd name="connsiteY168" fmla="*/ 701178 h 2999232"/>
              <a:gd name="connsiteX169" fmla="*/ 2932721 w 8312795"/>
              <a:gd name="connsiteY169" fmla="*/ 772894 h 2999232"/>
              <a:gd name="connsiteX170" fmla="*/ 2917659 w 8312795"/>
              <a:gd name="connsiteY170" fmla="*/ 853993 h 2999232"/>
              <a:gd name="connsiteX171" fmla="*/ 2917647 w 8312795"/>
              <a:gd name="connsiteY171" fmla="*/ 853934 h 2999232"/>
              <a:gd name="connsiteX172" fmla="*/ 2917647 w 8312795"/>
              <a:gd name="connsiteY172" fmla="*/ 854054 h 2999232"/>
              <a:gd name="connsiteX173" fmla="*/ 2917659 w 8312795"/>
              <a:gd name="connsiteY173" fmla="*/ 853993 h 2999232"/>
              <a:gd name="connsiteX174" fmla="*/ 2934058 w 8312795"/>
              <a:gd name="connsiteY174" fmla="*/ 938202 h 2999232"/>
              <a:gd name="connsiteX175" fmla="*/ 2979645 w 8312795"/>
              <a:gd name="connsiteY175" fmla="*/ 1012070 h 2999232"/>
              <a:gd name="connsiteX176" fmla="*/ 3049301 w 8312795"/>
              <a:gd name="connsiteY176" fmla="*/ 1064782 h 2999232"/>
              <a:gd name="connsiteX177" fmla="*/ 3138530 w 8312795"/>
              <a:gd name="connsiteY177" fmla="*/ 1084982 h 2999232"/>
              <a:gd name="connsiteX178" fmla="*/ 3195057 w 8312795"/>
              <a:gd name="connsiteY178" fmla="*/ 1078049 h 2999232"/>
              <a:gd name="connsiteX179" fmla="*/ 3249275 w 8312795"/>
              <a:gd name="connsiteY179" fmla="*/ 1057849 h 2999232"/>
              <a:gd name="connsiteX180" fmla="*/ 3294862 w 8312795"/>
              <a:gd name="connsiteY180" fmla="*/ 1025337 h 2999232"/>
              <a:gd name="connsiteX181" fmla="*/ 3325982 w 8312795"/>
              <a:gd name="connsiteY181" fmla="*/ 980873 h 2999232"/>
              <a:gd name="connsiteX182" fmla="*/ 3253408 w 8312795"/>
              <a:gd name="connsiteY182" fmla="*/ 939875 h 2999232"/>
              <a:gd name="connsiteX183" fmla="*/ 3232864 w 8312795"/>
              <a:gd name="connsiteY183" fmla="*/ 971191 h 2999232"/>
              <a:gd name="connsiteX184" fmla="*/ 3204904 w 8312795"/>
              <a:gd name="connsiteY184" fmla="*/ 992348 h 2999232"/>
              <a:gd name="connsiteX185" fmla="*/ 3173176 w 8312795"/>
              <a:gd name="connsiteY185" fmla="*/ 1004300 h 2999232"/>
              <a:gd name="connsiteX186" fmla="*/ 3141083 w 8312795"/>
              <a:gd name="connsiteY186" fmla="*/ 1008125 h 2999232"/>
              <a:gd name="connsiteX187" fmla="*/ 3086865 w 8312795"/>
              <a:gd name="connsiteY187" fmla="*/ 995455 h 2999232"/>
              <a:gd name="connsiteX188" fmla="*/ 3044439 w 8312795"/>
              <a:gd name="connsiteY188" fmla="*/ 961988 h 2999232"/>
              <a:gd name="connsiteX189" fmla="*/ 3017087 w 8312795"/>
              <a:gd name="connsiteY189" fmla="*/ 913698 h 2999232"/>
              <a:gd name="connsiteX190" fmla="*/ 3007483 w 8312795"/>
              <a:gd name="connsiteY190" fmla="*/ 856564 h 2999232"/>
              <a:gd name="connsiteX191" fmla="*/ 3015871 w 8312795"/>
              <a:gd name="connsiteY191" fmla="*/ 803135 h 2999232"/>
              <a:gd name="connsiteX192" fmla="*/ 3040670 w 8312795"/>
              <a:gd name="connsiteY192" fmla="*/ 755204 h 2999232"/>
              <a:gd name="connsiteX193" fmla="*/ 3081759 w 8312795"/>
              <a:gd name="connsiteY193" fmla="*/ 720780 h 2999232"/>
              <a:gd name="connsiteX194" fmla="*/ 3139867 w 8312795"/>
              <a:gd name="connsiteY194" fmla="*/ 707513 h 2999232"/>
              <a:gd name="connsiteX195" fmla="*/ 3171352 w 8312795"/>
              <a:gd name="connsiteY195" fmla="*/ 710979 h 2999232"/>
              <a:gd name="connsiteX196" fmla="*/ 3202230 w 8312795"/>
              <a:gd name="connsiteY196" fmla="*/ 721975 h 2999232"/>
              <a:gd name="connsiteX197" fmla="*/ 3229825 w 8312795"/>
              <a:gd name="connsiteY197" fmla="*/ 742534 h 2999232"/>
              <a:gd name="connsiteX198" fmla="*/ 3251706 w 8312795"/>
              <a:gd name="connsiteY198" fmla="*/ 774448 h 2999232"/>
              <a:gd name="connsiteX199" fmla="*/ 3319783 w 8312795"/>
              <a:gd name="connsiteY199" fmla="*/ 728310 h 2999232"/>
              <a:gd name="connsiteX200" fmla="*/ 3251342 w 8312795"/>
              <a:gd name="connsiteY200" fmla="*/ 657550 h 2999232"/>
              <a:gd name="connsiteX201" fmla="*/ 3142420 w 8312795"/>
              <a:gd name="connsiteY201" fmla="*/ 630417 h 2999232"/>
              <a:gd name="connsiteX202" fmla="*/ 1371711 w 8312795"/>
              <a:gd name="connsiteY202" fmla="*/ 630417 h 2999232"/>
              <a:gd name="connsiteX203" fmla="*/ 1276647 w 8312795"/>
              <a:gd name="connsiteY203" fmla="*/ 650020 h 2999232"/>
              <a:gd name="connsiteX204" fmla="*/ 1206018 w 8312795"/>
              <a:gd name="connsiteY204" fmla="*/ 701178 h 2999232"/>
              <a:gd name="connsiteX205" fmla="*/ 1162012 w 8312795"/>
              <a:gd name="connsiteY205" fmla="*/ 772894 h 2999232"/>
              <a:gd name="connsiteX206" fmla="*/ 1146950 w 8312795"/>
              <a:gd name="connsiteY206" fmla="*/ 853993 h 2999232"/>
              <a:gd name="connsiteX207" fmla="*/ 1146938 w 8312795"/>
              <a:gd name="connsiteY207" fmla="*/ 853934 h 2999232"/>
              <a:gd name="connsiteX208" fmla="*/ 1146938 w 8312795"/>
              <a:gd name="connsiteY208" fmla="*/ 854054 h 2999232"/>
              <a:gd name="connsiteX209" fmla="*/ 1146950 w 8312795"/>
              <a:gd name="connsiteY209" fmla="*/ 853993 h 2999232"/>
              <a:gd name="connsiteX210" fmla="*/ 1163349 w 8312795"/>
              <a:gd name="connsiteY210" fmla="*/ 938202 h 2999232"/>
              <a:gd name="connsiteX211" fmla="*/ 1208936 w 8312795"/>
              <a:gd name="connsiteY211" fmla="*/ 1012070 h 2999232"/>
              <a:gd name="connsiteX212" fmla="*/ 1278592 w 8312795"/>
              <a:gd name="connsiteY212" fmla="*/ 1064782 h 2999232"/>
              <a:gd name="connsiteX213" fmla="*/ 1367821 w 8312795"/>
              <a:gd name="connsiteY213" fmla="*/ 1084982 h 2999232"/>
              <a:gd name="connsiteX214" fmla="*/ 1424348 w 8312795"/>
              <a:gd name="connsiteY214" fmla="*/ 1078049 h 2999232"/>
              <a:gd name="connsiteX215" fmla="*/ 1478688 w 8312795"/>
              <a:gd name="connsiteY215" fmla="*/ 1057849 h 2999232"/>
              <a:gd name="connsiteX216" fmla="*/ 1524274 w 8312795"/>
              <a:gd name="connsiteY216" fmla="*/ 1025337 h 2999232"/>
              <a:gd name="connsiteX217" fmla="*/ 1555395 w 8312795"/>
              <a:gd name="connsiteY217" fmla="*/ 980873 h 2999232"/>
              <a:gd name="connsiteX218" fmla="*/ 1482821 w 8312795"/>
              <a:gd name="connsiteY218" fmla="*/ 939875 h 2999232"/>
              <a:gd name="connsiteX219" fmla="*/ 1462276 w 8312795"/>
              <a:gd name="connsiteY219" fmla="*/ 971191 h 2999232"/>
              <a:gd name="connsiteX220" fmla="*/ 1434317 w 8312795"/>
              <a:gd name="connsiteY220" fmla="*/ 992348 h 2999232"/>
              <a:gd name="connsiteX221" fmla="*/ 1402588 w 8312795"/>
              <a:gd name="connsiteY221" fmla="*/ 1004300 h 2999232"/>
              <a:gd name="connsiteX222" fmla="*/ 1370495 w 8312795"/>
              <a:gd name="connsiteY222" fmla="*/ 1008125 h 2999232"/>
              <a:gd name="connsiteX223" fmla="*/ 1316277 w 8312795"/>
              <a:gd name="connsiteY223" fmla="*/ 995455 h 2999232"/>
              <a:gd name="connsiteX224" fmla="*/ 1273851 w 8312795"/>
              <a:gd name="connsiteY224" fmla="*/ 961988 h 2999232"/>
              <a:gd name="connsiteX225" fmla="*/ 1246499 w 8312795"/>
              <a:gd name="connsiteY225" fmla="*/ 913698 h 2999232"/>
              <a:gd name="connsiteX226" fmla="*/ 1236896 w 8312795"/>
              <a:gd name="connsiteY226" fmla="*/ 856564 h 2999232"/>
              <a:gd name="connsiteX227" fmla="*/ 1245284 w 8312795"/>
              <a:gd name="connsiteY227" fmla="*/ 803135 h 2999232"/>
              <a:gd name="connsiteX228" fmla="*/ 1269961 w 8312795"/>
              <a:gd name="connsiteY228" fmla="*/ 755204 h 2999232"/>
              <a:gd name="connsiteX229" fmla="*/ 1311050 w 8312795"/>
              <a:gd name="connsiteY229" fmla="*/ 720780 h 2999232"/>
              <a:gd name="connsiteX230" fmla="*/ 1369158 w 8312795"/>
              <a:gd name="connsiteY230" fmla="*/ 707513 h 2999232"/>
              <a:gd name="connsiteX231" fmla="*/ 1400643 w 8312795"/>
              <a:gd name="connsiteY231" fmla="*/ 710979 h 2999232"/>
              <a:gd name="connsiteX232" fmla="*/ 1431521 w 8312795"/>
              <a:gd name="connsiteY232" fmla="*/ 721975 h 2999232"/>
              <a:gd name="connsiteX233" fmla="*/ 1459116 w 8312795"/>
              <a:gd name="connsiteY233" fmla="*/ 742534 h 2999232"/>
              <a:gd name="connsiteX234" fmla="*/ 1480997 w 8312795"/>
              <a:gd name="connsiteY234" fmla="*/ 774448 h 2999232"/>
              <a:gd name="connsiteX235" fmla="*/ 1549074 w 8312795"/>
              <a:gd name="connsiteY235" fmla="*/ 728310 h 2999232"/>
              <a:gd name="connsiteX236" fmla="*/ 1480633 w 8312795"/>
              <a:gd name="connsiteY236" fmla="*/ 657550 h 2999232"/>
              <a:gd name="connsiteX237" fmla="*/ 1371711 w 8312795"/>
              <a:gd name="connsiteY237" fmla="*/ 630417 h 2999232"/>
              <a:gd name="connsiteX238" fmla="*/ 1795121 w 8312795"/>
              <a:gd name="connsiteY238" fmla="*/ 624082 h 2999232"/>
              <a:gd name="connsiteX239" fmla="*/ 1795121 w 8312795"/>
              <a:gd name="connsiteY239" fmla="*/ 708110 h 2999232"/>
              <a:gd name="connsiteX240" fmla="*/ 1881189 w 8312795"/>
              <a:gd name="connsiteY240" fmla="*/ 708110 h 2999232"/>
              <a:gd name="connsiteX241" fmla="*/ 1881189 w 8312795"/>
              <a:gd name="connsiteY241" fmla="*/ 624082 h 2999232"/>
              <a:gd name="connsiteX242" fmla="*/ 1598186 w 8312795"/>
              <a:gd name="connsiteY242" fmla="*/ 619181 h 2999232"/>
              <a:gd name="connsiteX243" fmla="*/ 1598186 w 8312795"/>
              <a:gd name="connsiteY243" fmla="*/ 1003822 h 2999232"/>
              <a:gd name="connsiteX244" fmla="*/ 1620311 w 8312795"/>
              <a:gd name="connsiteY244" fmla="*/ 1064184 h 2999232"/>
              <a:gd name="connsiteX245" fmla="*/ 1621162 w 8312795"/>
              <a:gd name="connsiteY245" fmla="*/ 1065020 h 2999232"/>
              <a:gd name="connsiteX246" fmla="*/ 1634169 w 8312795"/>
              <a:gd name="connsiteY246" fmla="*/ 1074343 h 2999232"/>
              <a:gd name="connsiteX247" fmla="*/ 1644502 w 8312795"/>
              <a:gd name="connsiteY247" fmla="*/ 1079005 h 2999232"/>
              <a:gd name="connsiteX248" fmla="*/ 1696532 w 8312795"/>
              <a:gd name="connsiteY248" fmla="*/ 1084981 h 2999232"/>
              <a:gd name="connsiteX249" fmla="*/ 1701151 w 8312795"/>
              <a:gd name="connsiteY249" fmla="*/ 1084742 h 2999232"/>
              <a:gd name="connsiteX250" fmla="*/ 1706014 w 8312795"/>
              <a:gd name="connsiteY250" fmla="*/ 1084384 h 2999232"/>
              <a:gd name="connsiteX251" fmla="*/ 1710755 w 8312795"/>
              <a:gd name="connsiteY251" fmla="*/ 1083906 h 2999232"/>
              <a:gd name="connsiteX252" fmla="*/ 1715496 w 8312795"/>
              <a:gd name="connsiteY252" fmla="*/ 1083308 h 2999232"/>
              <a:gd name="connsiteX253" fmla="*/ 1720237 w 8312795"/>
              <a:gd name="connsiteY253" fmla="*/ 1082591 h 2999232"/>
              <a:gd name="connsiteX254" fmla="*/ 1725099 w 8312795"/>
              <a:gd name="connsiteY254" fmla="*/ 1081635 h 2999232"/>
              <a:gd name="connsiteX255" fmla="*/ 1727652 w 8312795"/>
              <a:gd name="connsiteY255" fmla="*/ 1081037 h 2999232"/>
              <a:gd name="connsiteX256" fmla="*/ 1733001 w 8312795"/>
              <a:gd name="connsiteY256" fmla="*/ 1079483 h 2999232"/>
              <a:gd name="connsiteX257" fmla="*/ 1734946 w 8312795"/>
              <a:gd name="connsiteY257" fmla="*/ 1078886 h 2999232"/>
              <a:gd name="connsiteX258" fmla="*/ 1723154 w 8312795"/>
              <a:gd name="connsiteY258" fmla="*/ 1005137 h 2999232"/>
              <a:gd name="connsiteX259" fmla="*/ 1695194 w 8312795"/>
              <a:gd name="connsiteY259" fmla="*/ 1006691 h 2999232"/>
              <a:gd name="connsiteX260" fmla="*/ 1695073 w 8312795"/>
              <a:gd name="connsiteY260" fmla="*/ 1006691 h 2999232"/>
              <a:gd name="connsiteX261" fmla="*/ 1684254 w 8312795"/>
              <a:gd name="connsiteY261" fmla="*/ 976689 h 2999232"/>
              <a:gd name="connsiteX262" fmla="*/ 1684254 w 8312795"/>
              <a:gd name="connsiteY262" fmla="*/ 619181 h 2999232"/>
              <a:gd name="connsiteX263" fmla="*/ 576725 w 8312795"/>
              <a:gd name="connsiteY263" fmla="*/ 564647 h 2999232"/>
              <a:gd name="connsiteX264" fmla="*/ 490003 w 8312795"/>
              <a:gd name="connsiteY264" fmla="*/ 600057 h 2999232"/>
              <a:gd name="connsiteX265" fmla="*/ 490003 w 8312795"/>
              <a:gd name="connsiteY265" fmla="*/ 770624 h 2999232"/>
              <a:gd name="connsiteX266" fmla="*/ 663476 w 8312795"/>
              <a:gd name="connsiteY266" fmla="*/ 770624 h 2999232"/>
              <a:gd name="connsiteX267" fmla="*/ 837070 w 8312795"/>
              <a:gd name="connsiteY267" fmla="*/ 770624 h 2999232"/>
              <a:gd name="connsiteX268" fmla="*/ 837070 w 8312795"/>
              <a:gd name="connsiteY268" fmla="*/ 941309 h 2999232"/>
              <a:gd name="connsiteX269" fmla="*/ 837070 w 8312795"/>
              <a:gd name="connsiteY269" fmla="*/ 1111876 h 2999232"/>
              <a:gd name="connsiteX270" fmla="*/ 1010664 w 8312795"/>
              <a:gd name="connsiteY270" fmla="*/ 1111876 h 2999232"/>
              <a:gd name="connsiteX271" fmla="*/ 1010664 w 8312795"/>
              <a:gd name="connsiteY271" fmla="*/ 941309 h 2999232"/>
              <a:gd name="connsiteX272" fmla="*/ 1010664 w 8312795"/>
              <a:gd name="connsiteY272" fmla="*/ 770624 h 2999232"/>
              <a:gd name="connsiteX273" fmla="*/ 1010543 w 8312795"/>
              <a:gd name="connsiteY273" fmla="*/ 770624 h 2999232"/>
              <a:gd name="connsiteX274" fmla="*/ 1010543 w 8312795"/>
              <a:gd name="connsiteY274" fmla="*/ 600057 h 2999232"/>
              <a:gd name="connsiteX275" fmla="*/ 836949 w 8312795"/>
              <a:gd name="connsiteY275" fmla="*/ 600057 h 2999232"/>
              <a:gd name="connsiteX276" fmla="*/ 663355 w 8312795"/>
              <a:gd name="connsiteY276" fmla="*/ 600057 h 2999232"/>
              <a:gd name="connsiteX277" fmla="*/ 576725 w 8312795"/>
              <a:gd name="connsiteY277" fmla="*/ 564647 h 2999232"/>
              <a:gd name="connsiteX278" fmla="*/ 0 w 8312795"/>
              <a:gd name="connsiteY278" fmla="*/ 0 h 2999232"/>
              <a:gd name="connsiteX279" fmla="*/ 7880428 w 8312795"/>
              <a:gd name="connsiteY279" fmla="*/ 0 h 2999232"/>
              <a:gd name="connsiteX280" fmla="*/ 8312795 w 8312795"/>
              <a:gd name="connsiteY280" fmla="*/ 275419 h 2999232"/>
              <a:gd name="connsiteX281" fmla="*/ 8312795 w 8312795"/>
              <a:gd name="connsiteY281" fmla="*/ 2723813 h 2999232"/>
              <a:gd name="connsiteX282" fmla="*/ 7880428 w 8312795"/>
              <a:gd name="connsiteY282" fmla="*/ 2999232 h 2999232"/>
              <a:gd name="connsiteX283" fmla="*/ 0 w 8312795"/>
              <a:gd name="connsiteY283" fmla="*/ 2999232 h 299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8312795" h="2999232">
                <a:moveTo>
                  <a:pt x="1027075" y="1126219"/>
                </a:moveTo>
                <a:lnTo>
                  <a:pt x="1028413" y="1126219"/>
                </a:lnTo>
                <a:cubicBezTo>
                  <a:pt x="1030358" y="1126219"/>
                  <a:pt x="1031573" y="1126338"/>
                  <a:pt x="1032059" y="1126458"/>
                </a:cubicBezTo>
                <a:cubicBezTo>
                  <a:pt x="1032546" y="1126577"/>
                  <a:pt x="1032910" y="1126816"/>
                  <a:pt x="1033154" y="1127175"/>
                </a:cubicBezTo>
                <a:cubicBezTo>
                  <a:pt x="1033397" y="1127534"/>
                  <a:pt x="1033518" y="1128012"/>
                  <a:pt x="1033518" y="1128370"/>
                </a:cubicBezTo>
                <a:cubicBezTo>
                  <a:pt x="1033518" y="1128729"/>
                  <a:pt x="1033397" y="1129207"/>
                  <a:pt x="1033154" y="1129566"/>
                </a:cubicBezTo>
                <a:cubicBezTo>
                  <a:pt x="1032910" y="1130044"/>
                  <a:pt x="1032546" y="1130283"/>
                  <a:pt x="1032059" y="1130402"/>
                </a:cubicBezTo>
                <a:cubicBezTo>
                  <a:pt x="1031573" y="1130641"/>
                  <a:pt x="1030358" y="1130641"/>
                  <a:pt x="1028413" y="1130641"/>
                </a:cubicBezTo>
                <a:lnTo>
                  <a:pt x="1027075" y="1130641"/>
                </a:lnTo>
                <a:close/>
                <a:moveTo>
                  <a:pt x="1023672" y="1123589"/>
                </a:moveTo>
                <a:lnTo>
                  <a:pt x="1023672" y="1139965"/>
                </a:lnTo>
                <a:lnTo>
                  <a:pt x="1023793" y="1139965"/>
                </a:lnTo>
                <a:lnTo>
                  <a:pt x="1027197" y="1139965"/>
                </a:lnTo>
                <a:lnTo>
                  <a:pt x="1027197" y="1133271"/>
                </a:lnTo>
                <a:lnTo>
                  <a:pt x="1028048" y="1133271"/>
                </a:lnTo>
                <a:cubicBezTo>
                  <a:pt x="1028899" y="1133271"/>
                  <a:pt x="1029750" y="1133510"/>
                  <a:pt x="1030358" y="1133988"/>
                </a:cubicBezTo>
                <a:cubicBezTo>
                  <a:pt x="1030965" y="1134466"/>
                  <a:pt x="1031695" y="1135542"/>
                  <a:pt x="1032667" y="1137335"/>
                </a:cubicBezTo>
                <a:lnTo>
                  <a:pt x="1034126" y="1139965"/>
                </a:lnTo>
                <a:lnTo>
                  <a:pt x="1038259" y="1139965"/>
                </a:lnTo>
                <a:lnTo>
                  <a:pt x="1036314" y="1136618"/>
                </a:lnTo>
                <a:cubicBezTo>
                  <a:pt x="1035706" y="1135422"/>
                  <a:pt x="1035220" y="1134705"/>
                  <a:pt x="1035099" y="1134586"/>
                </a:cubicBezTo>
                <a:cubicBezTo>
                  <a:pt x="1034612" y="1133869"/>
                  <a:pt x="1034248" y="1133510"/>
                  <a:pt x="1034004" y="1133271"/>
                </a:cubicBezTo>
                <a:cubicBezTo>
                  <a:pt x="1033640" y="1133032"/>
                  <a:pt x="1033275" y="1132912"/>
                  <a:pt x="1032789" y="1132673"/>
                </a:cubicBezTo>
                <a:cubicBezTo>
                  <a:pt x="1034248" y="1132434"/>
                  <a:pt x="1035342" y="1131956"/>
                  <a:pt x="1036071" y="1131119"/>
                </a:cubicBezTo>
                <a:cubicBezTo>
                  <a:pt x="1036922" y="1130283"/>
                  <a:pt x="1037287" y="1129327"/>
                  <a:pt x="1037287" y="1128131"/>
                </a:cubicBezTo>
                <a:cubicBezTo>
                  <a:pt x="1037287" y="1127175"/>
                  <a:pt x="1037044" y="1126458"/>
                  <a:pt x="1036679" y="1125741"/>
                </a:cubicBezTo>
                <a:cubicBezTo>
                  <a:pt x="1036193" y="1125024"/>
                  <a:pt x="1035706" y="1124545"/>
                  <a:pt x="1035099" y="1124187"/>
                </a:cubicBezTo>
                <a:cubicBezTo>
                  <a:pt x="1034369" y="1123948"/>
                  <a:pt x="1033518" y="1123589"/>
                  <a:pt x="1032424" y="1123589"/>
                </a:cubicBezTo>
                <a:cubicBezTo>
                  <a:pt x="1032059" y="1123589"/>
                  <a:pt x="1030236" y="1123589"/>
                  <a:pt x="1027075" y="1123589"/>
                </a:cubicBezTo>
                <a:close/>
                <a:moveTo>
                  <a:pt x="1030844" y="1119286"/>
                </a:moveTo>
                <a:cubicBezTo>
                  <a:pt x="1033032" y="1119286"/>
                  <a:pt x="1035099" y="1119764"/>
                  <a:pt x="1037044" y="1120840"/>
                </a:cubicBezTo>
                <a:cubicBezTo>
                  <a:pt x="1039110" y="1121916"/>
                  <a:pt x="1040691" y="1123350"/>
                  <a:pt x="1041785" y="1125382"/>
                </a:cubicBezTo>
                <a:cubicBezTo>
                  <a:pt x="1042879" y="1127295"/>
                  <a:pt x="1043487" y="1129446"/>
                  <a:pt x="1043487" y="1131598"/>
                </a:cubicBezTo>
                <a:cubicBezTo>
                  <a:pt x="1043487" y="1133749"/>
                  <a:pt x="1042879" y="1135901"/>
                  <a:pt x="1041785" y="1137813"/>
                </a:cubicBezTo>
                <a:cubicBezTo>
                  <a:pt x="1040691" y="1139725"/>
                  <a:pt x="1039110" y="1141279"/>
                  <a:pt x="1037165" y="1142355"/>
                </a:cubicBezTo>
                <a:cubicBezTo>
                  <a:pt x="1035099" y="1143431"/>
                  <a:pt x="1033032" y="1144028"/>
                  <a:pt x="1030844" y="1144028"/>
                </a:cubicBezTo>
                <a:cubicBezTo>
                  <a:pt x="1028656" y="1144028"/>
                  <a:pt x="1026468" y="1143431"/>
                  <a:pt x="1024522" y="1142355"/>
                </a:cubicBezTo>
                <a:cubicBezTo>
                  <a:pt x="1022577" y="1141279"/>
                  <a:pt x="1020997" y="1139725"/>
                  <a:pt x="1019903" y="1137813"/>
                </a:cubicBezTo>
                <a:cubicBezTo>
                  <a:pt x="1018809" y="1135781"/>
                  <a:pt x="1018201" y="1133749"/>
                  <a:pt x="1018201" y="1131598"/>
                </a:cubicBezTo>
                <a:cubicBezTo>
                  <a:pt x="1018201" y="1129446"/>
                  <a:pt x="1018809" y="1127414"/>
                  <a:pt x="1019903" y="1125382"/>
                </a:cubicBezTo>
                <a:cubicBezTo>
                  <a:pt x="1021119" y="1123470"/>
                  <a:pt x="1022699" y="1121916"/>
                  <a:pt x="1024644" y="1120840"/>
                </a:cubicBezTo>
                <a:cubicBezTo>
                  <a:pt x="1026589" y="1119764"/>
                  <a:pt x="1028656" y="1119286"/>
                  <a:pt x="1030844" y="1119286"/>
                </a:cubicBezTo>
                <a:close/>
                <a:moveTo>
                  <a:pt x="1030844" y="1116298"/>
                </a:moveTo>
                <a:cubicBezTo>
                  <a:pt x="1028169" y="1116298"/>
                  <a:pt x="1025495" y="1117015"/>
                  <a:pt x="1023064" y="1118330"/>
                </a:cubicBezTo>
                <a:cubicBezTo>
                  <a:pt x="1020632" y="1119764"/>
                  <a:pt x="1018687" y="1121557"/>
                  <a:pt x="1017229" y="1124067"/>
                </a:cubicBezTo>
                <a:cubicBezTo>
                  <a:pt x="1015891" y="1126577"/>
                  <a:pt x="1015162" y="1129207"/>
                  <a:pt x="1015162" y="1131837"/>
                </a:cubicBezTo>
                <a:cubicBezTo>
                  <a:pt x="1015162" y="1134466"/>
                  <a:pt x="1015891" y="1137096"/>
                  <a:pt x="1017229" y="1139486"/>
                </a:cubicBezTo>
                <a:cubicBezTo>
                  <a:pt x="1018687" y="1141996"/>
                  <a:pt x="1020632" y="1143909"/>
                  <a:pt x="1023064" y="1145224"/>
                </a:cubicBezTo>
                <a:cubicBezTo>
                  <a:pt x="1025495" y="1146539"/>
                  <a:pt x="1028169" y="1147256"/>
                  <a:pt x="1030844" y="1147256"/>
                </a:cubicBezTo>
                <a:cubicBezTo>
                  <a:pt x="1033518" y="1147256"/>
                  <a:pt x="1036193" y="1146539"/>
                  <a:pt x="1038624" y="1145224"/>
                </a:cubicBezTo>
                <a:cubicBezTo>
                  <a:pt x="1041177" y="1143789"/>
                  <a:pt x="1043122" y="1141877"/>
                  <a:pt x="1044459" y="1139486"/>
                </a:cubicBezTo>
                <a:cubicBezTo>
                  <a:pt x="1045796" y="1137096"/>
                  <a:pt x="1046526" y="1134586"/>
                  <a:pt x="1046526" y="1131837"/>
                </a:cubicBezTo>
                <a:cubicBezTo>
                  <a:pt x="1046526" y="1129087"/>
                  <a:pt x="1045918" y="1126577"/>
                  <a:pt x="1044459" y="1124067"/>
                </a:cubicBezTo>
                <a:cubicBezTo>
                  <a:pt x="1043000" y="1121557"/>
                  <a:pt x="1041055" y="1119645"/>
                  <a:pt x="1038624" y="1118330"/>
                </a:cubicBezTo>
                <a:cubicBezTo>
                  <a:pt x="1036071" y="1117015"/>
                  <a:pt x="1033518" y="1116298"/>
                  <a:pt x="1030844" y="1116298"/>
                </a:cubicBezTo>
                <a:close/>
                <a:moveTo>
                  <a:pt x="577408" y="905570"/>
                </a:moveTo>
                <a:lnTo>
                  <a:pt x="577287" y="905690"/>
                </a:lnTo>
                <a:cubicBezTo>
                  <a:pt x="509575" y="905690"/>
                  <a:pt x="454628" y="959716"/>
                  <a:pt x="454628" y="1026293"/>
                </a:cubicBezTo>
                <a:cubicBezTo>
                  <a:pt x="454628" y="1092870"/>
                  <a:pt x="509697" y="1146777"/>
                  <a:pt x="577408" y="1146777"/>
                </a:cubicBezTo>
                <a:cubicBezTo>
                  <a:pt x="645120" y="1146777"/>
                  <a:pt x="700067" y="1092751"/>
                  <a:pt x="700067" y="1026174"/>
                </a:cubicBezTo>
                <a:cubicBezTo>
                  <a:pt x="700067" y="959597"/>
                  <a:pt x="645120" y="905570"/>
                  <a:pt x="577408" y="905570"/>
                </a:cubicBezTo>
                <a:close/>
                <a:moveTo>
                  <a:pt x="3534223" y="817120"/>
                </a:moveTo>
                <a:cubicBezTo>
                  <a:pt x="3546623" y="817120"/>
                  <a:pt x="3558171" y="819630"/>
                  <a:pt x="3568869" y="824411"/>
                </a:cubicBezTo>
                <a:cubicBezTo>
                  <a:pt x="3579445" y="829192"/>
                  <a:pt x="3588805" y="836005"/>
                  <a:pt x="3596707" y="844850"/>
                </a:cubicBezTo>
                <a:cubicBezTo>
                  <a:pt x="3604609" y="853695"/>
                  <a:pt x="3610809" y="864214"/>
                  <a:pt x="3615307" y="876406"/>
                </a:cubicBezTo>
                <a:cubicBezTo>
                  <a:pt x="3619804" y="888598"/>
                  <a:pt x="3621993" y="901267"/>
                  <a:pt x="3621993" y="916089"/>
                </a:cubicBezTo>
                <a:cubicBezTo>
                  <a:pt x="3621993" y="930910"/>
                  <a:pt x="3619804" y="944298"/>
                  <a:pt x="3615307" y="956489"/>
                </a:cubicBezTo>
                <a:cubicBezTo>
                  <a:pt x="3610809" y="968681"/>
                  <a:pt x="3604609" y="979200"/>
                  <a:pt x="3596707" y="988045"/>
                </a:cubicBezTo>
                <a:cubicBezTo>
                  <a:pt x="3588805" y="996890"/>
                  <a:pt x="3579567" y="1003703"/>
                  <a:pt x="3568869" y="1008484"/>
                </a:cubicBezTo>
                <a:cubicBezTo>
                  <a:pt x="3558171" y="1013385"/>
                  <a:pt x="3546623" y="1015775"/>
                  <a:pt x="3534223" y="1015775"/>
                </a:cubicBezTo>
                <a:cubicBezTo>
                  <a:pt x="3521823" y="1015775"/>
                  <a:pt x="3510275" y="1013265"/>
                  <a:pt x="3499577" y="1008484"/>
                </a:cubicBezTo>
                <a:cubicBezTo>
                  <a:pt x="3488879" y="1003703"/>
                  <a:pt x="3479641" y="996890"/>
                  <a:pt x="3471739" y="988045"/>
                </a:cubicBezTo>
                <a:cubicBezTo>
                  <a:pt x="3463837" y="979200"/>
                  <a:pt x="3457637" y="968801"/>
                  <a:pt x="3453139" y="956848"/>
                </a:cubicBezTo>
                <a:cubicBezTo>
                  <a:pt x="3448642" y="944895"/>
                  <a:pt x="3446453" y="931508"/>
                  <a:pt x="3446453" y="916806"/>
                </a:cubicBezTo>
                <a:lnTo>
                  <a:pt x="3446453" y="916687"/>
                </a:lnTo>
                <a:cubicBezTo>
                  <a:pt x="3446453" y="902463"/>
                  <a:pt x="3448642" y="889195"/>
                  <a:pt x="3453139" y="877003"/>
                </a:cubicBezTo>
                <a:cubicBezTo>
                  <a:pt x="3457637" y="864811"/>
                  <a:pt x="3463837" y="854293"/>
                  <a:pt x="3471739" y="845448"/>
                </a:cubicBezTo>
                <a:cubicBezTo>
                  <a:pt x="3479641" y="836603"/>
                  <a:pt x="3488879" y="829670"/>
                  <a:pt x="3499577" y="824650"/>
                </a:cubicBezTo>
                <a:cubicBezTo>
                  <a:pt x="3510275" y="819630"/>
                  <a:pt x="3521823" y="817120"/>
                  <a:pt x="3534223" y="817120"/>
                </a:cubicBezTo>
                <a:close/>
                <a:moveTo>
                  <a:pt x="2694576" y="808155"/>
                </a:moveTo>
                <a:cubicBezTo>
                  <a:pt x="2717673" y="808155"/>
                  <a:pt x="2737367" y="815446"/>
                  <a:pt x="2753535" y="830148"/>
                </a:cubicBezTo>
                <a:cubicBezTo>
                  <a:pt x="2769703" y="844731"/>
                  <a:pt x="2778942" y="864333"/>
                  <a:pt x="2781009" y="888717"/>
                </a:cubicBezTo>
                <a:lnTo>
                  <a:pt x="2781130" y="888836"/>
                </a:lnTo>
                <a:lnTo>
                  <a:pt x="2609481" y="888836"/>
                </a:lnTo>
                <a:cubicBezTo>
                  <a:pt x="2610332" y="876884"/>
                  <a:pt x="2613128" y="865887"/>
                  <a:pt x="2617990" y="855966"/>
                </a:cubicBezTo>
                <a:cubicBezTo>
                  <a:pt x="2622853" y="846045"/>
                  <a:pt x="2629053" y="837559"/>
                  <a:pt x="2636590" y="830507"/>
                </a:cubicBezTo>
                <a:cubicBezTo>
                  <a:pt x="2644127" y="823455"/>
                  <a:pt x="2652879" y="817956"/>
                  <a:pt x="2662726" y="814012"/>
                </a:cubicBezTo>
                <a:cubicBezTo>
                  <a:pt x="2672573" y="810068"/>
                  <a:pt x="2683271" y="808155"/>
                  <a:pt x="2694576" y="808155"/>
                </a:cubicBezTo>
                <a:close/>
                <a:moveTo>
                  <a:pt x="1795121" y="749586"/>
                </a:moveTo>
                <a:lnTo>
                  <a:pt x="1795121" y="1085101"/>
                </a:lnTo>
                <a:lnTo>
                  <a:pt x="1881189" y="1085101"/>
                </a:lnTo>
                <a:lnTo>
                  <a:pt x="1881189" y="749586"/>
                </a:lnTo>
                <a:close/>
                <a:moveTo>
                  <a:pt x="2369878" y="748271"/>
                </a:moveTo>
                <a:cubicBezTo>
                  <a:pt x="2342890" y="748271"/>
                  <a:pt x="2318942" y="754367"/>
                  <a:pt x="2297911" y="766320"/>
                </a:cubicBezTo>
                <a:cubicBezTo>
                  <a:pt x="2276881" y="778392"/>
                  <a:pt x="2259619" y="795724"/>
                  <a:pt x="2245882" y="818434"/>
                </a:cubicBezTo>
                <a:cubicBezTo>
                  <a:pt x="2241627" y="798712"/>
                  <a:pt x="2231780" y="782097"/>
                  <a:pt x="2216341" y="768591"/>
                </a:cubicBezTo>
                <a:cubicBezTo>
                  <a:pt x="2200903" y="755084"/>
                  <a:pt x="2178657" y="748391"/>
                  <a:pt x="2150818" y="748391"/>
                </a:cubicBezTo>
                <a:cubicBezTo>
                  <a:pt x="2122980" y="748391"/>
                  <a:pt x="2098302" y="754128"/>
                  <a:pt x="2076664" y="765722"/>
                </a:cubicBezTo>
                <a:cubicBezTo>
                  <a:pt x="2055025" y="777316"/>
                  <a:pt x="2038006" y="793931"/>
                  <a:pt x="2025607" y="815326"/>
                </a:cubicBezTo>
                <a:lnTo>
                  <a:pt x="2025607" y="749466"/>
                </a:lnTo>
                <a:lnTo>
                  <a:pt x="1947927" y="749466"/>
                </a:lnTo>
                <a:lnTo>
                  <a:pt x="1947927" y="1085101"/>
                </a:lnTo>
                <a:lnTo>
                  <a:pt x="2033995" y="1085101"/>
                </a:lnTo>
                <a:lnTo>
                  <a:pt x="2033995" y="891824"/>
                </a:lnTo>
                <a:cubicBezTo>
                  <a:pt x="2040438" y="871265"/>
                  <a:pt x="2051257" y="854651"/>
                  <a:pt x="2066453" y="841981"/>
                </a:cubicBezTo>
                <a:cubicBezTo>
                  <a:pt x="2081648" y="829430"/>
                  <a:pt x="2098181" y="823096"/>
                  <a:pt x="2114349" y="823096"/>
                </a:cubicBezTo>
                <a:cubicBezTo>
                  <a:pt x="2130517" y="823096"/>
                  <a:pt x="2143281" y="829191"/>
                  <a:pt x="2152520" y="841383"/>
                </a:cubicBezTo>
                <a:cubicBezTo>
                  <a:pt x="2161759" y="853575"/>
                  <a:pt x="2166379" y="872939"/>
                  <a:pt x="2166379" y="899474"/>
                </a:cubicBezTo>
                <a:lnTo>
                  <a:pt x="2166379" y="1085101"/>
                </a:lnTo>
                <a:lnTo>
                  <a:pt x="2252446" y="1085101"/>
                </a:lnTo>
                <a:lnTo>
                  <a:pt x="2252446" y="892541"/>
                </a:lnTo>
                <a:cubicBezTo>
                  <a:pt x="2258889" y="871982"/>
                  <a:pt x="2269587" y="855129"/>
                  <a:pt x="2284539" y="842340"/>
                </a:cubicBezTo>
                <a:cubicBezTo>
                  <a:pt x="2299492" y="829550"/>
                  <a:pt x="2315538" y="823096"/>
                  <a:pt x="2332679" y="823096"/>
                </a:cubicBezTo>
                <a:cubicBezTo>
                  <a:pt x="2348968" y="823096"/>
                  <a:pt x="2361611" y="829191"/>
                  <a:pt x="2370850" y="841383"/>
                </a:cubicBezTo>
                <a:cubicBezTo>
                  <a:pt x="2380089" y="853575"/>
                  <a:pt x="2384708" y="872939"/>
                  <a:pt x="2384708" y="899474"/>
                </a:cubicBezTo>
                <a:lnTo>
                  <a:pt x="2384708" y="1085101"/>
                </a:lnTo>
                <a:lnTo>
                  <a:pt x="2470776" y="1085101"/>
                </a:lnTo>
                <a:lnTo>
                  <a:pt x="2470655" y="1084862"/>
                </a:lnTo>
                <a:lnTo>
                  <a:pt x="2470655" y="878317"/>
                </a:lnTo>
                <a:cubicBezTo>
                  <a:pt x="2470655" y="862301"/>
                  <a:pt x="2469317" y="846523"/>
                  <a:pt x="2466521" y="830984"/>
                </a:cubicBezTo>
                <a:cubicBezTo>
                  <a:pt x="2463725" y="815326"/>
                  <a:pt x="2458741" y="801461"/>
                  <a:pt x="2451447" y="789269"/>
                </a:cubicBezTo>
                <a:cubicBezTo>
                  <a:pt x="2444153" y="777077"/>
                  <a:pt x="2433821" y="767156"/>
                  <a:pt x="2420570" y="759626"/>
                </a:cubicBezTo>
                <a:cubicBezTo>
                  <a:pt x="2407319" y="752096"/>
                  <a:pt x="2390422" y="748271"/>
                  <a:pt x="2369878" y="748271"/>
                </a:cubicBezTo>
                <a:close/>
                <a:moveTo>
                  <a:pt x="2695913" y="747913"/>
                </a:moveTo>
                <a:cubicBezTo>
                  <a:pt x="2668926" y="747913"/>
                  <a:pt x="2644613" y="752455"/>
                  <a:pt x="2622975" y="761539"/>
                </a:cubicBezTo>
                <a:cubicBezTo>
                  <a:pt x="2601336" y="770623"/>
                  <a:pt x="2582858" y="782935"/>
                  <a:pt x="2567784" y="798473"/>
                </a:cubicBezTo>
                <a:cubicBezTo>
                  <a:pt x="2552589" y="814012"/>
                  <a:pt x="2541040" y="832061"/>
                  <a:pt x="2533017" y="852500"/>
                </a:cubicBezTo>
                <a:cubicBezTo>
                  <a:pt x="2524994" y="873059"/>
                  <a:pt x="2520982" y="895650"/>
                  <a:pt x="2520982" y="918001"/>
                </a:cubicBezTo>
                <a:cubicBezTo>
                  <a:pt x="2520982" y="940353"/>
                  <a:pt x="2524994" y="961749"/>
                  <a:pt x="2533260" y="981949"/>
                </a:cubicBezTo>
                <a:cubicBezTo>
                  <a:pt x="2541405" y="1002149"/>
                  <a:pt x="2553075" y="1019959"/>
                  <a:pt x="2568271" y="1035258"/>
                </a:cubicBezTo>
                <a:cubicBezTo>
                  <a:pt x="2583344" y="1050677"/>
                  <a:pt x="2601701" y="1062750"/>
                  <a:pt x="2623096" y="1071595"/>
                </a:cubicBezTo>
                <a:cubicBezTo>
                  <a:pt x="2644613" y="1080559"/>
                  <a:pt x="2668561" y="1084982"/>
                  <a:pt x="2695062" y="1084982"/>
                </a:cubicBezTo>
                <a:lnTo>
                  <a:pt x="2695184" y="1084743"/>
                </a:lnTo>
                <a:cubicBezTo>
                  <a:pt x="2732140" y="1084743"/>
                  <a:pt x="2763989" y="1076734"/>
                  <a:pt x="2790734" y="1060837"/>
                </a:cubicBezTo>
                <a:cubicBezTo>
                  <a:pt x="2817478" y="1044940"/>
                  <a:pt x="2836928" y="1024620"/>
                  <a:pt x="2849085" y="999758"/>
                </a:cubicBezTo>
                <a:lnTo>
                  <a:pt x="2776511" y="979917"/>
                </a:lnTo>
                <a:cubicBezTo>
                  <a:pt x="2771040" y="993184"/>
                  <a:pt x="2760829" y="1003822"/>
                  <a:pt x="2745876" y="1011831"/>
                </a:cubicBezTo>
                <a:cubicBezTo>
                  <a:pt x="2730924" y="1019839"/>
                  <a:pt x="2714999" y="1023903"/>
                  <a:pt x="2698223" y="1023903"/>
                </a:cubicBezTo>
                <a:cubicBezTo>
                  <a:pt x="2687404" y="1023903"/>
                  <a:pt x="2676828" y="1021991"/>
                  <a:pt x="2666738" y="1018285"/>
                </a:cubicBezTo>
                <a:cubicBezTo>
                  <a:pt x="2656648" y="1014580"/>
                  <a:pt x="2647652" y="1009201"/>
                  <a:pt x="2639629" y="1002149"/>
                </a:cubicBezTo>
                <a:cubicBezTo>
                  <a:pt x="2631606" y="995097"/>
                  <a:pt x="2625041" y="986610"/>
                  <a:pt x="2620057" y="976690"/>
                </a:cubicBezTo>
                <a:cubicBezTo>
                  <a:pt x="2614951" y="966769"/>
                  <a:pt x="2611791" y="955414"/>
                  <a:pt x="2610575" y="942624"/>
                </a:cubicBezTo>
                <a:lnTo>
                  <a:pt x="2866104" y="942624"/>
                </a:lnTo>
                <a:cubicBezTo>
                  <a:pt x="2866955" y="939277"/>
                  <a:pt x="2867441" y="935213"/>
                  <a:pt x="2867684" y="930193"/>
                </a:cubicBezTo>
                <a:cubicBezTo>
                  <a:pt x="2868049" y="925173"/>
                  <a:pt x="2868049" y="920033"/>
                  <a:pt x="2868049" y="914655"/>
                </a:cubicBezTo>
                <a:cubicBezTo>
                  <a:pt x="2868049" y="892781"/>
                  <a:pt x="2864159" y="871744"/>
                  <a:pt x="2856379" y="851424"/>
                </a:cubicBezTo>
                <a:cubicBezTo>
                  <a:pt x="2848598" y="831224"/>
                  <a:pt x="2837293" y="813414"/>
                  <a:pt x="2822340" y="798115"/>
                </a:cubicBezTo>
                <a:cubicBezTo>
                  <a:pt x="2807510" y="782815"/>
                  <a:pt x="2789397" y="770623"/>
                  <a:pt x="2768123" y="761539"/>
                </a:cubicBezTo>
                <a:cubicBezTo>
                  <a:pt x="2746849" y="752455"/>
                  <a:pt x="2722901" y="747913"/>
                  <a:pt x="2695913" y="747913"/>
                </a:cubicBezTo>
                <a:close/>
                <a:moveTo>
                  <a:pt x="3534223" y="745403"/>
                </a:moveTo>
                <a:cubicBezTo>
                  <a:pt x="3506871" y="745403"/>
                  <a:pt x="3482315" y="750065"/>
                  <a:pt x="3460555" y="759268"/>
                </a:cubicBezTo>
                <a:cubicBezTo>
                  <a:pt x="3438795" y="768591"/>
                  <a:pt x="3420317" y="781022"/>
                  <a:pt x="3405121" y="796800"/>
                </a:cubicBezTo>
                <a:cubicBezTo>
                  <a:pt x="3390047" y="812578"/>
                  <a:pt x="3378377" y="830746"/>
                  <a:pt x="3370232" y="851305"/>
                </a:cubicBezTo>
                <a:cubicBezTo>
                  <a:pt x="3362087" y="871864"/>
                  <a:pt x="3358076" y="894096"/>
                  <a:pt x="3358076" y="916806"/>
                </a:cubicBezTo>
                <a:cubicBezTo>
                  <a:pt x="3358076" y="939516"/>
                  <a:pt x="3362087" y="961151"/>
                  <a:pt x="3370232" y="981710"/>
                </a:cubicBezTo>
                <a:cubicBezTo>
                  <a:pt x="3378256" y="1002269"/>
                  <a:pt x="3389926" y="1020437"/>
                  <a:pt x="3405121" y="1036215"/>
                </a:cubicBezTo>
                <a:cubicBezTo>
                  <a:pt x="3420317" y="1051992"/>
                  <a:pt x="3438795" y="1064543"/>
                  <a:pt x="3460555" y="1073746"/>
                </a:cubicBezTo>
                <a:cubicBezTo>
                  <a:pt x="3482315" y="1082950"/>
                  <a:pt x="3506871" y="1087612"/>
                  <a:pt x="3534223" y="1087612"/>
                </a:cubicBezTo>
                <a:cubicBezTo>
                  <a:pt x="3561575" y="1087612"/>
                  <a:pt x="3586131" y="1082950"/>
                  <a:pt x="3607891" y="1073746"/>
                </a:cubicBezTo>
                <a:cubicBezTo>
                  <a:pt x="3629773" y="1064423"/>
                  <a:pt x="3648129" y="1051992"/>
                  <a:pt x="3663081" y="1036215"/>
                </a:cubicBezTo>
                <a:cubicBezTo>
                  <a:pt x="3678034" y="1020437"/>
                  <a:pt x="3689582" y="1002269"/>
                  <a:pt x="3697727" y="981710"/>
                </a:cubicBezTo>
                <a:cubicBezTo>
                  <a:pt x="3705872" y="961151"/>
                  <a:pt x="3709884" y="939875"/>
                  <a:pt x="3709884" y="916806"/>
                </a:cubicBezTo>
                <a:cubicBezTo>
                  <a:pt x="3709884" y="893737"/>
                  <a:pt x="3705872" y="871864"/>
                  <a:pt x="3697727" y="851305"/>
                </a:cubicBezTo>
                <a:cubicBezTo>
                  <a:pt x="3689704" y="830746"/>
                  <a:pt x="3678034" y="812578"/>
                  <a:pt x="3662838" y="796800"/>
                </a:cubicBezTo>
                <a:cubicBezTo>
                  <a:pt x="3647643" y="781022"/>
                  <a:pt x="3629165" y="768472"/>
                  <a:pt x="3607648" y="759268"/>
                </a:cubicBezTo>
                <a:cubicBezTo>
                  <a:pt x="3586010" y="750065"/>
                  <a:pt x="3561575" y="745403"/>
                  <a:pt x="3534223" y="745403"/>
                </a:cubicBezTo>
                <a:close/>
                <a:moveTo>
                  <a:pt x="3142420" y="630417"/>
                </a:moveTo>
                <a:cubicBezTo>
                  <a:pt x="3106801" y="630417"/>
                  <a:pt x="3075195" y="636991"/>
                  <a:pt x="3047356" y="650020"/>
                </a:cubicBezTo>
                <a:cubicBezTo>
                  <a:pt x="3019518" y="663048"/>
                  <a:pt x="2996056" y="680141"/>
                  <a:pt x="2976727" y="701178"/>
                </a:cubicBezTo>
                <a:cubicBezTo>
                  <a:pt x="2957399" y="722214"/>
                  <a:pt x="2942811" y="746120"/>
                  <a:pt x="2932721" y="772894"/>
                </a:cubicBezTo>
                <a:lnTo>
                  <a:pt x="2917659" y="853993"/>
                </a:lnTo>
                <a:lnTo>
                  <a:pt x="2917647" y="853934"/>
                </a:lnTo>
                <a:lnTo>
                  <a:pt x="2917647" y="854054"/>
                </a:lnTo>
                <a:lnTo>
                  <a:pt x="2917659" y="853993"/>
                </a:lnTo>
                <a:lnTo>
                  <a:pt x="2934058" y="938202"/>
                </a:lnTo>
                <a:cubicBezTo>
                  <a:pt x="2944999" y="965812"/>
                  <a:pt x="2960195" y="990435"/>
                  <a:pt x="2979645" y="1012070"/>
                </a:cubicBezTo>
                <a:cubicBezTo>
                  <a:pt x="2999095" y="1033704"/>
                  <a:pt x="3022314" y="1051275"/>
                  <a:pt x="3049301" y="1064782"/>
                </a:cubicBezTo>
                <a:cubicBezTo>
                  <a:pt x="3076167" y="1078288"/>
                  <a:pt x="3105951" y="1084982"/>
                  <a:pt x="3138530" y="1084982"/>
                </a:cubicBezTo>
                <a:cubicBezTo>
                  <a:pt x="3156886" y="1084982"/>
                  <a:pt x="3175729" y="1082711"/>
                  <a:pt x="3195057" y="1078049"/>
                </a:cubicBezTo>
                <a:cubicBezTo>
                  <a:pt x="3214265" y="1073388"/>
                  <a:pt x="3232378" y="1066694"/>
                  <a:pt x="3249275" y="1057849"/>
                </a:cubicBezTo>
                <a:cubicBezTo>
                  <a:pt x="3266173" y="1049004"/>
                  <a:pt x="3281368" y="1038127"/>
                  <a:pt x="3294862" y="1025337"/>
                </a:cubicBezTo>
                <a:cubicBezTo>
                  <a:pt x="3308355" y="1012548"/>
                  <a:pt x="3318688" y="997726"/>
                  <a:pt x="3325982" y="980873"/>
                </a:cubicBezTo>
                <a:lnTo>
                  <a:pt x="3253408" y="939875"/>
                </a:lnTo>
                <a:cubicBezTo>
                  <a:pt x="3248303" y="952186"/>
                  <a:pt x="3241373" y="962585"/>
                  <a:pt x="3232864" y="971191"/>
                </a:cubicBezTo>
                <a:cubicBezTo>
                  <a:pt x="3224233" y="979797"/>
                  <a:pt x="3214994" y="986849"/>
                  <a:pt x="3204904" y="992348"/>
                </a:cubicBezTo>
                <a:cubicBezTo>
                  <a:pt x="3194936" y="997726"/>
                  <a:pt x="3184360" y="1001790"/>
                  <a:pt x="3173176" y="1004300"/>
                </a:cubicBezTo>
                <a:cubicBezTo>
                  <a:pt x="3162113" y="1006811"/>
                  <a:pt x="3151416" y="1008125"/>
                  <a:pt x="3141083" y="1008125"/>
                </a:cubicBezTo>
                <a:cubicBezTo>
                  <a:pt x="3121389" y="1008125"/>
                  <a:pt x="3103276" y="1003942"/>
                  <a:pt x="3086865" y="995455"/>
                </a:cubicBezTo>
                <a:cubicBezTo>
                  <a:pt x="3070332" y="987088"/>
                  <a:pt x="3056231" y="975853"/>
                  <a:pt x="3044439" y="961988"/>
                </a:cubicBezTo>
                <a:cubicBezTo>
                  <a:pt x="3032647" y="948122"/>
                  <a:pt x="3023530" y="931986"/>
                  <a:pt x="3017087" y="913698"/>
                </a:cubicBezTo>
                <a:cubicBezTo>
                  <a:pt x="3010644" y="895411"/>
                  <a:pt x="3007483" y="876406"/>
                  <a:pt x="3007483" y="856564"/>
                </a:cubicBezTo>
                <a:cubicBezTo>
                  <a:pt x="3007483" y="838874"/>
                  <a:pt x="3010279" y="821064"/>
                  <a:pt x="3015871" y="803135"/>
                </a:cubicBezTo>
                <a:cubicBezTo>
                  <a:pt x="3021463" y="785325"/>
                  <a:pt x="3029730" y="769309"/>
                  <a:pt x="3040670" y="755204"/>
                </a:cubicBezTo>
                <a:cubicBezTo>
                  <a:pt x="3051611" y="741100"/>
                  <a:pt x="3065226" y="729625"/>
                  <a:pt x="3081759" y="720780"/>
                </a:cubicBezTo>
                <a:cubicBezTo>
                  <a:pt x="3098170" y="711935"/>
                  <a:pt x="3117621" y="707513"/>
                  <a:pt x="3139867" y="707513"/>
                </a:cubicBezTo>
                <a:cubicBezTo>
                  <a:pt x="3150200" y="707513"/>
                  <a:pt x="3160655" y="708708"/>
                  <a:pt x="3171352" y="710979"/>
                </a:cubicBezTo>
                <a:cubicBezTo>
                  <a:pt x="3182050" y="713250"/>
                  <a:pt x="3192383" y="716955"/>
                  <a:pt x="3202230" y="721975"/>
                </a:cubicBezTo>
                <a:cubicBezTo>
                  <a:pt x="3212076" y="727115"/>
                  <a:pt x="3221194" y="733928"/>
                  <a:pt x="3229825" y="742534"/>
                </a:cubicBezTo>
                <a:cubicBezTo>
                  <a:pt x="3238456" y="751140"/>
                  <a:pt x="3245750" y="761778"/>
                  <a:pt x="3251706" y="774448"/>
                </a:cubicBezTo>
                <a:lnTo>
                  <a:pt x="3319783" y="728310"/>
                </a:lnTo>
                <a:cubicBezTo>
                  <a:pt x="3304709" y="699265"/>
                  <a:pt x="3281976" y="675718"/>
                  <a:pt x="3251342" y="657550"/>
                </a:cubicBezTo>
                <a:cubicBezTo>
                  <a:pt x="3220707" y="639501"/>
                  <a:pt x="3184360" y="630417"/>
                  <a:pt x="3142420" y="630417"/>
                </a:cubicBezTo>
                <a:close/>
                <a:moveTo>
                  <a:pt x="1371711" y="630417"/>
                </a:moveTo>
                <a:cubicBezTo>
                  <a:pt x="1336092" y="630417"/>
                  <a:pt x="1304486" y="636991"/>
                  <a:pt x="1276647" y="650020"/>
                </a:cubicBezTo>
                <a:cubicBezTo>
                  <a:pt x="1248809" y="663048"/>
                  <a:pt x="1225226" y="680141"/>
                  <a:pt x="1206018" y="701178"/>
                </a:cubicBezTo>
                <a:cubicBezTo>
                  <a:pt x="1186690" y="722214"/>
                  <a:pt x="1172102" y="746120"/>
                  <a:pt x="1162012" y="772894"/>
                </a:cubicBezTo>
                <a:lnTo>
                  <a:pt x="1146950" y="853993"/>
                </a:lnTo>
                <a:lnTo>
                  <a:pt x="1146938" y="853934"/>
                </a:lnTo>
                <a:lnTo>
                  <a:pt x="1146938" y="854054"/>
                </a:lnTo>
                <a:lnTo>
                  <a:pt x="1146950" y="853993"/>
                </a:lnTo>
                <a:lnTo>
                  <a:pt x="1163349" y="938202"/>
                </a:lnTo>
                <a:cubicBezTo>
                  <a:pt x="1174290" y="965812"/>
                  <a:pt x="1189486" y="990435"/>
                  <a:pt x="1208936" y="1012070"/>
                </a:cubicBezTo>
                <a:cubicBezTo>
                  <a:pt x="1228386" y="1033704"/>
                  <a:pt x="1251605" y="1051275"/>
                  <a:pt x="1278592" y="1064782"/>
                </a:cubicBezTo>
                <a:cubicBezTo>
                  <a:pt x="1305580" y="1078288"/>
                  <a:pt x="1335241" y="1084982"/>
                  <a:pt x="1367821" y="1084982"/>
                </a:cubicBezTo>
                <a:cubicBezTo>
                  <a:pt x="1386177" y="1084982"/>
                  <a:pt x="1405141" y="1082711"/>
                  <a:pt x="1424348" y="1078049"/>
                </a:cubicBezTo>
                <a:cubicBezTo>
                  <a:pt x="1443677" y="1073388"/>
                  <a:pt x="1461790" y="1066694"/>
                  <a:pt x="1478688" y="1057849"/>
                </a:cubicBezTo>
                <a:cubicBezTo>
                  <a:pt x="1495585" y="1049004"/>
                  <a:pt x="1510781" y="1038127"/>
                  <a:pt x="1524274" y="1025337"/>
                </a:cubicBezTo>
                <a:cubicBezTo>
                  <a:pt x="1537768" y="1012548"/>
                  <a:pt x="1548101" y="997726"/>
                  <a:pt x="1555395" y="980873"/>
                </a:cubicBezTo>
                <a:lnTo>
                  <a:pt x="1482821" y="939875"/>
                </a:lnTo>
                <a:cubicBezTo>
                  <a:pt x="1477715" y="952186"/>
                  <a:pt x="1470786" y="962585"/>
                  <a:pt x="1462276" y="971191"/>
                </a:cubicBezTo>
                <a:cubicBezTo>
                  <a:pt x="1453645" y="979797"/>
                  <a:pt x="1444406" y="986849"/>
                  <a:pt x="1434317" y="992348"/>
                </a:cubicBezTo>
                <a:cubicBezTo>
                  <a:pt x="1424348" y="997726"/>
                  <a:pt x="1413772" y="1001790"/>
                  <a:pt x="1402588" y="1004300"/>
                </a:cubicBezTo>
                <a:cubicBezTo>
                  <a:pt x="1391526" y="1006811"/>
                  <a:pt x="1380828" y="1008125"/>
                  <a:pt x="1370495" y="1008125"/>
                </a:cubicBezTo>
                <a:cubicBezTo>
                  <a:pt x="1350923" y="1008125"/>
                  <a:pt x="1332810" y="1003942"/>
                  <a:pt x="1316277" y="995455"/>
                </a:cubicBezTo>
                <a:cubicBezTo>
                  <a:pt x="1299746" y="987088"/>
                  <a:pt x="1285643" y="975853"/>
                  <a:pt x="1273851" y="961988"/>
                </a:cubicBezTo>
                <a:cubicBezTo>
                  <a:pt x="1262060" y="948122"/>
                  <a:pt x="1252942" y="931986"/>
                  <a:pt x="1246499" y="913698"/>
                </a:cubicBezTo>
                <a:cubicBezTo>
                  <a:pt x="1240056" y="895411"/>
                  <a:pt x="1236896" y="876406"/>
                  <a:pt x="1236896" y="856564"/>
                </a:cubicBezTo>
                <a:cubicBezTo>
                  <a:pt x="1236896" y="838874"/>
                  <a:pt x="1239692" y="821064"/>
                  <a:pt x="1245284" y="803135"/>
                </a:cubicBezTo>
                <a:cubicBezTo>
                  <a:pt x="1250754" y="785325"/>
                  <a:pt x="1259021" y="769309"/>
                  <a:pt x="1269961" y="755204"/>
                </a:cubicBezTo>
                <a:cubicBezTo>
                  <a:pt x="1280902" y="741100"/>
                  <a:pt x="1294517" y="729625"/>
                  <a:pt x="1311050" y="720780"/>
                </a:cubicBezTo>
                <a:cubicBezTo>
                  <a:pt x="1327461" y="711935"/>
                  <a:pt x="1346912" y="707513"/>
                  <a:pt x="1369158" y="707513"/>
                </a:cubicBezTo>
                <a:cubicBezTo>
                  <a:pt x="1379491" y="707513"/>
                  <a:pt x="1389945" y="708708"/>
                  <a:pt x="1400643" y="710979"/>
                </a:cubicBezTo>
                <a:cubicBezTo>
                  <a:pt x="1411341" y="713250"/>
                  <a:pt x="1421674" y="716955"/>
                  <a:pt x="1431521" y="721975"/>
                </a:cubicBezTo>
                <a:cubicBezTo>
                  <a:pt x="1441367" y="727115"/>
                  <a:pt x="1450606" y="733928"/>
                  <a:pt x="1459116" y="742534"/>
                </a:cubicBezTo>
                <a:cubicBezTo>
                  <a:pt x="1467747" y="751140"/>
                  <a:pt x="1475041" y="761778"/>
                  <a:pt x="1480997" y="774448"/>
                </a:cubicBezTo>
                <a:lnTo>
                  <a:pt x="1549074" y="728310"/>
                </a:lnTo>
                <a:cubicBezTo>
                  <a:pt x="1534000" y="699265"/>
                  <a:pt x="1511267" y="675718"/>
                  <a:pt x="1480633" y="657550"/>
                </a:cubicBezTo>
                <a:cubicBezTo>
                  <a:pt x="1449998" y="639501"/>
                  <a:pt x="1413651" y="630417"/>
                  <a:pt x="1371711" y="630417"/>
                </a:cubicBezTo>
                <a:close/>
                <a:moveTo>
                  <a:pt x="1795121" y="624082"/>
                </a:moveTo>
                <a:lnTo>
                  <a:pt x="1795121" y="708110"/>
                </a:lnTo>
                <a:lnTo>
                  <a:pt x="1881189" y="708110"/>
                </a:lnTo>
                <a:lnTo>
                  <a:pt x="1881189" y="624082"/>
                </a:lnTo>
                <a:close/>
                <a:moveTo>
                  <a:pt x="1598186" y="619181"/>
                </a:moveTo>
                <a:lnTo>
                  <a:pt x="1598186" y="1003822"/>
                </a:lnTo>
                <a:cubicBezTo>
                  <a:pt x="1598186" y="1029879"/>
                  <a:pt x="1605601" y="1050079"/>
                  <a:pt x="1620311" y="1064184"/>
                </a:cubicBezTo>
                <a:cubicBezTo>
                  <a:pt x="1620675" y="1064423"/>
                  <a:pt x="1620919" y="1064781"/>
                  <a:pt x="1621162" y="1065020"/>
                </a:cubicBezTo>
                <a:cubicBezTo>
                  <a:pt x="1625052" y="1068606"/>
                  <a:pt x="1629428" y="1071714"/>
                  <a:pt x="1634169" y="1074343"/>
                </a:cubicBezTo>
                <a:cubicBezTo>
                  <a:pt x="1637451" y="1076136"/>
                  <a:pt x="1640977" y="1077690"/>
                  <a:pt x="1644502" y="1079005"/>
                </a:cubicBezTo>
                <a:cubicBezTo>
                  <a:pt x="1660913" y="1085101"/>
                  <a:pt x="1679270" y="1085579"/>
                  <a:pt x="1696532" y="1084981"/>
                </a:cubicBezTo>
                <a:cubicBezTo>
                  <a:pt x="1697990" y="1084981"/>
                  <a:pt x="1699571" y="1084862"/>
                  <a:pt x="1701151" y="1084742"/>
                </a:cubicBezTo>
                <a:cubicBezTo>
                  <a:pt x="1702731" y="1084742"/>
                  <a:pt x="1704433" y="1084503"/>
                  <a:pt x="1706014" y="1084384"/>
                </a:cubicBezTo>
                <a:cubicBezTo>
                  <a:pt x="1707594" y="1084384"/>
                  <a:pt x="1709174" y="1084145"/>
                  <a:pt x="1710755" y="1083906"/>
                </a:cubicBezTo>
                <a:cubicBezTo>
                  <a:pt x="1712335" y="1083786"/>
                  <a:pt x="1713915" y="1083547"/>
                  <a:pt x="1715496" y="1083308"/>
                </a:cubicBezTo>
                <a:cubicBezTo>
                  <a:pt x="1717076" y="1083069"/>
                  <a:pt x="1718656" y="1082830"/>
                  <a:pt x="1720237" y="1082591"/>
                </a:cubicBezTo>
                <a:cubicBezTo>
                  <a:pt x="1721817" y="1082352"/>
                  <a:pt x="1723397" y="1081993"/>
                  <a:pt x="1725099" y="1081635"/>
                </a:cubicBezTo>
                <a:cubicBezTo>
                  <a:pt x="1725950" y="1081396"/>
                  <a:pt x="1726801" y="1081276"/>
                  <a:pt x="1727652" y="1081037"/>
                </a:cubicBezTo>
                <a:cubicBezTo>
                  <a:pt x="1729476" y="1080559"/>
                  <a:pt x="1731178" y="1080081"/>
                  <a:pt x="1733001" y="1079483"/>
                </a:cubicBezTo>
                <a:cubicBezTo>
                  <a:pt x="1733609" y="1079244"/>
                  <a:pt x="1734217" y="1079125"/>
                  <a:pt x="1734946" y="1078886"/>
                </a:cubicBezTo>
                <a:lnTo>
                  <a:pt x="1723154" y="1005137"/>
                </a:lnTo>
                <a:cubicBezTo>
                  <a:pt x="1714159" y="1008005"/>
                  <a:pt x="1702488" y="1009320"/>
                  <a:pt x="1695194" y="1006691"/>
                </a:cubicBezTo>
                <a:lnTo>
                  <a:pt x="1695073" y="1006691"/>
                </a:lnTo>
                <a:cubicBezTo>
                  <a:pt x="1682916" y="1002388"/>
                  <a:pt x="1684254" y="989957"/>
                  <a:pt x="1684254" y="976689"/>
                </a:cubicBezTo>
                <a:lnTo>
                  <a:pt x="1684254" y="619181"/>
                </a:lnTo>
                <a:close/>
                <a:moveTo>
                  <a:pt x="576725" y="564647"/>
                </a:moveTo>
                <a:cubicBezTo>
                  <a:pt x="545346" y="564647"/>
                  <a:pt x="513952" y="576450"/>
                  <a:pt x="490003" y="600057"/>
                </a:cubicBezTo>
                <a:cubicBezTo>
                  <a:pt x="441986" y="647151"/>
                  <a:pt x="441986" y="723530"/>
                  <a:pt x="490003" y="770624"/>
                </a:cubicBezTo>
                <a:cubicBezTo>
                  <a:pt x="537900" y="817718"/>
                  <a:pt x="615580" y="817718"/>
                  <a:pt x="663476" y="770624"/>
                </a:cubicBezTo>
                <a:cubicBezTo>
                  <a:pt x="711373" y="723530"/>
                  <a:pt x="789052" y="723530"/>
                  <a:pt x="837070" y="770624"/>
                </a:cubicBezTo>
                <a:cubicBezTo>
                  <a:pt x="884967" y="817718"/>
                  <a:pt x="884967" y="894096"/>
                  <a:pt x="837070" y="941309"/>
                </a:cubicBezTo>
                <a:cubicBezTo>
                  <a:pt x="789174" y="988404"/>
                  <a:pt x="789174" y="1064782"/>
                  <a:pt x="837070" y="1111876"/>
                </a:cubicBezTo>
                <a:cubicBezTo>
                  <a:pt x="884967" y="1158970"/>
                  <a:pt x="962646" y="1158970"/>
                  <a:pt x="1010664" y="1111876"/>
                </a:cubicBezTo>
                <a:cubicBezTo>
                  <a:pt x="1058561" y="1064782"/>
                  <a:pt x="1058561" y="988404"/>
                  <a:pt x="1010664" y="941309"/>
                </a:cubicBezTo>
                <a:cubicBezTo>
                  <a:pt x="963011" y="893857"/>
                  <a:pt x="963011" y="817479"/>
                  <a:pt x="1010664" y="770624"/>
                </a:cubicBezTo>
                <a:lnTo>
                  <a:pt x="1010543" y="770624"/>
                </a:lnTo>
                <a:cubicBezTo>
                  <a:pt x="1058439" y="723530"/>
                  <a:pt x="1058439" y="647151"/>
                  <a:pt x="1010543" y="600057"/>
                </a:cubicBezTo>
                <a:cubicBezTo>
                  <a:pt x="962646" y="552963"/>
                  <a:pt x="884967" y="552963"/>
                  <a:pt x="836949" y="600057"/>
                </a:cubicBezTo>
                <a:cubicBezTo>
                  <a:pt x="789052" y="647151"/>
                  <a:pt x="711373" y="647151"/>
                  <a:pt x="663355" y="600057"/>
                </a:cubicBezTo>
                <a:cubicBezTo>
                  <a:pt x="639468" y="576450"/>
                  <a:pt x="608104" y="564647"/>
                  <a:pt x="576725" y="564647"/>
                </a:cubicBezTo>
                <a:close/>
                <a:moveTo>
                  <a:pt x="0" y="0"/>
                </a:moveTo>
                <a:lnTo>
                  <a:pt x="7880428" y="0"/>
                </a:lnTo>
                <a:cubicBezTo>
                  <a:pt x="8119218" y="0"/>
                  <a:pt x="8312795" y="123309"/>
                  <a:pt x="8312795" y="275419"/>
                </a:cubicBezTo>
                <a:lnTo>
                  <a:pt x="8312795" y="2723813"/>
                </a:lnTo>
                <a:cubicBezTo>
                  <a:pt x="8312795" y="2875923"/>
                  <a:pt x="8119218" y="2999232"/>
                  <a:pt x="7880428" y="2999232"/>
                </a:cubicBezTo>
                <a:lnTo>
                  <a:pt x="0" y="2999232"/>
                </a:lnTo>
                <a:close/>
              </a:path>
            </a:pathLst>
          </a:custGeom>
          <a:solidFill>
            <a:schemeClr val="bg1">
              <a:alpha val="8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200" tIns="1188720">
            <a:noAutofit/>
          </a:bodyPr>
          <a:lstStyle>
            <a:lvl1pPr marL="0" indent="0">
              <a:buNone/>
              <a:defRPr sz="2800" b="1">
                <a:solidFill>
                  <a:schemeClr val="tx2"/>
                </a:solidFill>
                <a:latin typeface="Raleway" panose="020B0503030101060003" pitchFamily="34" charset="77"/>
              </a:defRPr>
            </a:lvl1pPr>
            <a:lvl2pPr marL="0" indent="0">
              <a:lnSpc>
                <a:spcPct val="90000"/>
              </a:lnSpc>
              <a:spcBef>
                <a:spcPts val="0"/>
              </a:spcBef>
              <a:buNone/>
              <a:defRPr cap="all" baseline="0">
                <a:solidFill>
                  <a:schemeClr val="accent5"/>
                </a:solidFill>
              </a:defRPr>
            </a:lvl2pPr>
          </a:lstStyle>
          <a:p>
            <a:pPr lvl="0"/>
            <a:r>
              <a:rPr lang="en-US"/>
              <a:t>Click to edit Master text styles</a:t>
            </a:r>
          </a:p>
        </p:txBody>
      </p:sp>
      <p:sp>
        <p:nvSpPr>
          <p:cNvPr id="14" name="Freeform 13">
            <a:extLst>
              <a:ext uri="{FF2B5EF4-FFF2-40B4-BE49-F238E27FC236}">
                <a16:creationId xmlns:a16="http://schemas.microsoft.com/office/drawing/2014/main" id="{C25900A6-F3E0-02F1-B335-926593133DE4}"/>
              </a:ext>
            </a:extLst>
          </p:cNvPr>
          <p:cNvSpPr/>
          <p:nvPr/>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8" name="Footer Placeholder 4">
            <a:extLst>
              <a:ext uri="{FF2B5EF4-FFF2-40B4-BE49-F238E27FC236}">
                <a16:creationId xmlns:a16="http://schemas.microsoft.com/office/drawing/2014/main" id="{1B398D60-C321-493C-ADE8-AC824C411BA2}"/>
              </a:ext>
            </a:extLst>
          </p:cNvPr>
          <p:cNvSpPr txBox="1">
            <a:spLocks/>
          </p:cNvSpPr>
          <p:nvPr/>
        </p:nvSpPr>
        <p:spPr>
          <a:xfrm>
            <a:off x="4038600" y="7781188"/>
            <a:ext cx="4114800" cy="222140"/>
          </a:xfrm>
          <a:prstGeom prst="rect">
            <a:avLst/>
          </a:prstGeom>
        </p:spPr>
        <p:txBody>
          <a:bodyPr vert="horz" lIns="0" tIns="0" rIns="0" bIns="0" rtlCol="0" anchor="t" anchorCtr="0"/>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bg1"/>
                </a:solidFill>
              </a:rPr>
              <a:t>Proprietary &amp; Confidential: Not For Distribution</a:t>
            </a:r>
          </a:p>
        </p:txBody>
      </p:sp>
      <p:sp>
        <p:nvSpPr>
          <p:cNvPr id="3" name="Subtitle 2">
            <a:extLst>
              <a:ext uri="{FF2B5EF4-FFF2-40B4-BE49-F238E27FC236}">
                <a16:creationId xmlns:a16="http://schemas.microsoft.com/office/drawing/2014/main" id="{3B5DCC05-4DEC-E6B4-BFB1-CEB9A74C045C}"/>
              </a:ext>
            </a:extLst>
          </p:cNvPr>
          <p:cNvSpPr>
            <a:spLocks noGrp="1"/>
          </p:cNvSpPr>
          <p:nvPr>
            <p:ph type="subTitle" idx="1"/>
          </p:nvPr>
        </p:nvSpPr>
        <p:spPr>
          <a:xfrm>
            <a:off x="445389" y="4057866"/>
            <a:ext cx="3270086" cy="870750"/>
          </a:xfrm>
        </p:spPr>
        <p:txBody>
          <a:bodyPr lIns="0" tIns="0" rIns="0" bIns="0">
            <a:noAutofit/>
          </a:bodyPr>
          <a:lstStyle>
            <a:lvl1pPr marL="0" indent="0" algn="l">
              <a:lnSpc>
                <a:spcPct val="114000"/>
              </a:lnSpc>
              <a:buNone/>
              <a:defRPr sz="1600" b="0">
                <a:solidFill>
                  <a:schemeClr val="tx2"/>
                </a:solidFill>
              </a:defRPr>
            </a:lvl1pPr>
            <a:lvl2pPr marL="0" indent="0" algn="l">
              <a:lnSpc>
                <a:spcPct val="114000"/>
              </a:lnSpc>
              <a:spcBef>
                <a:spcPts val="0"/>
              </a:spcBef>
              <a:buNone/>
              <a:defRPr sz="1400" b="0">
                <a:solidFill>
                  <a:schemeClr val="tx2"/>
                </a:solidFill>
              </a:defRPr>
            </a:lvl2pPr>
            <a:lvl3pPr marL="0" indent="0" algn="l">
              <a:lnSpc>
                <a:spcPct val="114000"/>
              </a:lnSpc>
              <a:spcBef>
                <a:spcPts val="0"/>
              </a:spcBef>
              <a:buNone/>
              <a:defRPr sz="1200" i="1">
                <a:solidFill>
                  <a:schemeClr val="tx2"/>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9" name="Footer Placeholder 118">
            <a:extLst>
              <a:ext uri="{FF2B5EF4-FFF2-40B4-BE49-F238E27FC236}">
                <a16:creationId xmlns:a16="http://schemas.microsoft.com/office/drawing/2014/main" id="{DAD300A3-3D1E-D54B-D069-0C48ADCB5FDA}"/>
              </a:ext>
            </a:extLst>
          </p:cNvPr>
          <p:cNvSpPr>
            <a:spLocks noGrp="1"/>
          </p:cNvSpPr>
          <p:nvPr>
            <p:ph type="ftr" sz="quarter" idx="11"/>
          </p:nvPr>
        </p:nvSpPr>
        <p:spPr>
          <a:xfrm>
            <a:off x="438912" y="6537960"/>
            <a:ext cx="4114800" cy="211606"/>
          </a:xfrm>
        </p:spPr>
        <p:txBody>
          <a:bodyPr/>
          <a:lstStyle>
            <a:lvl1pPr>
              <a:defRPr>
                <a:solidFill>
                  <a:schemeClr val="bg1"/>
                </a:solidFill>
              </a:defRPr>
            </a:lvl1pPr>
          </a:lstStyle>
          <a:p>
            <a:r>
              <a:rPr lang="en-US" dirty="0"/>
              <a:t>Proprietary &amp; Confidential: Not for Distribution.</a:t>
            </a:r>
          </a:p>
        </p:txBody>
      </p:sp>
      <p:sp>
        <p:nvSpPr>
          <p:cNvPr id="120" name="Slide Number Placeholder 119">
            <a:extLst>
              <a:ext uri="{FF2B5EF4-FFF2-40B4-BE49-F238E27FC236}">
                <a16:creationId xmlns:a16="http://schemas.microsoft.com/office/drawing/2014/main" id="{26E5CE8B-FE5C-ED2A-262A-7D52E96791D6}"/>
              </a:ext>
            </a:extLst>
          </p:cNvPr>
          <p:cNvSpPr>
            <a:spLocks noGrp="1"/>
          </p:cNvSpPr>
          <p:nvPr>
            <p:ph type="sldNum" sz="quarter" idx="12"/>
          </p:nvPr>
        </p:nvSpPr>
        <p:spPr>
          <a:xfrm>
            <a:off x="11730088" y="6990807"/>
            <a:ext cx="461912" cy="252001"/>
          </a:xfrm>
        </p:spPr>
        <p:txBody>
          <a:bodyPr/>
          <a:lstStyle/>
          <a:p>
            <a:fld id="{B42C0624-09E4-9E4F-9228-01F5B6A588DD}" type="slidenum">
              <a:rPr lang="en-US" smtClean="0"/>
              <a:pPr/>
              <a:t>‹#›</a:t>
            </a:fld>
            <a:endParaRPr lang="en-US" dirty="0"/>
          </a:p>
        </p:txBody>
      </p:sp>
      <p:sp>
        <p:nvSpPr>
          <p:cNvPr id="7" name="Text Placeholder 6">
            <a:extLst>
              <a:ext uri="{FF2B5EF4-FFF2-40B4-BE49-F238E27FC236}">
                <a16:creationId xmlns:a16="http://schemas.microsoft.com/office/drawing/2014/main" id="{40633549-A8EA-2F9A-5F92-1D325BFC5184}"/>
              </a:ext>
            </a:extLst>
          </p:cNvPr>
          <p:cNvSpPr>
            <a:spLocks noGrp="1"/>
          </p:cNvSpPr>
          <p:nvPr>
            <p:ph type="body" sz="quarter" idx="13"/>
          </p:nvPr>
        </p:nvSpPr>
        <p:spPr>
          <a:xfrm>
            <a:off x="4571916" y="4057650"/>
            <a:ext cx="3192463" cy="870966"/>
          </a:xfrm>
        </p:spPr>
        <p:txBody>
          <a:bodyPr lIns="0" tIns="0" rIns="0" bIns="0">
            <a:noAutofit/>
          </a:bodyPr>
          <a:lstStyle>
            <a:lvl1pPr marL="0" indent="0">
              <a:lnSpc>
                <a:spcPct val="114000"/>
              </a:lnSpc>
              <a:spcBef>
                <a:spcPts val="0"/>
              </a:spcBef>
              <a:buNone/>
              <a:defRPr sz="1600">
                <a:solidFill>
                  <a:schemeClr val="tx2"/>
                </a:solidFill>
              </a:defRPr>
            </a:lvl1pPr>
            <a:lvl2pPr marL="0" indent="0">
              <a:lnSpc>
                <a:spcPct val="114000"/>
              </a:lnSpc>
              <a:spcBef>
                <a:spcPts val="0"/>
              </a:spcBef>
              <a:buNone/>
              <a:defRPr sz="1400">
                <a:solidFill>
                  <a:schemeClr val="tx2"/>
                </a:solidFill>
              </a:defRPr>
            </a:lvl2pPr>
            <a:lvl3pPr marL="0" indent="0">
              <a:lnSpc>
                <a:spcPct val="114000"/>
              </a:lnSpc>
              <a:spcBef>
                <a:spcPts val="0"/>
              </a:spcBef>
              <a:buNone/>
              <a:defRPr sz="1200" i="1">
                <a:solidFill>
                  <a:schemeClr val="tx2"/>
                </a:solidFill>
              </a:defRPr>
            </a:lvl3pPr>
            <a:lvl4pPr marL="1371600" indent="0">
              <a:spcBef>
                <a:spcPts val="0"/>
              </a:spcBef>
              <a:buNone/>
              <a:defRPr sz="1600">
                <a:solidFill>
                  <a:schemeClr val="tx2"/>
                </a:solidFill>
              </a:defRPr>
            </a:lvl4pPr>
            <a:lvl5pPr marL="1828800" indent="0">
              <a:spcBef>
                <a:spcPts val="0"/>
              </a:spcBef>
              <a:buNone/>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Freeform 3">
            <a:extLst>
              <a:ext uri="{FF2B5EF4-FFF2-40B4-BE49-F238E27FC236}">
                <a16:creationId xmlns:a16="http://schemas.microsoft.com/office/drawing/2014/main" id="{9BEC9A03-32D1-2FBB-3756-A4A0B5A87AF9}"/>
              </a:ext>
            </a:extLst>
          </p:cNvPr>
          <p:cNvSpPr/>
          <p:nvPr userDrawn="1"/>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ooter Placeholder 4">
            <a:extLst>
              <a:ext uri="{FF2B5EF4-FFF2-40B4-BE49-F238E27FC236}">
                <a16:creationId xmlns:a16="http://schemas.microsoft.com/office/drawing/2014/main" id="{A0FAAE1B-B707-1B76-79F5-FC6981E9374F}"/>
              </a:ext>
            </a:extLst>
          </p:cNvPr>
          <p:cNvSpPr txBox="1">
            <a:spLocks/>
          </p:cNvSpPr>
          <p:nvPr userDrawn="1"/>
        </p:nvSpPr>
        <p:spPr>
          <a:xfrm>
            <a:off x="4038600" y="7781188"/>
            <a:ext cx="4114800" cy="222140"/>
          </a:xfrm>
          <a:prstGeom prst="rect">
            <a:avLst/>
          </a:prstGeom>
        </p:spPr>
        <p:txBody>
          <a:bodyPr vert="horz" lIns="0" tIns="0" rIns="0" bIns="0" rtlCol="0" anchor="t" anchorCtr="0"/>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bg1"/>
                </a:solidFill>
              </a:rPr>
              <a:t>Proprietary &amp; Confidential: Not For Distribution</a:t>
            </a:r>
          </a:p>
        </p:txBody>
      </p:sp>
      <p:sp>
        <p:nvSpPr>
          <p:cNvPr id="22" name="Freeform 21">
            <a:extLst>
              <a:ext uri="{FF2B5EF4-FFF2-40B4-BE49-F238E27FC236}">
                <a16:creationId xmlns:a16="http://schemas.microsoft.com/office/drawing/2014/main" id="{D0775B02-A459-2FFB-7083-C4E9D96954BE}"/>
              </a:ext>
            </a:extLst>
          </p:cNvPr>
          <p:cNvSpPr/>
          <p:nvPr userDrawn="1"/>
        </p:nvSpPr>
        <p:spPr>
          <a:xfrm>
            <a:off x="445388" y="2494061"/>
            <a:ext cx="3264250" cy="582579"/>
          </a:xfrm>
          <a:custGeom>
            <a:avLst/>
            <a:gdLst>
              <a:gd name="connsiteX0" fmla="*/ 0 w 3264250"/>
              <a:gd name="connsiteY0" fmla="*/ 0 h 582579"/>
              <a:gd name="connsiteX1" fmla="*/ 3264251 w 3264250"/>
              <a:gd name="connsiteY1" fmla="*/ 0 h 582579"/>
              <a:gd name="connsiteX2" fmla="*/ 3264251 w 3264250"/>
              <a:gd name="connsiteY2" fmla="*/ 582579 h 582579"/>
              <a:gd name="connsiteX3" fmla="*/ 0 w 3264250"/>
              <a:gd name="connsiteY3" fmla="*/ 582579 h 582579"/>
            </a:gdLst>
            <a:ahLst/>
            <a:cxnLst>
              <a:cxn ang="0">
                <a:pos x="connsiteX0" y="connsiteY0"/>
              </a:cxn>
              <a:cxn ang="0">
                <a:pos x="connsiteX1" y="connsiteY1"/>
              </a:cxn>
              <a:cxn ang="0">
                <a:pos x="connsiteX2" y="connsiteY2"/>
              </a:cxn>
              <a:cxn ang="0">
                <a:pos x="connsiteX3" y="connsiteY3"/>
              </a:cxn>
            </a:cxnLst>
            <a:rect l="l" t="t" r="r" b="b"/>
            <a:pathLst>
              <a:path w="3264250" h="582579">
                <a:moveTo>
                  <a:pt x="0" y="0"/>
                </a:moveTo>
                <a:lnTo>
                  <a:pt x="3264251" y="0"/>
                </a:lnTo>
                <a:lnTo>
                  <a:pt x="3264251" y="582579"/>
                </a:lnTo>
                <a:lnTo>
                  <a:pt x="0" y="582579"/>
                </a:lnTo>
                <a:close/>
              </a:path>
            </a:pathLst>
          </a:custGeom>
          <a:noFill/>
          <a:ln w="12145"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34010BF-7D12-2658-3B22-8DC814CD3CCB}"/>
              </a:ext>
            </a:extLst>
          </p:cNvPr>
          <p:cNvSpPr/>
          <p:nvPr userDrawn="1"/>
        </p:nvSpPr>
        <p:spPr>
          <a:xfrm>
            <a:off x="445388" y="2494061"/>
            <a:ext cx="3264250" cy="582579"/>
          </a:xfrm>
          <a:custGeom>
            <a:avLst/>
            <a:gdLst>
              <a:gd name="connsiteX0" fmla="*/ 0 w 3264250"/>
              <a:gd name="connsiteY0" fmla="*/ 0 h 582579"/>
              <a:gd name="connsiteX1" fmla="*/ 3264251 w 3264250"/>
              <a:gd name="connsiteY1" fmla="*/ 0 h 582579"/>
              <a:gd name="connsiteX2" fmla="*/ 3264251 w 3264250"/>
              <a:gd name="connsiteY2" fmla="*/ 582579 h 582579"/>
              <a:gd name="connsiteX3" fmla="*/ 0 w 3264250"/>
              <a:gd name="connsiteY3" fmla="*/ 582579 h 582579"/>
            </a:gdLst>
            <a:ahLst/>
            <a:cxnLst>
              <a:cxn ang="0">
                <a:pos x="connsiteX0" y="connsiteY0"/>
              </a:cxn>
              <a:cxn ang="0">
                <a:pos x="connsiteX1" y="connsiteY1"/>
              </a:cxn>
              <a:cxn ang="0">
                <a:pos x="connsiteX2" y="connsiteY2"/>
              </a:cxn>
              <a:cxn ang="0">
                <a:pos x="connsiteX3" y="connsiteY3"/>
              </a:cxn>
            </a:cxnLst>
            <a:rect l="l" t="t" r="r" b="b"/>
            <a:pathLst>
              <a:path w="3264250" h="582579">
                <a:moveTo>
                  <a:pt x="0" y="0"/>
                </a:moveTo>
                <a:lnTo>
                  <a:pt x="3264251" y="0"/>
                </a:lnTo>
                <a:lnTo>
                  <a:pt x="3264251" y="582579"/>
                </a:lnTo>
                <a:lnTo>
                  <a:pt x="0" y="582579"/>
                </a:lnTo>
                <a:close/>
              </a:path>
            </a:pathLst>
          </a:custGeom>
          <a:noFill/>
          <a:ln w="12145" cap="flat">
            <a:noFill/>
            <a:prstDash val="solid"/>
            <a:miter/>
          </a:ln>
        </p:spPr>
        <p:txBody>
          <a:bodyPr rtlCol="0" anchor="ctr"/>
          <a:lstStyle/>
          <a:p>
            <a:endParaRPr lang="en-US" dirty="0"/>
          </a:p>
        </p:txBody>
      </p:sp>
      <p:sp>
        <p:nvSpPr>
          <p:cNvPr id="47" name="Freeform 46">
            <a:extLst>
              <a:ext uri="{FF2B5EF4-FFF2-40B4-BE49-F238E27FC236}">
                <a16:creationId xmlns:a16="http://schemas.microsoft.com/office/drawing/2014/main" id="{884A57D1-C078-4730-B8C0-743850FE8485}"/>
              </a:ext>
            </a:extLst>
          </p:cNvPr>
          <p:cNvSpPr/>
          <p:nvPr/>
        </p:nvSpPr>
        <p:spPr>
          <a:xfrm>
            <a:off x="445388" y="2494061"/>
            <a:ext cx="3264250" cy="582579"/>
          </a:xfrm>
          <a:custGeom>
            <a:avLst/>
            <a:gdLst>
              <a:gd name="connsiteX0" fmla="*/ 0 w 3264250"/>
              <a:gd name="connsiteY0" fmla="*/ 0 h 582579"/>
              <a:gd name="connsiteX1" fmla="*/ 3264251 w 3264250"/>
              <a:gd name="connsiteY1" fmla="*/ 0 h 582579"/>
              <a:gd name="connsiteX2" fmla="*/ 3264251 w 3264250"/>
              <a:gd name="connsiteY2" fmla="*/ 582579 h 582579"/>
              <a:gd name="connsiteX3" fmla="*/ 0 w 3264250"/>
              <a:gd name="connsiteY3" fmla="*/ 582579 h 582579"/>
            </a:gdLst>
            <a:ahLst/>
            <a:cxnLst>
              <a:cxn ang="0">
                <a:pos x="connsiteX0" y="connsiteY0"/>
              </a:cxn>
              <a:cxn ang="0">
                <a:pos x="connsiteX1" y="connsiteY1"/>
              </a:cxn>
              <a:cxn ang="0">
                <a:pos x="connsiteX2" y="connsiteY2"/>
              </a:cxn>
              <a:cxn ang="0">
                <a:pos x="connsiteX3" y="connsiteY3"/>
              </a:cxn>
            </a:cxnLst>
            <a:rect l="l" t="t" r="r" b="b"/>
            <a:pathLst>
              <a:path w="3264250" h="582579">
                <a:moveTo>
                  <a:pt x="0" y="0"/>
                </a:moveTo>
                <a:lnTo>
                  <a:pt x="3264251" y="0"/>
                </a:lnTo>
                <a:lnTo>
                  <a:pt x="3264251" y="582579"/>
                </a:lnTo>
                <a:lnTo>
                  <a:pt x="0" y="582579"/>
                </a:lnTo>
                <a:close/>
              </a:path>
            </a:pathLst>
          </a:custGeom>
          <a:noFill/>
          <a:ln w="12145" cap="flat">
            <a:noFill/>
            <a:prstDash val="solid"/>
            <a:miter/>
          </a:ln>
        </p:spPr>
        <p:txBody>
          <a:bodyPr rtlCol="0" anchor="ctr"/>
          <a:lstStyle/>
          <a:p>
            <a:endParaRPr lang="en-US" dirty="0"/>
          </a:p>
        </p:txBody>
      </p:sp>
      <p:sp>
        <p:nvSpPr>
          <p:cNvPr id="50" name="Freeform 49">
            <a:extLst>
              <a:ext uri="{FF2B5EF4-FFF2-40B4-BE49-F238E27FC236}">
                <a16:creationId xmlns:a16="http://schemas.microsoft.com/office/drawing/2014/main" id="{8B4B9A82-BF72-9177-646F-D215F9BB9393}"/>
              </a:ext>
            </a:extLst>
          </p:cNvPr>
          <p:cNvSpPr/>
          <p:nvPr/>
        </p:nvSpPr>
        <p:spPr>
          <a:xfrm>
            <a:off x="445388" y="2494061"/>
            <a:ext cx="3264250" cy="582579"/>
          </a:xfrm>
          <a:custGeom>
            <a:avLst/>
            <a:gdLst>
              <a:gd name="connsiteX0" fmla="*/ 0 w 3264250"/>
              <a:gd name="connsiteY0" fmla="*/ 0 h 582579"/>
              <a:gd name="connsiteX1" fmla="*/ 3264251 w 3264250"/>
              <a:gd name="connsiteY1" fmla="*/ 0 h 582579"/>
              <a:gd name="connsiteX2" fmla="*/ 3264251 w 3264250"/>
              <a:gd name="connsiteY2" fmla="*/ 582579 h 582579"/>
              <a:gd name="connsiteX3" fmla="*/ 0 w 3264250"/>
              <a:gd name="connsiteY3" fmla="*/ 582579 h 582579"/>
            </a:gdLst>
            <a:ahLst/>
            <a:cxnLst>
              <a:cxn ang="0">
                <a:pos x="connsiteX0" y="connsiteY0"/>
              </a:cxn>
              <a:cxn ang="0">
                <a:pos x="connsiteX1" y="connsiteY1"/>
              </a:cxn>
              <a:cxn ang="0">
                <a:pos x="connsiteX2" y="connsiteY2"/>
              </a:cxn>
              <a:cxn ang="0">
                <a:pos x="connsiteX3" y="connsiteY3"/>
              </a:cxn>
            </a:cxnLst>
            <a:rect l="l" t="t" r="r" b="b"/>
            <a:pathLst>
              <a:path w="3264250" h="582579">
                <a:moveTo>
                  <a:pt x="0" y="0"/>
                </a:moveTo>
                <a:lnTo>
                  <a:pt x="3264251" y="0"/>
                </a:lnTo>
                <a:lnTo>
                  <a:pt x="3264251" y="582579"/>
                </a:lnTo>
                <a:lnTo>
                  <a:pt x="0" y="582579"/>
                </a:lnTo>
                <a:close/>
              </a:path>
            </a:pathLst>
          </a:custGeom>
          <a:noFill/>
          <a:ln w="12145" cap="flat">
            <a:noFill/>
            <a:prstDash val="solid"/>
            <a:miter/>
          </a:ln>
        </p:spPr>
        <p:txBody>
          <a:bodyPr rtlCol="0" anchor="ctr"/>
          <a:lstStyle/>
          <a:p>
            <a:endParaRPr lang="en-US" dirty="0"/>
          </a:p>
        </p:txBody>
      </p:sp>
      <p:sp>
        <p:nvSpPr>
          <p:cNvPr id="9" name="Text Placeholder 4">
            <a:extLst>
              <a:ext uri="{FF2B5EF4-FFF2-40B4-BE49-F238E27FC236}">
                <a16:creationId xmlns:a16="http://schemas.microsoft.com/office/drawing/2014/main" id="{62B35DD9-083D-68DE-E1F5-A7FE72DD4A47}"/>
              </a:ext>
            </a:extLst>
          </p:cNvPr>
          <p:cNvSpPr>
            <a:spLocks noGrp="1"/>
          </p:cNvSpPr>
          <p:nvPr>
            <p:ph type="body" sz="quarter" idx="18"/>
          </p:nvPr>
        </p:nvSpPr>
        <p:spPr>
          <a:xfrm>
            <a:off x="438913" y="3602736"/>
            <a:ext cx="4856358" cy="415925"/>
          </a:xfrm>
        </p:spPr>
        <p:txBody>
          <a:bodyPr/>
          <a:lstStyle>
            <a:lvl1pPr marL="0" indent="0">
              <a:lnSpc>
                <a:spcPct val="90000"/>
              </a:lnSpc>
              <a:buNone/>
              <a:defRPr cap="all" baseline="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171628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ject Team-B-4 people">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B0958769-4709-6032-8ED1-42ED1082AED6}"/>
              </a:ext>
            </a:extLst>
          </p:cNvPr>
          <p:cNvSpPr/>
          <p:nvPr userDrawn="1"/>
        </p:nvSpPr>
        <p:spPr>
          <a:xfrm>
            <a:off x="0" y="0"/>
            <a:ext cx="3282619" cy="6865497"/>
          </a:xfrm>
          <a:custGeom>
            <a:avLst/>
            <a:gdLst>
              <a:gd name="connsiteX0" fmla="*/ 2786982 w 3282619"/>
              <a:gd name="connsiteY0" fmla="*/ 0 h 6865497"/>
              <a:gd name="connsiteX1" fmla="*/ 1409737 w 3282619"/>
              <a:gd name="connsiteY1" fmla="*/ 0 h 6865497"/>
              <a:gd name="connsiteX2" fmla="*/ 0 w 3282619"/>
              <a:gd name="connsiteY2" fmla="*/ 0 h 6865497"/>
              <a:gd name="connsiteX3" fmla="*/ 0 w 3282619"/>
              <a:gd name="connsiteY3" fmla="*/ 6865497 h 6865497"/>
              <a:gd name="connsiteX4" fmla="*/ 1411800 w 3282619"/>
              <a:gd name="connsiteY4" fmla="*/ 6865497 h 6865497"/>
              <a:gd name="connsiteX5" fmla="*/ 2789045 w 3282619"/>
              <a:gd name="connsiteY5" fmla="*/ 6865497 h 6865497"/>
              <a:gd name="connsiteX6" fmla="*/ 2931381 w 3282619"/>
              <a:gd name="connsiteY6" fmla="*/ 6348030 h 6865497"/>
              <a:gd name="connsiteX7" fmla="*/ 3282619 w 3282619"/>
              <a:gd name="connsiteY7" fmla="*/ 3436498 h 6865497"/>
              <a:gd name="connsiteX8" fmla="*/ 2931382 w 3282619"/>
              <a:gd name="connsiteY8"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619" h="6865497">
                <a:moveTo>
                  <a:pt x="2786982" y="0"/>
                </a:moveTo>
                <a:lnTo>
                  <a:pt x="1409737" y="0"/>
                </a:lnTo>
                <a:lnTo>
                  <a:pt x="0" y="0"/>
                </a:lnTo>
                <a:lnTo>
                  <a:pt x="0" y="6865497"/>
                </a:lnTo>
                <a:lnTo>
                  <a:pt x="1411800" y="6865497"/>
                </a:lnTo>
                <a:lnTo>
                  <a:pt x="2789045" y="6865497"/>
                </a:lnTo>
                <a:lnTo>
                  <a:pt x="2931381" y="6348030"/>
                </a:lnTo>
                <a:cubicBezTo>
                  <a:pt x="3159391" y="5431152"/>
                  <a:pt x="3282619" y="4452613"/>
                  <a:pt x="3282619" y="3436498"/>
                </a:cubicBezTo>
                <a:cubicBezTo>
                  <a:pt x="3282619" y="2420383"/>
                  <a:pt x="3159391" y="1441845"/>
                  <a:pt x="2931382"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aphicFrame>
        <p:nvGraphicFramePr>
          <p:cNvPr id="10" name="think-cell data - do not delete" hidden="1">
            <a:extLst>
              <a:ext uri="{FF2B5EF4-FFF2-40B4-BE49-F238E27FC236}">
                <a16:creationId xmlns:a16="http://schemas.microsoft.com/office/drawing/2014/main" id="{64BB8442-4187-3319-7870-9E8A3A4609F5}"/>
              </a:ext>
            </a:extLst>
          </p:cNvPr>
          <p:cNvGraphicFramePr>
            <a:graphicFrameLocks noChangeAspect="1"/>
          </p:cNvGraphicFramePr>
          <p:nvPr>
            <p:custDataLst>
              <p:tags r:id="rId1"/>
            </p:custDataLst>
            <p:extLst>
              <p:ext uri="{D42A27DB-BD31-4B8C-83A1-F6EECF244321}">
                <p14:modId xmlns:p14="http://schemas.microsoft.com/office/powerpoint/2010/main" val="33401996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4BB8442-4187-3319-7870-9E8A3A4609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 name="Freeform 19">
            <a:extLst>
              <a:ext uri="{FF2B5EF4-FFF2-40B4-BE49-F238E27FC236}">
                <a16:creationId xmlns:a16="http://schemas.microsoft.com/office/drawing/2014/main" id="{E11D4238-0889-250F-6013-2319D91A2329}"/>
              </a:ext>
            </a:extLst>
          </p:cNvPr>
          <p:cNvSpPr/>
          <p:nvPr/>
        </p:nvSpPr>
        <p:spPr>
          <a:xfrm>
            <a:off x="0" y="0"/>
            <a:ext cx="3282619" cy="6865497"/>
          </a:xfrm>
          <a:custGeom>
            <a:avLst/>
            <a:gdLst>
              <a:gd name="connsiteX0" fmla="*/ 2786982 w 3282619"/>
              <a:gd name="connsiteY0" fmla="*/ 0 h 6865497"/>
              <a:gd name="connsiteX1" fmla="*/ 1409737 w 3282619"/>
              <a:gd name="connsiteY1" fmla="*/ 0 h 6865497"/>
              <a:gd name="connsiteX2" fmla="*/ 0 w 3282619"/>
              <a:gd name="connsiteY2" fmla="*/ 0 h 6865497"/>
              <a:gd name="connsiteX3" fmla="*/ 0 w 3282619"/>
              <a:gd name="connsiteY3" fmla="*/ 6865497 h 6865497"/>
              <a:gd name="connsiteX4" fmla="*/ 1411800 w 3282619"/>
              <a:gd name="connsiteY4" fmla="*/ 6865497 h 6865497"/>
              <a:gd name="connsiteX5" fmla="*/ 2789045 w 3282619"/>
              <a:gd name="connsiteY5" fmla="*/ 6865497 h 6865497"/>
              <a:gd name="connsiteX6" fmla="*/ 2931381 w 3282619"/>
              <a:gd name="connsiteY6" fmla="*/ 6348030 h 6865497"/>
              <a:gd name="connsiteX7" fmla="*/ 3282619 w 3282619"/>
              <a:gd name="connsiteY7" fmla="*/ 3436498 h 6865497"/>
              <a:gd name="connsiteX8" fmla="*/ 2931382 w 3282619"/>
              <a:gd name="connsiteY8"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619" h="6865497">
                <a:moveTo>
                  <a:pt x="2786982" y="0"/>
                </a:moveTo>
                <a:lnTo>
                  <a:pt x="1409737" y="0"/>
                </a:lnTo>
                <a:lnTo>
                  <a:pt x="0" y="0"/>
                </a:lnTo>
                <a:lnTo>
                  <a:pt x="0" y="6865497"/>
                </a:lnTo>
                <a:lnTo>
                  <a:pt x="1411800" y="6865497"/>
                </a:lnTo>
                <a:lnTo>
                  <a:pt x="2789045" y="6865497"/>
                </a:lnTo>
                <a:lnTo>
                  <a:pt x="2931381" y="6348030"/>
                </a:lnTo>
                <a:cubicBezTo>
                  <a:pt x="3159391" y="5431152"/>
                  <a:pt x="3282619" y="4452613"/>
                  <a:pt x="3282619" y="3436498"/>
                </a:cubicBezTo>
                <a:cubicBezTo>
                  <a:pt x="3282619" y="2420383"/>
                  <a:pt x="3159391" y="1441845"/>
                  <a:pt x="2931382"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457200" y="1600201"/>
            <a:ext cx="1944372" cy="930587"/>
          </a:xfrm>
        </p:spPr>
        <p:txBody>
          <a:bodyPr vert="horz" anchor="b" anchorCtr="0"/>
          <a:lstStyle>
            <a:lvl1pPr>
              <a:defRPr sz="2800">
                <a:solidFill>
                  <a:schemeClr val="bg1"/>
                </a:solidFill>
              </a:defRPr>
            </a:lvl1pPr>
          </a:lstStyle>
          <a:p>
            <a:r>
              <a:rPr lang="en-US"/>
              <a:t>Click to edit Master title style</a:t>
            </a:r>
          </a:p>
        </p:txBody>
      </p:sp>
      <p:sp>
        <p:nvSpPr>
          <p:cNvPr id="2" name="Freeform 1">
            <a:extLst>
              <a:ext uri="{FF2B5EF4-FFF2-40B4-BE49-F238E27FC236}">
                <a16:creationId xmlns:a16="http://schemas.microsoft.com/office/drawing/2014/main" id="{2F2A6027-8DDF-9246-23F9-2B7958ED5D47}"/>
              </a:ext>
            </a:extLst>
          </p:cNvPr>
          <p:cNvSpPr/>
          <p:nvPr/>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4" name="Footer Placeholder 33">
            <a:extLst>
              <a:ext uri="{FF2B5EF4-FFF2-40B4-BE49-F238E27FC236}">
                <a16:creationId xmlns:a16="http://schemas.microsoft.com/office/drawing/2014/main" id="{20D68FAF-8FF2-1710-2C94-86B77CB7574D}"/>
              </a:ext>
            </a:extLst>
          </p:cNvPr>
          <p:cNvSpPr>
            <a:spLocks noGrp="1"/>
          </p:cNvSpPr>
          <p:nvPr>
            <p:ph type="ftr" sz="quarter" idx="27"/>
          </p:nvPr>
        </p:nvSpPr>
        <p:spPr/>
        <p:txBody>
          <a:bodyPr/>
          <a:lstStyle>
            <a:lvl1pPr>
              <a:defRPr>
                <a:solidFill>
                  <a:schemeClr val="bg1"/>
                </a:solidFill>
              </a:defRPr>
            </a:lvl1pPr>
          </a:lstStyle>
          <a:p>
            <a:r>
              <a:rPr lang="en-US" dirty="0"/>
              <a:t>Proprietary &amp; Confidential: Not for Distribution.</a:t>
            </a:r>
          </a:p>
        </p:txBody>
      </p:sp>
      <p:sp>
        <p:nvSpPr>
          <p:cNvPr id="35" name="Slide Number Placeholder 34">
            <a:extLst>
              <a:ext uri="{FF2B5EF4-FFF2-40B4-BE49-F238E27FC236}">
                <a16:creationId xmlns:a16="http://schemas.microsoft.com/office/drawing/2014/main" id="{928B9CAF-236E-4879-8BF1-9528BB86F303}"/>
              </a:ext>
            </a:extLst>
          </p:cNvPr>
          <p:cNvSpPr>
            <a:spLocks noGrp="1"/>
          </p:cNvSpPr>
          <p:nvPr>
            <p:ph type="sldNum" sz="quarter" idx="28"/>
          </p:nvPr>
        </p:nvSpPr>
        <p:spPr/>
        <p:txBody>
          <a:bodyPr/>
          <a:lstStyle/>
          <a:p>
            <a:fld id="{86CB4B4D-7CA3-9044-876B-883B54F8677D}" type="slidenum">
              <a:rPr lang="en-US" smtClean="0"/>
              <a:pPr/>
              <a:t>‹#›</a:t>
            </a:fld>
            <a:endParaRPr lang="en-US" dirty="0"/>
          </a:p>
        </p:txBody>
      </p:sp>
      <p:sp>
        <p:nvSpPr>
          <p:cNvPr id="6" name="Text Placeholder 5">
            <a:extLst>
              <a:ext uri="{FF2B5EF4-FFF2-40B4-BE49-F238E27FC236}">
                <a16:creationId xmlns:a16="http://schemas.microsoft.com/office/drawing/2014/main" id="{5263B1E8-CCF0-BD07-563F-81F5368DF517}"/>
              </a:ext>
            </a:extLst>
          </p:cNvPr>
          <p:cNvSpPr>
            <a:spLocks noGrp="1"/>
          </p:cNvSpPr>
          <p:nvPr>
            <p:ph type="body" sz="quarter" idx="29"/>
          </p:nvPr>
        </p:nvSpPr>
        <p:spPr>
          <a:xfrm>
            <a:off x="457200" y="2560320"/>
            <a:ext cx="2286000" cy="2297379"/>
          </a:xfrm>
        </p:spPr>
        <p:txBody>
          <a:bodyPr/>
          <a:lstStyle>
            <a:lvl1pPr marL="0" indent="0">
              <a:lnSpc>
                <a:spcPct val="120000"/>
              </a:lnSpc>
              <a:buNone/>
              <a:defRPr>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a:t>Click to edit Master text styles</a:t>
            </a:r>
          </a:p>
        </p:txBody>
      </p:sp>
      <p:pic>
        <p:nvPicPr>
          <p:cNvPr id="3" name="Picture 2" descr="Logo&#10;&#10;Description automatically generated">
            <a:extLst>
              <a:ext uri="{FF2B5EF4-FFF2-40B4-BE49-F238E27FC236}">
                <a16:creationId xmlns:a16="http://schemas.microsoft.com/office/drawing/2014/main" id="{9898A80F-DEDB-8AE3-73E7-844601BD971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1627" y="5261753"/>
            <a:ext cx="1293954" cy="459257"/>
          </a:xfrm>
          <a:prstGeom prst="rect">
            <a:avLst/>
          </a:prstGeom>
        </p:spPr>
      </p:pic>
      <p:sp>
        <p:nvSpPr>
          <p:cNvPr id="44" name="Text Placeholder 55">
            <a:extLst>
              <a:ext uri="{FF2B5EF4-FFF2-40B4-BE49-F238E27FC236}">
                <a16:creationId xmlns:a16="http://schemas.microsoft.com/office/drawing/2014/main" id="{3F5C6BD0-473C-B116-932C-AD874636D6F1}"/>
              </a:ext>
            </a:extLst>
          </p:cNvPr>
          <p:cNvSpPr>
            <a:spLocks noGrp="1"/>
          </p:cNvSpPr>
          <p:nvPr>
            <p:ph type="body" sz="quarter" idx="31" hasCustomPrompt="1"/>
          </p:nvPr>
        </p:nvSpPr>
        <p:spPr>
          <a:xfrm>
            <a:off x="5340574" y="957235"/>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45" name="Text Placeholder 55">
            <a:extLst>
              <a:ext uri="{FF2B5EF4-FFF2-40B4-BE49-F238E27FC236}">
                <a16:creationId xmlns:a16="http://schemas.microsoft.com/office/drawing/2014/main" id="{C2501629-01BB-7A47-1780-E657DE1F60C4}"/>
              </a:ext>
            </a:extLst>
          </p:cNvPr>
          <p:cNvSpPr>
            <a:spLocks noGrp="1"/>
          </p:cNvSpPr>
          <p:nvPr>
            <p:ph type="body" sz="quarter" idx="32"/>
          </p:nvPr>
        </p:nvSpPr>
        <p:spPr>
          <a:xfrm>
            <a:off x="7659248" y="974518"/>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46" name="Text Placeholder 55">
            <a:extLst>
              <a:ext uri="{FF2B5EF4-FFF2-40B4-BE49-F238E27FC236}">
                <a16:creationId xmlns:a16="http://schemas.microsoft.com/office/drawing/2014/main" id="{1375CE34-6AF5-2722-E11A-0AB1AF55C8D2}"/>
              </a:ext>
            </a:extLst>
          </p:cNvPr>
          <p:cNvSpPr>
            <a:spLocks noGrp="1"/>
          </p:cNvSpPr>
          <p:nvPr>
            <p:ph type="body" sz="quarter" idx="33"/>
          </p:nvPr>
        </p:nvSpPr>
        <p:spPr>
          <a:xfrm>
            <a:off x="9962832" y="974518"/>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47" name="Picture Placeholder 46">
            <a:extLst>
              <a:ext uri="{FF2B5EF4-FFF2-40B4-BE49-F238E27FC236}">
                <a16:creationId xmlns:a16="http://schemas.microsoft.com/office/drawing/2014/main" id="{F51659CA-C2C9-0476-5598-8B6D95245B03}"/>
              </a:ext>
            </a:extLst>
          </p:cNvPr>
          <p:cNvSpPr>
            <a:spLocks noGrp="1"/>
          </p:cNvSpPr>
          <p:nvPr>
            <p:ph type="pic" sz="quarter" idx="30"/>
          </p:nvPr>
        </p:nvSpPr>
        <p:spPr>
          <a:xfrm>
            <a:off x="4162137" y="901521"/>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cxnSp>
        <p:nvCxnSpPr>
          <p:cNvPr id="50" name="Straight Connector 49">
            <a:extLst>
              <a:ext uri="{FF2B5EF4-FFF2-40B4-BE49-F238E27FC236}">
                <a16:creationId xmlns:a16="http://schemas.microsoft.com/office/drawing/2014/main" id="{42F0E3F5-E3AC-845A-5C9C-52AB035E0978}"/>
              </a:ext>
            </a:extLst>
          </p:cNvPr>
          <p:cNvCxnSpPr/>
          <p:nvPr/>
        </p:nvCxnSpPr>
        <p:spPr>
          <a:xfrm>
            <a:off x="7510408" y="95672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1" name="Straight Connector 50">
            <a:extLst>
              <a:ext uri="{FF2B5EF4-FFF2-40B4-BE49-F238E27FC236}">
                <a16:creationId xmlns:a16="http://schemas.microsoft.com/office/drawing/2014/main" id="{3A43AAED-194D-0F8A-73B1-C5F3DBB251E8}"/>
              </a:ext>
            </a:extLst>
          </p:cNvPr>
          <p:cNvCxnSpPr/>
          <p:nvPr/>
        </p:nvCxnSpPr>
        <p:spPr>
          <a:xfrm>
            <a:off x="9719352" y="95672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2" name="Straight Connector 51">
            <a:extLst>
              <a:ext uri="{FF2B5EF4-FFF2-40B4-BE49-F238E27FC236}">
                <a16:creationId xmlns:a16="http://schemas.microsoft.com/office/drawing/2014/main" id="{2CA569AD-D2D4-368F-9C78-D9FB58F4934D}"/>
              </a:ext>
            </a:extLst>
          </p:cNvPr>
          <p:cNvCxnSpPr/>
          <p:nvPr/>
        </p:nvCxnSpPr>
        <p:spPr>
          <a:xfrm>
            <a:off x="7510408" y="2262752"/>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3" name="Straight Connector 52">
            <a:extLst>
              <a:ext uri="{FF2B5EF4-FFF2-40B4-BE49-F238E27FC236}">
                <a16:creationId xmlns:a16="http://schemas.microsoft.com/office/drawing/2014/main" id="{BE60CCB7-F825-674D-93C7-FBC907FA788A}"/>
              </a:ext>
            </a:extLst>
          </p:cNvPr>
          <p:cNvCxnSpPr/>
          <p:nvPr/>
        </p:nvCxnSpPr>
        <p:spPr>
          <a:xfrm>
            <a:off x="9719352" y="2262752"/>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4" name="Straight Connector 53">
            <a:extLst>
              <a:ext uri="{FF2B5EF4-FFF2-40B4-BE49-F238E27FC236}">
                <a16:creationId xmlns:a16="http://schemas.microsoft.com/office/drawing/2014/main" id="{865EB9E0-740B-4193-E320-500E1B16330E}"/>
              </a:ext>
            </a:extLst>
          </p:cNvPr>
          <p:cNvCxnSpPr/>
          <p:nvPr/>
        </p:nvCxnSpPr>
        <p:spPr>
          <a:xfrm>
            <a:off x="7510408" y="360181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5" name="Straight Connector 54">
            <a:extLst>
              <a:ext uri="{FF2B5EF4-FFF2-40B4-BE49-F238E27FC236}">
                <a16:creationId xmlns:a16="http://schemas.microsoft.com/office/drawing/2014/main" id="{5A5F7866-9AED-7FDE-3F95-49AAA4D09B76}"/>
              </a:ext>
            </a:extLst>
          </p:cNvPr>
          <p:cNvCxnSpPr/>
          <p:nvPr/>
        </p:nvCxnSpPr>
        <p:spPr>
          <a:xfrm>
            <a:off x="9719352" y="360181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6" name="Straight Connector 55">
            <a:extLst>
              <a:ext uri="{FF2B5EF4-FFF2-40B4-BE49-F238E27FC236}">
                <a16:creationId xmlns:a16="http://schemas.microsoft.com/office/drawing/2014/main" id="{D3C794FF-C93C-2376-08FA-2C862627A6A6}"/>
              </a:ext>
            </a:extLst>
          </p:cNvPr>
          <p:cNvCxnSpPr/>
          <p:nvPr/>
        </p:nvCxnSpPr>
        <p:spPr>
          <a:xfrm>
            <a:off x="4162136" y="2064098"/>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60" name="Straight Connector 59">
            <a:extLst>
              <a:ext uri="{FF2B5EF4-FFF2-40B4-BE49-F238E27FC236}">
                <a16:creationId xmlns:a16="http://schemas.microsoft.com/office/drawing/2014/main" id="{F1470D04-D2A5-CEC7-F2DA-88260100213B}"/>
              </a:ext>
            </a:extLst>
          </p:cNvPr>
          <p:cNvCxnSpPr/>
          <p:nvPr/>
        </p:nvCxnSpPr>
        <p:spPr>
          <a:xfrm>
            <a:off x="4162136" y="3383412"/>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62" name="Text Placeholder 55">
            <a:extLst>
              <a:ext uri="{FF2B5EF4-FFF2-40B4-BE49-F238E27FC236}">
                <a16:creationId xmlns:a16="http://schemas.microsoft.com/office/drawing/2014/main" id="{6496B077-C2E4-F86D-9CC0-82ADF807D61F}"/>
              </a:ext>
            </a:extLst>
          </p:cNvPr>
          <p:cNvSpPr>
            <a:spLocks noGrp="1"/>
          </p:cNvSpPr>
          <p:nvPr>
            <p:ph type="body" sz="quarter" idx="34" hasCustomPrompt="1"/>
          </p:nvPr>
        </p:nvSpPr>
        <p:spPr>
          <a:xfrm>
            <a:off x="5340574" y="2267289"/>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63" name="Text Placeholder 55">
            <a:extLst>
              <a:ext uri="{FF2B5EF4-FFF2-40B4-BE49-F238E27FC236}">
                <a16:creationId xmlns:a16="http://schemas.microsoft.com/office/drawing/2014/main" id="{0863EB4C-7759-8479-8428-119BDC71FB0E}"/>
              </a:ext>
            </a:extLst>
          </p:cNvPr>
          <p:cNvSpPr>
            <a:spLocks noGrp="1"/>
          </p:cNvSpPr>
          <p:nvPr>
            <p:ph type="body" sz="quarter" idx="35"/>
          </p:nvPr>
        </p:nvSpPr>
        <p:spPr>
          <a:xfrm>
            <a:off x="7659248" y="2284572"/>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72" name="Text Placeholder 55">
            <a:extLst>
              <a:ext uri="{FF2B5EF4-FFF2-40B4-BE49-F238E27FC236}">
                <a16:creationId xmlns:a16="http://schemas.microsoft.com/office/drawing/2014/main" id="{C2E0DB68-1A9D-D4F4-CBC3-C2C38E8E4B03}"/>
              </a:ext>
            </a:extLst>
          </p:cNvPr>
          <p:cNvSpPr>
            <a:spLocks noGrp="1"/>
          </p:cNvSpPr>
          <p:nvPr>
            <p:ph type="body" sz="quarter" idx="36"/>
          </p:nvPr>
        </p:nvSpPr>
        <p:spPr>
          <a:xfrm>
            <a:off x="9962832" y="2284572"/>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73" name="Picture Placeholder 72">
            <a:extLst>
              <a:ext uri="{FF2B5EF4-FFF2-40B4-BE49-F238E27FC236}">
                <a16:creationId xmlns:a16="http://schemas.microsoft.com/office/drawing/2014/main" id="{0F924BE7-8150-22F9-322D-5556821CD0C0}"/>
              </a:ext>
            </a:extLst>
          </p:cNvPr>
          <p:cNvSpPr>
            <a:spLocks noGrp="1"/>
          </p:cNvSpPr>
          <p:nvPr>
            <p:ph type="pic" sz="quarter" idx="37"/>
          </p:nvPr>
        </p:nvSpPr>
        <p:spPr>
          <a:xfrm>
            <a:off x="4162137" y="2211575"/>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sp>
        <p:nvSpPr>
          <p:cNvPr id="74" name="Text Placeholder 55">
            <a:extLst>
              <a:ext uri="{FF2B5EF4-FFF2-40B4-BE49-F238E27FC236}">
                <a16:creationId xmlns:a16="http://schemas.microsoft.com/office/drawing/2014/main" id="{E888F450-8FFC-97BF-A94F-DDCA0D63B7B3}"/>
              </a:ext>
            </a:extLst>
          </p:cNvPr>
          <p:cNvSpPr>
            <a:spLocks noGrp="1"/>
          </p:cNvSpPr>
          <p:nvPr>
            <p:ph type="body" sz="quarter" idx="38" hasCustomPrompt="1"/>
          </p:nvPr>
        </p:nvSpPr>
        <p:spPr>
          <a:xfrm>
            <a:off x="5340574" y="3586136"/>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75" name="Text Placeholder 55">
            <a:extLst>
              <a:ext uri="{FF2B5EF4-FFF2-40B4-BE49-F238E27FC236}">
                <a16:creationId xmlns:a16="http://schemas.microsoft.com/office/drawing/2014/main" id="{E87CBA69-0725-8F04-D574-55D2A97A5DE0}"/>
              </a:ext>
            </a:extLst>
          </p:cNvPr>
          <p:cNvSpPr>
            <a:spLocks noGrp="1"/>
          </p:cNvSpPr>
          <p:nvPr>
            <p:ph type="body" sz="quarter" idx="39"/>
          </p:nvPr>
        </p:nvSpPr>
        <p:spPr>
          <a:xfrm>
            <a:off x="7659248" y="3603419"/>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76" name="Text Placeholder 55">
            <a:extLst>
              <a:ext uri="{FF2B5EF4-FFF2-40B4-BE49-F238E27FC236}">
                <a16:creationId xmlns:a16="http://schemas.microsoft.com/office/drawing/2014/main" id="{EA9C462E-EC14-9A56-8963-F3D93614EB53}"/>
              </a:ext>
            </a:extLst>
          </p:cNvPr>
          <p:cNvSpPr>
            <a:spLocks noGrp="1"/>
          </p:cNvSpPr>
          <p:nvPr>
            <p:ph type="body" sz="quarter" idx="40"/>
          </p:nvPr>
        </p:nvSpPr>
        <p:spPr>
          <a:xfrm>
            <a:off x="9962832" y="3603419"/>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77" name="Picture Placeholder 76">
            <a:extLst>
              <a:ext uri="{FF2B5EF4-FFF2-40B4-BE49-F238E27FC236}">
                <a16:creationId xmlns:a16="http://schemas.microsoft.com/office/drawing/2014/main" id="{D9437529-2F1C-ECC7-F4B1-5643E503C5F9}"/>
              </a:ext>
            </a:extLst>
          </p:cNvPr>
          <p:cNvSpPr>
            <a:spLocks noGrp="1"/>
          </p:cNvSpPr>
          <p:nvPr>
            <p:ph type="pic" sz="quarter" idx="41"/>
          </p:nvPr>
        </p:nvSpPr>
        <p:spPr>
          <a:xfrm>
            <a:off x="4162137" y="3530422"/>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cxnSp>
        <p:nvCxnSpPr>
          <p:cNvPr id="78" name="Straight Connector 77">
            <a:extLst>
              <a:ext uri="{FF2B5EF4-FFF2-40B4-BE49-F238E27FC236}">
                <a16:creationId xmlns:a16="http://schemas.microsoft.com/office/drawing/2014/main" id="{9B2D5D6B-3FF3-49A3-C338-BE60C91AE610}"/>
              </a:ext>
            </a:extLst>
          </p:cNvPr>
          <p:cNvCxnSpPr/>
          <p:nvPr/>
        </p:nvCxnSpPr>
        <p:spPr>
          <a:xfrm>
            <a:off x="4162136" y="4711051"/>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79" name="Text Placeholder 55">
            <a:extLst>
              <a:ext uri="{FF2B5EF4-FFF2-40B4-BE49-F238E27FC236}">
                <a16:creationId xmlns:a16="http://schemas.microsoft.com/office/drawing/2014/main" id="{A8441404-380D-A715-F32A-9D7295204014}"/>
              </a:ext>
            </a:extLst>
          </p:cNvPr>
          <p:cNvSpPr>
            <a:spLocks noGrp="1"/>
          </p:cNvSpPr>
          <p:nvPr>
            <p:ph type="body" sz="quarter" idx="43" hasCustomPrompt="1"/>
          </p:nvPr>
        </p:nvSpPr>
        <p:spPr>
          <a:xfrm>
            <a:off x="5340574" y="4913775"/>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80" name="Text Placeholder 55">
            <a:extLst>
              <a:ext uri="{FF2B5EF4-FFF2-40B4-BE49-F238E27FC236}">
                <a16:creationId xmlns:a16="http://schemas.microsoft.com/office/drawing/2014/main" id="{F8DF618A-88EA-A6F8-A0D6-8F2773305C31}"/>
              </a:ext>
            </a:extLst>
          </p:cNvPr>
          <p:cNvSpPr>
            <a:spLocks noGrp="1"/>
          </p:cNvSpPr>
          <p:nvPr>
            <p:ph type="body" sz="quarter" idx="44"/>
          </p:nvPr>
        </p:nvSpPr>
        <p:spPr>
          <a:xfrm>
            <a:off x="7659248" y="4931058"/>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81" name="Text Placeholder 55">
            <a:extLst>
              <a:ext uri="{FF2B5EF4-FFF2-40B4-BE49-F238E27FC236}">
                <a16:creationId xmlns:a16="http://schemas.microsoft.com/office/drawing/2014/main" id="{CB060FA6-B178-D075-95F7-DA328312EE55}"/>
              </a:ext>
            </a:extLst>
          </p:cNvPr>
          <p:cNvSpPr>
            <a:spLocks noGrp="1"/>
          </p:cNvSpPr>
          <p:nvPr>
            <p:ph type="body" sz="quarter" idx="45"/>
          </p:nvPr>
        </p:nvSpPr>
        <p:spPr>
          <a:xfrm>
            <a:off x="9962832" y="4931058"/>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82" name="Picture Placeholder 81">
            <a:extLst>
              <a:ext uri="{FF2B5EF4-FFF2-40B4-BE49-F238E27FC236}">
                <a16:creationId xmlns:a16="http://schemas.microsoft.com/office/drawing/2014/main" id="{93D58A41-0962-C384-A3D7-80BDB0180272}"/>
              </a:ext>
            </a:extLst>
          </p:cNvPr>
          <p:cNvSpPr>
            <a:spLocks noGrp="1"/>
          </p:cNvSpPr>
          <p:nvPr>
            <p:ph type="pic" sz="quarter" idx="46"/>
          </p:nvPr>
        </p:nvSpPr>
        <p:spPr>
          <a:xfrm>
            <a:off x="4162137" y="4858061"/>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cxnSp>
        <p:nvCxnSpPr>
          <p:cNvPr id="86" name="Straight Connector 85">
            <a:extLst>
              <a:ext uri="{FF2B5EF4-FFF2-40B4-BE49-F238E27FC236}">
                <a16:creationId xmlns:a16="http://schemas.microsoft.com/office/drawing/2014/main" id="{C05081B6-568E-4209-AA49-1DD10A8B4A73}"/>
              </a:ext>
            </a:extLst>
          </p:cNvPr>
          <p:cNvCxnSpPr/>
          <p:nvPr/>
        </p:nvCxnSpPr>
        <p:spPr>
          <a:xfrm>
            <a:off x="7510408" y="4920665"/>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87" name="Straight Connector 86">
            <a:extLst>
              <a:ext uri="{FF2B5EF4-FFF2-40B4-BE49-F238E27FC236}">
                <a16:creationId xmlns:a16="http://schemas.microsoft.com/office/drawing/2014/main" id="{4C05C8E4-EA96-D36D-07F6-033513A90634}"/>
              </a:ext>
            </a:extLst>
          </p:cNvPr>
          <p:cNvCxnSpPr/>
          <p:nvPr/>
        </p:nvCxnSpPr>
        <p:spPr>
          <a:xfrm>
            <a:off x="9719352" y="4920665"/>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7" name="Freeform 6">
            <a:extLst>
              <a:ext uri="{FF2B5EF4-FFF2-40B4-BE49-F238E27FC236}">
                <a16:creationId xmlns:a16="http://schemas.microsoft.com/office/drawing/2014/main" id="{0473440D-D9A0-603E-E1AA-034DF8A511A1}"/>
              </a:ext>
            </a:extLst>
          </p:cNvPr>
          <p:cNvSpPr/>
          <p:nvPr userDrawn="1"/>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8" name="Straight Connector 7">
            <a:extLst>
              <a:ext uri="{FF2B5EF4-FFF2-40B4-BE49-F238E27FC236}">
                <a16:creationId xmlns:a16="http://schemas.microsoft.com/office/drawing/2014/main" id="{5709D606-30C5-F44A-BB0B-D7FA68168B3F}"/>
              </a:ext>
            </a:extLst>
          </p:cNvPr>
          <p:cNvCxnSpPr/>
          <p:nvPr userDrawn="1"/>
        </p:nvCxnSpPr>
        <p:spPr>
          <a:xfrm>
            <a:off x="7510408" y="95672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9" name="Straight Connector 8">
            <a:extLst>
              <a:ext uri="{FF2B5EF4-FFF2-40B4-BE49-F238E27FC236}">
                <a16:creationId xmlns:a16="http://schemas.microsoft.com/office/drawing/2014/main" id="{1442FEB2-A7AC-7EEB-EFC8-157A998AB552}"/>
              </a:ext>
            </a:extLst>
          </p:cNvPr>
          <p:cNvCxnSpPr/>
          <p:nvPr userDrawn="1"/>
        </p:nvCxnSpPr>
        <p:spPr>
          <a:xfrm>
            <a:off x="9719352" y="95672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1" name="Straight Connector 10">
            <a:extLst>
              <a:ext uri="{FF2B5EF4-FFF2-40B4-BE49-F238E27FC236}">
                <a16:creationId xmlns:a16="http://schemas.microsoft.com/office/drawing/2014/main" id="{CAC5E551-653B-1345-B095-73269A9378E8}"/>
              </a:ext>
            </a:extLst>
          </p:cNvPr>
          <p:cNvCxnSpPr/>
          <p:nvPr userDrawn="1"/>
        </p:nvCxnSpPr>
        <p:spPr>
          <a:xfrm>
            <a:off x="7510408" y="2262752"/>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334C49B6-A9B8-D3B7-1E0B-52B885C3A32D}"/>
              </a:ext>
            </a:extLst>
          </p:cNvPr>
          <p:cNvCxnSpPr/>
          <p:nvPr userDrawn="1"/>
        </p:nvCxnSpPr>
        <p:spPr>
          <a:xfrm>
            <a:off x="9719352" y="2262752"/>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CA0C7E73-4DC8-5770-21E7-68DF2BF7E5D9}"/>
              </a:ext>
            </a:extLst>
          </p:cNvPr>
          <p:cNvCxnSpPr/>
          <p:nvPr userDrawn="1"/>
        </p:nvCxnSpPr>
        <p:spPr>
          <a:xfrm>
            <a:off x="7510408" y="360181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9CC6E295-28CD-438D-3EAE-B58530450BB2}"/>
              </a:ext>
            </a:extLst>
          </p:cNvPr>
          <p:cNvCxnSpPr/>
          <p:nvPr userDrawn="1"/>
        </p:nvCxnSpPr>
        <p:spPr>
          <a:xfrm>
            <a:off x="9719352" y="360181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7" name="Straight Connector 16">
            <a:extLst>
              <a:ext uri="{FF2B5EF4-FFF2-40B4-BE49-F238E27FC236}">
                <a16:creationId xmlns:a16="http://schemas.microsoft.com/office/drawing/2014/main" id="{3A69B8D5-C3AB-7E5E-16ED-69B5C70A8197}"/>
              </a:ext>
            </a:extLst>
          </p:cNvPr>
          <p:cNvCxnSpPr/>
          <p:nvPr userDrawn="1"/>
        </p:nvCxnSpPr>
        <p:spPr>
          <a:xfrm>
            <a:off x="4162136" y="2064098"/>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8" name="Straight Connector 17">
            <a:extLst>
              <a:ext uri="{FF2B5EF4-FFF2-40B4-BE49-F238E27FC236}">
                <a16:creationId xmlns:a16="http://schemas.microsoft.com/office/drawing/2014/main" id="{124CF402-1D3E-239B-6185-658B37816834}"/>
              </a:ext>
            </a:extLst>
          </p:cNvPr>
          <p:cNvCxnSpPr/>
          <p:nvPr userDrawn="1"/>
        </p:nvCxnSpPr>
        <p:spPr>
          <a:xfrm>
            <a:off x="4162136" y="3383412"/>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9" name="Straight Connector 18">
            <a:extLst>
              <a:ext uri="{FF2B5EF4-FFF2-40B4-BE49-F238E27FC236}">
                <a16:creationId xmlns:a16="http://schemas.microsoft.com/office/drawing/2014/main" id="{C792E209-524B-11F0-748A-830DFD5A06CD}"/>
              </a:ext>
            </a:extLst>
          </p:cNvPr>
          <p:cNvCxnSpPr/>
          <p:nvPr userDrawn="1"/>
        </p:nvCxnSpPr>
        <p:spPr>
          <a:xfrm>
            <a:off x="4162136" y="4711051"/>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1" name="Straight Connector 20">
            <a:extLst>
              <a:ext uri="{FF2B5EF4-FFF2-40B4-BE49-F238E27FC236}">
                <a16:creationId xmlns:a16="http://schemas.microsoft.com/office/drawing/2014/main" id="{8A10AF67-F987-E3DA-48C3-5B37F0ADEA0A}"/>
              </a:ext>
            </a:extLst>
          </p:cNvPr>
          <p:cNvCxnSpPr/>
          <p:nvPr userDrawn="1"/>
        </p:nvCxnSpPr>
        <p:spPr>
          <a:xfrm>
            <a:off x="7510408" y="4920665"/>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2" name="Straight Connector 21">
            <a:extLst>
              <a:ext uri="{FF2B5EF4-FFF2-40B4-BE49-F238E27FC236}">
                <a16:creationId xmlns:a16="http://schemas.microsoft.com/office/drawing/2014/main" id="{7207843D-870E-3307-508B-BA83D90FB893}"/>
              </a:ext>
            </a:extLst>
          </p:cNvPr>
          <p:cNvCxnSpPr/>
          <p:nvPr userDrawn="1"/>
        </p:nvCxnSpPr>
        <p:spPr>
          <a:xfrm>
            <a:off x="9719352" y="4920665"/>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06B53792-229E-C80F-0A33-A7229F3F76D8}"/>
              </a:ext>
            </a:extLst>
          </p:cNvPr>
          <p:cNvSpPr>
            <a:spLocks noGrp="1"/>
          </p:cNvSpPr>
          <p:nvPr>
            <p:ph type="body" sz="quarter" idx="25"/>
          </p:nvPr>
        </p:nvSpPr>
        <p:spPr>
          <a:xfrm>
            <a:off x="521978" y="782060"/>
            <a:ext cx="1837335" cy="587438"/>
          </a:xfrm>
        </p:spPr>
        <p:txBody>
          <a:bodyPr anchor="b" anchorCtr="0"/>
          <a:lstStyle>
            <a:lvl1pPr marL="0" indent="0">
              <a:buFontTx/>
              <a:buNone/>
              <a:defRPr sz="1200" cap="all" baseline="0">
                <a:solidFill>
                  <a:schemeClr val="bg1"/>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21551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ject Team-B-5 people">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9FA124A4-5C1A-9443-CC01-B6E144DA0D51}"/>
              </a:ext>
            </a:extLst>
          </p:cNvPr>
          <p:cNvSpPr/>
          <p:nvPr userDrawn="1"/>
        </p:nvSpPr>
        <p:spPr>
          <a:xfrm>
            <a:off x="0" y="0"/>
            <a:ext cx="3282619" cy="6865497"/>
          </a:xfrm>
          <a:custGeom>
            <a:avLst/>
            <a:gdLst>
              <a:gd name="connsiteX0" fmla="*/ 2786982 w 3282619"/>
              <a:gd name="connsiteY0" fmla="*/ 0 h 6865497"/>
              <a:gd name="connsiteX1" fmla="*/ 1409737 w 3282619"/>
              <a:gd name="connsiteY1" fmla="*/ 0 h 6865497"/>
              <a:gd name="connsiteX2" fmla="*/ 0 w 3282619"/>
              <a:gd name="connsiteY2" fmla="*/ 0 h 6865497"/>
              <a:gd name="connsiteX3" fmla="*/ 0 w 3282619"/>
              <a:gd name="connsiteY3" fmla="*/ 6865497 h 6865497"/>
              <a:gd name="connsiteX4" fmla="*/ 1411800 w 3282619"/>
              <a:gd name="connsiteY4" fmla="*/ 6865497 h 6865497"/>
              <a:gd name="connsiteX5" fmla="*/ 2789045 w 3282619"/>
              <a:gd name="connsiteY5" fmla="*/ 6865497 h 6865497"/>
              <a:gd name="connsiteX6" fmla="*/ 2931381 w 3282619"/>
              <a:gd name="connsiteY6" fmla="*/ 6348030 h 6865497"/>
              <a:gd name="connsiteX7" fmla="*/ 3282619 w 3282619"/>
              <a:gd name="connsiteY7" fmla="*/ 3436498 h 6865497"/>
              <a:gd name="connsiteX8" fmla="*/ 2931382 w 3282619"/>
              <a:gd name="connsiteY8"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619" h="6865497">
                <a:moveTo>
                  <a:pt x="2786982" y="0"/>
                </a:moveTo>
                <a:lnTo>
                  <a:pt x="1409737" y="0"/>
                </a:lnTo>
                <a:lnTo>
                  <a:pt x="0" y="0"/>
                </a:lnTo>
                <a:lnTo>
                  <a:pt x="0" y="6865497"/>
                </a:lnTo>
                <a:lnTo>
                  <a:pt x="1411800" y="6865497"/>
                </a:lnTo>
                <a:lnTo>
                  <a:pt x="2789045" y="6865497"/>
                </a:lnTo>
                <a:lnTo>
                  <a:pt x="2931381" y="6348030"/>
                </a:lnTo>
                <a:cubicBezTo>
                  <a:pt x="3159391" y="5431152"/>
                  <a:pt x="3282619" y="4452613"/>
                  <a:pt x="3282619" y="3436498"/>
                </a:cubicBezTo>
                <a:cubicBezTo>
                  <a:pt x="3282619" y="2420383"/>
                  <a:pt x="3159391" y="1441845"/>
                  <a:pt x="2931382"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aphicFrame>
        <p:nvGraphicFramePr>
          <p:cNvPr id="10" name="think-cell data - do not delete" hidden="1">
            <a:extLst>
              <a:ext uri="{FF2B5EF4-FFF2-40B4-BE49-F238E27FC236}">
                <a16:creationId xmlns:a16="http://schemas.microsoft.com/office/drawing/2014/main" id="{64BB8442-4187-3319-7870-9E8A3A4609F5}"/>
              </a:ext>
            </a:extLst>
          </p:cNvPr>
          <p:cNvGraphicFramePr>
            <a:graphicFrameLocks noChangeAspect="1"/>
          </p:cNvGraphicFramePr>
          <p:nvPr>
            <p:custDataLst>
              <p:tags r:id="rId1"/>
            </p:custDataLst>
            <p:extLst>
              <p:ext uri="{D42A27DB-BD31-4B8C-83A1-F6EECF244321}">
                <p14:modId xmlns:p14="http://schemas.microsoft.com/office/powerpoint/2010/main" val="41690921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4BB8442-4187-3319-7870-9E8A3A4609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 name="Freeform 19">
            <a:extLst>
              <a:ext uri="{FF2B5EF4-FFF2-40B4-BE49-F238E27FC236}">
                <a16:creationId xmlns:a16="http://schemas.microsoft.com/office/drawing/2014/main" id="{E11D4238-0889-250F-6013-2319D91A2329}"/>
              </a:ext>
            </a:extLst>
          </p:cNvPr>
          <p:cNvSpPr/>
          <p:nvPr/>
        </p:nvSpPr>
        <p:spPr>
          <a:xfrm>
            <a:off x="0" y="0"/>
            <a:ext cx="3282619" cy="6865497"/>
          </a:xfrm>
          <a:custGeom>
            <a:avLst/>
            <a:gdLst>
              <a:gd name="connsiteX0" fmla="*/ 2786982 w 3282619"/>
              <a:gd name="connsiteY0" fmla="*/ 0 h 6865497"/>
              <a:gd name="connsiteX1" fmla="*/ 1409737 w 3282619"/>
              <a:gd name="connsiteY1" fmla="*/ 0 h 6865497"/>
              <a:gd name="connsiteX2" fmla="*/ 0 w 3282619"/>
              <a:gd name="connsiteY2" fmla="*/ 0 h 6865497"/>
              <a:gd name="connsiteX3" fmla="*/ 0 w 3282619"/>
              <a:gd name="connsiteY3" fmla="*/ 6865497 h 6865497"/>
              <a:gd name="connsiteX4" fmla="*/ 1411800 w 3282619"/>
              <a:gd name="connsiteY4" fmla="*/ 6865497 h 6865497"/>
              <a:gd name="connsiteX5" fmla="*/ 2789045 w 3282619"/>
              <a:gd name="connsiteY5" fmla="*/ 6865497 h 6865497"/>
              <a:gd name="connsiteX6" fmla="*/ 2931381 w 3282619"/>
              <a:gd name="connsiteY6" fmla="*/ 6348030 h 6865497"/>
              <a:gd name="connsiteX7" fmla="*/ 3282619 w 3282619"/>
              <a:gd name="connsiteY7" fmla="*/ 3436498 h 6865497"/>
              <a:gd name="connsiteX8" fmla="*/ 2931382 w 3282619"/>
              <a:gd name="connsiteY8" fmla="*/ 524966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619" h="6865497">
                <a:moveTo>
                  <a:pt x="2786982" y="0"/>
                </a:moveTo>
                <a:lnTo>
                  <a:pt x="1409737" y="0"/>
                </a:lnTo>
                <a:lnTo>
                  <a:pt x="0" y="0"/>
                </a:lnTo>
                <a:lnTo>
                  <a:pt x="0" y="6865497"/>
                </a:lnTo>
                <a:lnTo>
                  <a:pt x="1411800" y="6865497"/>
                </a:lnTo>
                <a:lnTo>
                  <a:pt x="2789045" y="6865497"/>
                </a:lnTo>
                <a:lnTo>
                  <a:pt x="2931381" y="6348030"/>
                </a:lnTo>
                <a:cubicBezTo>
                  <a:pt x="3159391" y="5431152"/>
                  <a:pt x="3282619" y="4452613"/>
                  <a:pt x="3282619" y="3436498"/>
                </a:cubicBezTo>
                <a:cubicBezTo>
                  <a:pt x="3282619" y="2420383"/>
                  <a:pt x="3159391" y="1441845"/>
                  <a:pt x="2931382" y="524966"/>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457200" y="1600201"/>
            <a:ext cx="1944372" cy="930587"/>
          </a:xfrm>
        </p:spPr>
        <p:txBody>
          <a:bodyPr vert="horz" anchor="b" anchorCtr="0"/>
          <a:lstStyle>
            <a:lvl1pPr>
              <a:defRPr sz="2800">
                <a:solidFill>
                  <a:schemeClr val="bg1"/>
                </a:solidFill>
              </a:defRPr>
            </a:lvl1pPr>
          </a:lstStyle>
          <a:p>
            <a:r>
              <a:rPr lang="en-US"/>
              <a:t>Click to edit Master title style</a:t>
            </a:r>
          </a:p>
        </p:txBody>
      </p:sp>
      <p:sp>
        <p:nvSpPr>
          <p:cNvPr id="2" name="Freeform 1">
            <a:extLst>
              <a:ext uri="{FF2B5EF4-FFF2-40B4-BE49-F238E27FC236}">
                <a16:creationId xmlns:a16="http://schemas.microsoft.com/office/drawing/2014/main" id="{2F2A6027-8DDF-9246-23F9-2B7958ED5D47}"/>
              </a:ext>
            </a:extLst>
          </p:cNvPr>
          <p:cNvSpPr/>
          <p:nvPr/>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4" name="Footer Placeholder 33">
            <a:extLst>
              <a:ext uri="{FF2B5EF4-FFF2-40B4-BE49-F238E27FC236}">
                <a16:creationId xmlns:a16="http://schemas.microsoft.com/office/drawing/2014/main" id="{20D68FAF-8FF2-1710-2C94-86B77CB7574D}"/>
              </a:ext>
            </a:extLst>
          </p:cNvPr>
          <p:cNvSpPr>
            <a:spLocks noGrp="1"/>
          </p:cNvSpPr>
          <p:nvPr>
            <p:ph type="ftr" sz="quarter" idx="27"/>
          </p:nvPr>
        </p:nvSpPr>
        <p:spPr/>
        <p:txBody>
          <a:bodyPr/>
          <a:lstStyle>
            <a:lvl1pPr>
              <a:defRPr>
                <a:solidFill>
                  <a:schemeClr val="bg1"/>
                </a:solidFill>
              </a:defRPr>
            </a:lvl1pPr>
          </a:lstStyle>
          <a:p>
            <a:r>
              <a:rPr lang="en-US" dirty="0"/>
              <a:t>Proprietary &amp; Confidential: Not for Distribution.</a:t>
            </a:r>
          </a:p>
        </p:txBody>
      </p:sp>
      <p:sp>
        <p:nvSpPr>
          <p:cNvPr id="35" name="Slide Number Placeholder 34">
            <a:extLst>
              <a:ext uri="{FF2B5EF4-FFF2-40B4-BE49-F238E27FC236}">
                <a16:creationId xmlns:a16="http://schemas.microsoft.com/office/drawing/2014/main" id="{928B9CAF-236E-4879-8BF1-9528BB86F303}"/>
              </a:ext>
            </a:extLst>
          </p:cNvPr>
          <p:cNvSpPr>
            <a:spLocks noGrp="1"/>
          </p:cNvSpPr>
          <p:nvPr>
            <p:ph type="sldNum" sz="quarter" idx="28"/>
          </p:nvPr>
        </p:nvSpPr>
        <p:spPr/>
        <p:txBody>
          <a:bodyPr/>
          <a:lstStyle/>
          <a:p>
            <a:fld id="{86CB4B4D-7CA3-9044-876B-883B54F8677D}" type="slidenum">
              <a:rPr lang="en-US" smtClean="0"/>
              <a:pPr/>
              <a:t>‹#›</a:t>
            </a:fld>
            <a:endParaRPr lang="en-US" dirty="0"/>
          </a:p>
        </p:txBody>
      </p:sp>
      <p:sp>
        <p:nvSpPr>
          <p:cNvPr id="6" name="Text Placeholder 5">
            <a:extLst>
              <a:ext uri="{FF2B5EF4-FFF2-40B4-BE49-F238E27FC236}">
                <a16:creationId xmlns:a16="http://schemas.microsoft.com/office/drawing/2014/main" id="{5263B1E8-CCF0-BD07-563F-81F5368DF517}"/>
              </a:ext>
            </a:extLst>
          </p:cNvPr>
          <p:cNvSpPr>
            <a:spLocks noGrp="1"/>
          </p:cNvSpPr>
          <p:nvPr>
            <p:ph type="body" sz="quarter" idx="29"/>
          </p:nvPr>
        </p:nvSpPr>
        <p:spPr>
          <a:xfrm>
            <a:off x="457200" y="2560320"/>
            <a:ext cx="2286000" cy="2297379"/>
          </a:xfrm>
        </p:spPr>
        <p:txBody>
          <a:bodyPr/>
          <a:lstStyle>
            <a:lvl1pPr marL="0" indent="0">
              <a:lnSpc>
                <a:spcPct val="120000"/>
              </a:lnSpc>
              <a:buNone/>
              <a:defRPr>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a:t>Click to edit Master text styles</a:t>
            </a:r>
          </a:p>
        </p:txBody>
      </p:sp>
      <p:pic>
        <p:nvPicPr>
          <p:cNvPr id="3" name="Picture 2" descr="Logo&#10;&#10;Description automatically generated">
            <a:extLst>
              <a:ext uri="{FF2B5EF4-FFF2-40B4-BE49-F238E27FC236}">
                <a16:creationId xmlns:a16="http://schemas.microsoft.com/office/drawing/2014/main" id="{9898A80F-DEDB-8AE3-73E7-844601BD971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1627" y="5261753"/>
            <a:ext cx="1293954" cy="459257"/>
          </a:xfrm>
          <a:prstGeom prst="rect">
            <a:avLst/>
          </a:prstGeom>
        </p:spPr>
      </p:pic>
      <p:sp>
        <p:nvSpPr>
          <p:cNvPr id="44" name="Text Placeholder 55">
            <a:extLst>
              <a:ext uri="{FF2B5EF4-FFF2-40B4-BE49-F238E27FC236}">
                <a16:creationId xmlns:a16="http://schemas.microsoft.com/office/drawing/2014/main" id="{3F5C6BD0-473C-B116-932C-AD874636D6F1}"/>
              </a:ext>
            </a:extLst>
          </p:cNvPr>
          <p:cNvSpPr>
            <a:spLocks noGrp="1"/>
          </p:cNvSpPr>
          <p:nvPr>
            <p:ph type="body" sz="quarter" idx="31" hasCustomPrompt="1"/>
          </p:nvPr>
        </p:nvSpPr>
        <p:spPr>
          <a:xfrm>
            <a:off x="5340574" y="492599"/>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45" name="Text Placeholder 55">
            <a:extLst>
              <a:ext uri="{FF2B5EF4-FFF2-40B4-BE49-F238E27FC236}">
                <a16:creationId xmlns:a16="http://schemas.microsoft.com/office/drawing/2014/main" id="{C2501629-01BB-7A47-1780-E657DE1F60C4}"/>
              </a:ext>
            </a:extLst>
          </p:cNvPr>
          <p:cNvSpPr>
            <a:spLocks noGrp="1"/>
          </p:cNvSpPr>
          <p:nvPr>
            <p:ph type="body" sz="quarter" idx="32"/>
          </p:nvPr>
        </p:nvSpPr>
        <p:spPr>
          <a:xfrm>
            <a:off x="7659248" y="509882"/>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46" name="Text Placeholder 55">
            <a:extLst>
              <a:ext uri="{FF2B5EF4-FFF2-40B4-BE49-F238E27FC236}">
                <a16:creationId xmlns:a16="http://schemas.microsoft.com/office/drawing/2014/main" id="{1375CE34-6AF5-2722-E11A-0AB1AF55C8D2}"/>
              </a:ext>
            </a:extLst>
          </p:cNvPr>
          <p:cNvSpPr>
            <a:spLocks noGrp="1"/>
          </p:cNvSpPr>
          <p:nvPr>
            <p:ph type="body" sz="quarter" idx="33"/>
          </p:nvPr>
        </p:nvSpPr>
        <p:spPr>
          <a:xfrm>
            <a:off x="9962832" y="509882"/>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47" name="Picture Placeholder 46">
            <a:extLst>
              <a:ext uri="{FF2B5EF4-FFF2-40B4-BE49-F238E27FC236}">
                <a16:creationId xmlns:a16="http://schemas.microsoft.com/office/drawing/2014/main" id="{F51659CA-C2C9-0476-5598-8B6D95245B03}"/>
              </a:ext>
            </a:extLst>
          </p:cNvPr>
          <p:cNvSpPr>
            <a:spLocks noGrp="1"/>
          </p:cNvSpPr>
          <p:nvPr>
            <p:ph type="pic" sz="quarter" idx="30"/>
          </p:nvPr>
        </p:nvSpPr>
        <p:spPr>
          <a:xfrm>
            <a:off x="4162137" y="436885"/>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cxnSp>
        <p:nvCxnSpPr>
          <p:cNvPr id="50" name="Straight Connector 49">
            <a:extLst>
              <a:ext uri="{FF2B5EF4-FFF2-40B4-BE49-F238E27FC236}">
                <a16:creationId xmlns:a16="http://schemas.microsoft.com/office/drawing/2014/main" id="{42F0E3F5-E3AC-845A-5C9C-52AB035E0978}"/>
              </a:ext>
            </a:extLst>
          </p:cNvPr>
          <p:cNvCxnSpPr/>
          <p:nvPr/>
        </p:nvCxnSpPr>
        <p:spPr>
          <a:xfrm>
            <a:off x="7510408" y="46686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1" name="Straight Connector 50">
            <a:extLst>
              <a:ext uri="{FF2B5EF4-FFF2-40B4-BE49-F238E27FC236}">
                <a16:creationId xmlns:a16="http://schemas.microsoft.com/office/drawing/2014/main" id="{3A43AAED-194D-0F8A-73B1-C5F3DBB251E8}"/>
              </a:ext>
            </a:extLst>
          </p:cNvPr>
          <p:cNvCxnSpPr/>
          <p:nvPr/>
        </p:nvCxnSpPr>
        <p:spPr>
          <a:xfrm>
            <a:off x="9719352" y="46686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2" name="Straight Connector 51">
            <a:extLst>
              <a:ext uri="{FF2B5EF4-FFF2-40B4-BE49-F238E27FC236}">
                <a16:creationId xmlns:a16="http://schemas.microsoft.com/office/drawing/2014/main" id="{2CA569AD-D2D4-368F-9C78-D9FB58F4934D}"/>
              </a:ext>
            </a:extLst>
          </p:cNvPr>
          <p:cNvCxnSpPr/>
          <p:nvPr/>
        </p:nvCxnSpPr>
        <p:spPr>
          <a:xfrm>
            <a:off x="7510408" y="165744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3" name="Straight Connector 52">
            <a:extLst>
              <a:ext uri="{FF2B5EF4-FFF2-40B4-BE49-F238E27FC236}">
                <a16:creationId xmlns:a16="http://schemas.microsoft.com/office/drawing/2014/main" id="{BE60CCB7-F825-674D-93C7-FBC907FA788A}"/>
              </a:ext>
            </a:extLst>
          </p:cNvPr>
          <p:cNvCxnSpPr/>
          <p:nvPr/>
        </p:nvCxnSpPr>
        <p:spPr>
          <a:xfrm>
            <a:off x="9719352" y="165744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4" name="Straight Connector 53">
            <a:extLst>
              <a:ext uri="{FF2B5EF4-FFF2-40B4-BE49-F238E27FC236}">
                <a16:creationId xmlns:a16="http://schemas.microsoft.com/office/drawing/2014/main" id="{865EB9E0-740B-4193-E320-500E1B16330E}"/>
              </a:ext>
            </a:extLst>
          </p:cNvPr>
          <p:cNvCxnSpPr/>
          <p:nvPr/>
        </p:nvCxnSpPr>
        <p:spPr>
          <a:xfrm>
            <a:off x="7510408" y="285583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5" name="Straight Connector 54">
            <a:extLst>
              <a:ext uri="{FF2B5EF4-FFF2-40B4-BE49-F238E27FC236}">
                <a16:creationId xmlns:a16="http://schemas.microsoft.com/office/drawing/2014/main" id="{5A5F7866-9AED-7FDE-3F95-49AAA4D09B76}"/>
              </a:ext>
            </a:extLst>
          </p:cNvPr>
          <p:cNvCxnSpPr/>
          <p:nvPr/>
        </p:nvCxnSpPr>
        <p:spPr>
          <a:xfrm>
            <a:off x="9719352" y="285583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56" name="Straight Connector 55">
            <a:extLst>
              <a:ext uri="{FF2B5EF4-FFF2-40B4-BE49-F238E27FC236}">
                <a16:creationId xmlns:a16="http://schemas.microsoft.com/office/drawing/2014/main" id="{D3C794FF-C93C-2376-08FA-2C862627A6A6}"/>
              </a:ext>
            </a:extLst>
          </p:cNvPr>
          <p:cNvCxnSpPr/>
          <p:nvPr/>
        </p:nvCxnSpPr>
        <p:spPr>
          <a:xfrm>
            <a:off x="4162135" y="1529126"/>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60" name="Straight Connector 59">
            <a:extLst>
              <a:ext uri="{FF2B5EF4-FFF2-40B4-BE49-F238E27FC236}">
                <a16:creationId xmlns:a16="http://schemas.microsoft.com/office/drawing/2014/main" id="{F1470D04-D2A5-CEC7-F2DA-88260100213B}"/>
              </a:ext>
            </a:extLst>
          </p:cNvPr>
          <p:cNvCxnSpPr/>
          <p:nvPr/>
        </p:nvCxnSpPr>
        <p:spPr>
          <a:xfrm>
            <a:off x="4162135" y="2707768"/>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62" name="Text Placeholder 55">
            <a:extLst>
              <a:ext uri="{FF2B5EF4-FFF2-40B4-BE49-F238E27FC236}">
                <a16:creationId xmlns:a16="http://schemas.microsoft.com/office/drawing/2014/main" id="{6496B077-C2E4-F86D-9CC0-82ADF807D61F}"/>
              </a:ext>
            </a:extLst>
          </p:cNvPr>
          <p:cNvSpPr>
            <a:spLocks noGrp="1"/>
          </p:cNvSpPr>
          <p:nvPr>
            <p:ph type="body" sz="quarter" idx="34" hasCustomPrompt="1"/>
          </p:nvPr>
        </p:nvSpPr>
        <p:spPr>
          <a:xfrm>
            <a:off x="5340574" y="1661981"/>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63" name="Text Placeholder 55">
            <a:extLst>
              <a:ext uri="{FF2B5EF4-FFF2-40B4-BE49-F238E27FC236}">
                <a16:creationId xmlns:a16="http://schemas.microsoft.com/office/drawing/2014/main" id="{0863EB4C-7759-8479-8428-119BDC71FB0E}"/>
              </a:ext>
            </a:extLst>
          </p:cNvPr>
          <p:cNvSpPr>
            <a:spLocks noGrp="1"/>
          </p:cNvSpPr>
          <p:nvPr>
            <p:ph type="body" sz="quarter" idx="35"/>
          </p:nvPr>
        </p:nvSpPr>
        <p:spPr>
          <a:xfrm>
            <a:off x="7659248" y="1679264"/>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72" name="Text Placeholder 55">
            <a:extLst>
              <a:ext uri="{FF2B5EF4-FFF2-40B4-BE49-F238E27FC236}">
                <a16:creationId xmlns:a16="http://schemas.microsoft.com/office/drawing/2014/main" id="{C2E0DB68-1A9D-D4F4-CBC3-C2C38E8E4B03}"/>
              </a:ext>
            </a:extLst>
          </p:cNvPr>
          <p:cNvSpPr>
            <a:spLocks noGrp="1"/>
          </p:cNvSpPr>
          <p:nvPr>
            <p:ph type="body" sz="quarter" idx="36"/>
          </p:nvPr>
        </p:nvSpPr>
        <p:spPr>
          <a:xfrm>
            <a:off x="9962832" y="1679264"/>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73" name="Picture Placeholder 72">
            <a:extLst>
              <a:ext uri="{FF2B5EF4-FFF2-40B4-BE49-F238E27FC236}">
                <a16:creationId xmlns:a16="http://schemas.microsoft.com/office/drawing/2014/main" id="{0F924BE7-8150-22F9-322D-5556821CD0C0}"/>
              </a:ext>
            </a:extLst>
          </p:cNvPr>
          <p:cNvSpPr>
            <a:spLocks noGrp="1"/>
          </p:cNvSpPr>
          <p:nvPr>
            <p:ph type="pic" sz="quarter" idx="37"/>
          </p:nvPr>
        </p:nvSpPr>
        <p:spPr>
          <a:xfrm>
            <a:off x="4162137" y="1606267"/>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74" name="Text Placeholder 55">
            <a:extLst>
              <a:ext uri="{FF2B5EF4-FFF2-40B4-BE49-F238E27FC236}">
                <a16:creationId xmlns:a16="http://schemas.microsoft.com/office/drawing/2014/main" id="{E888F450-8FFC-97BF-A94F-DDCA0D63B7B3}"/>
              </a:ext>
            </a:extLst>
          </p:cNvPr>
          <p:cNvSpPr>
            <a:spLocks noGrp="1"/>
          </p:cNvSpPr>
          <p:nvPr>
            <p:ph type="body" sz="quarter" idx="38" hasCustomPrompt="1"/>
          </p:nvPr>
        </p:nvSpPr>
        <p:spPr>
          <a:xfrm>
            <a:off x="5340574" y="2840156"/>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75" name="Text Placeholder 55">
            <a:extLst>
              <a:ext uri="{FF2B5EF4-FFF2-40B4-BE49-F238E27FC236}">
                <a16:creationId xmlns:a16="http://schemas.microsoft.com/office/drawing/2014/main" id="{E87CBA69-0725-8F04-D574-55D2A97A5DE0}"/>
              </a:ext>
            </a:extLst>
          </p:cNvPr>
          <p:cNvSpPr>
            <a:spLocks noGrp="1"/>
          </p:cNvSpPr>
          <p:nvPr>
            <p:ph type="body" sz="quarter" idx="39"/>
          </p:nvPr>
        </p:nvSpPr>
        <p:spPr>
          <a:xfrm>
            <a:off x="7659248" y="2857439"/>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76" name="Text Placeholder 55">
            <a:extLst>
              <a:ext uri="{FF2B5EF4-FFF2-40B4-BE49-F238E27FC236}">
                <a16:creationId xmlns:a16="http://schemas.microsoft.com/office/drawing/2014/main" id="{EA9C462E-EC14-9A56-8963-F3D93614EB53}"/>
              </a:ext>
            </a:extLst>
          </p:cNvPr>
          <p:cNvSpPr>
            <a:spLocks noGrp="1"/>
          </p:cNvSpPr>
          <p:nvPr>
            <p:ph type="body" sz="quarter" idx="40"/>
          </p:nvPr>
        </p:nvSpPr>
        <p:spPr>
          <a:xfrm>
            <a:off x="9962832" y="2857439"/>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77" name="Picture Placeholder 76">
            <a:extLst>
              <a:ext uri="{FF2B5EF4-FFF2-40B4-BE49-F238E27FC236}">
                <a16:creationId xmlns:a16="http://schemas.microsoft.com/office/drawing/2014/main" id="{D9437529-2F1C-ECC7-F4B1-5643E503C5F9}"/>
              </a:ext>
            </a:extLst>
          </p:cNvPr>
          <p:cNvSpPr>
            <a:spLocks noGrp="1"/>
          </p:cNvSpPr>
          <p:nvPr>
            <p:ph type="pic" sz="quarter" idx="41"/>
          </p:nvPr>
        </p:nvSpPr>
        <p:spPr>
          <a:xfrm>
            <a:off x="4162137" y="2784442"/>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cxnSp>
        <p:nvCxnSpPr>
          <p:cNvPr id="78" name="Straight Connector 77">
            <a:extLst>
              <a:ext uri="{FF2B5EF4-FFF2-40B4-BE49-F238E27FC236}">
                <a16:creationId xmlns:a16="http://schemas.microsoft.com/office/drawing/2014/main" id="{9B2D5D6B-3FF3-49A3-C338-BE60C91AE610}"/>
              </a:ext>
            </a:extLst>
          </p:cNvPr>
          <p:cNvCxnSpPr/>
          <p:nvPr/>
        </p:nvCxnSpPr>
        <p:spPr>
          <a:xfrm>
            <a:off x="4162135" y="3894735"/>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79" name="Text Placeholder 55">
            <a:extLst>
              <a:ext uri="{FF2B5EF4-FFF2-40B4-BE49-F238E27FC236}">
                <a16:creationId xmlns:a16="http://schemas.microsoft.com/office/drawing/2014/main" id="{A8441404-380D-A715-F32A-9D7295204014}"/>
              </a:ext>
            </a:extLst>
          </p:cNvPr>
          <p:cNvSpPr>
            <a:spLocks noGrp="1"/>
          </p:cNvSpPr>
          <p:nvPr>
            <p:ph type="body" sz="quarter" idx="43" hasCustomPrompt="1"/>
          </p:nvPr>
        </p:nvSpPr>
        <p:spPr>
          <a:xfrm>
            <a:off x="5340574" y="4027123"/>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80" name="Text Placeholder 55">
            <a:extLst>
              <a:ext uri="{FF2B5EF4-FFF2-40B4-BE49-F238E27FC236}">
                <a16:creationId xmlns:a16="http://schemas.microsoft.com/office/drawing/2014/main" id="{F8DF618A-88EA-A6F8-A0D6-8F2773305C31}"/>
              </a:ext>
            </a:extLst>
          </p:cNvPr>
          <p:cNvSpPr>
            <a:spLocks noGrp="1"/>
          </p:cNvSpPr>
          <p:nvPr>
            <p:ph type="body" sz="quarter" idx="44"/>
          </p:nvPr>
        </p:nvSpPr>
        <p:spPr>
          <a:xfrm>
            <a:off x="7659248" y="4044406"/>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81" name="Text Placeholder 55">
            <a:extLst>
              <a:ext uri="{FF2B5EF4-FFF2-40B4-BE49-F238E27FC236}">
                <a16:creationId xmlns:a16="http://schemas.microsoft.com/office/drawing/2014/main" id="{CB060FA6-B178-D075-95F7-DA328312EE55}"/>
              </a:ext>
            </a:extLst>
          </p:cNvPr>
          <p:cNvSpPr>
            <a:spLocks noGrp="1"/>
          </p:cNvSpPr>
          <p:nvPr>
            <p:ph type="body" sz="quarter" idx="45"/>
          </p:nvPr>
        </p:nvSpPr>
        <p:spPr>
          <a:xfrm>
            <a:off x="9962832" y="4044406"/>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82" name="Picture Placeholder 81">
            <a:extLst>
              <a:ext uri="{FF2B5EF4-FFF2-40B4-BE49-F238E27FC236}">
                <a16:creationId xmlns:a16="http://schemas.microsoft.com/office/drawing/2014/main" id="{93D58A41-0962-C384-A3D7-80BDB0180272}"/>
              </a:ext>
            </a:extLst>
          </p:cNvPr>
          <p:cNvSpPr>
            <a:spLocks noGrp="1"/>
          </p:cNvSpPr>
          <p:nvPr>
            <p:ph type="pic" sz="quarter" idx="46"/>
          </p:nvPr>
        </p:nvSpPr>
        <p:spPr>
          <a:xfrm>
            <a:off x="4162137" y="3971409"/>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cxnSp>
        <p:nvCxnSpPr>
          <p:cNvPr id="86" name="Straight Connector 85">
            <a:extLst>
              <a:ext uri="{FF2B5EF4-FFF2-40B4-BE49-F238E27FC236}">
                <a16:creationId xmlns:a16="http://schemas.microsoft.com/office/drawing/2014/main" id="{C05081B6-568E-4209-AA49-1DD10A8B4A73}"/>
              </a:ext>
            </a:extLst>
          </p:cNvPr>
          <p:cNvCxnSpPr/>
          <p:nvPr/>
        </p:nvCxnSpPr>
        <p:spPr>
          <a:xfrm>
            <a:off x="7510408" y="4034013"/>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87" name="Straight Connector 86">
            <a:extLst>
              <a:ext uri="{FF2B5EF4-FFF2-40B4-BE49-F238E27FC236}">
                <a16:creationId xmlns:a16="http://schemas.microsoft.com/office/drawing/2014/main" id="{4C05C8E4-EA96-D36D-07F6-033513A90634}"/>
              </a:ext>
            </a:extLst>
          </p:cNvPr>
          <p:cNvCxnSpPr/>
          <p:nvPr/>
        </p:nvCxnSpPr>
        <p:spPr>
          <a:xfrm>
            <a:off x="9719352" y="4034013"/>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4" name="Straight Connector 3">
            <a:extLst>
              <a:ext uri="{FF2B5EF4-FFF2-40B4-BE49-F238E27FC236}">
                <a16:creationId xmlns:a16="http://schemas.microsoft.com/office/drawing/2014/main" id="{E1754156-8757-8EA8-9C04-DC3084D523E1}"/>
              </a:ext>
            </a:extLst>
          </p:cNvPr>
          <p:cNvCxnSpPr/>
          <p:nvPr/>
        </p:nvCxnSpPr>
        <p:spPr>
          <a:xfrm>
            <a:off x="4162135" y="5081701"/>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5" name="Text Placeholder 55">
            <a:extLst>
              <a:ext uri="{FF2B5EF4-FFF2-40B4-BE49-F238E27FC236}">
                <a16:creationId xmlns:a16="http://schemas.microsoft.com/office/drawing/2014/main" id="{6DC966F7-5137-208B-1BCE-9F66392A63C2}"/>
              </a:ext>
            </a:extLst>
          </p:cNvPr>
          <p:cNvSpPr>
            <a:spLocks noGrp="1"/>
          </p:cNvSpPr>
          <p:nvPr>
            <p:ph type="body" sz="quarter" idx="47" hasCustomPrompt="1"/>
          </p:nvPr>
        </p:nvSpPr>
        <p:spPr>
          <a:xfrm>
            <a:off x="5340574" y="5214089"/>
            <a:ext cx="2157984" cy="914401"/>
          </a:xfrm>
        </p:spPr>
        <p:txBody>
          <a:bodyPr/>
          <a:lstStyle>
            <a:lvl1pPr marL="0" indent="0" algn="l">
              <a:lnSpc>
                <a:spcPct val="105000"/>
              </a:lnSpc>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7" name="Text Placeholder 55">
            <a:extLst>
              <a:ext uri="{FF2B5EF4-FFF2-40B4-BE49-F238E27FC236}">
                <a16:creationId xmlns:a16="http://schemas.microsoft.com/office/drawing/2014/main" id="{457DE292-5E37-AC34-B792-26400D40397D}"/>
              </a:ext>
            </a:extLst>
          </p:cNvPr>
          <p:cNvSpPr>
            <a:spLocks noGrp="1"/>
          </p:cNvSpPr>
          <p:nvPr>
            <p:ph type="body" sz="quarter" idx="48"/>
          </p:nvPr>
        </p:nvSpPr>
        <p:spPr>
          <a:xfrm>
            <a:off x="7659248" y="5231372"/>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8" name="Text Placeholder 55">
            <a:extLst>
              <a:ext uri="{FF2B5EF4-FFF2-40B4-BE49-F238E27FC236}">
                <a16:creationId xmlns:a16="http://schemas.microsoft.com/office/drawing/2014/main" id="{0C7DA737-67D7-788E-4BDF-5C5FE2E74383}"/>
              </a:ext>
            </a:extLst>
          </p:cNvPr>
          <p:cNvSpPr>
            <a:spLocks noGrp="1"/>
          </p:cNvSpPr>
          <p:nvPr>
            <p:ph type="body" sz="quarter" idx="49"/>
          </p:nvPr>
        </p:nvSpPr>
        <p:spPr>
          <a:xfrm>
            <a:off x="9962832" y="5231372"/>
            <a:ext cx="1996957" cy="888057"/>
          </a:xfrm>
        </p:spPr>
        <p:txBody>
          <a:bodyPr/>
          <a:lstStyle>
            <a:lvl1pPr marL="0" indent="0" algn="l">
              <a:lnSpc>
                <a:spcPct val="105000"/>
              </a:lnSpc>
              <a:spcBef>
                <a:spcPts val="0"/>
              </a:spcBef>
              <a:buNone/>
              <a:defRPr sz="1400" b="1">
                <a:solidFill>
                  <a:schemeClr val="tx2"/>
                </a:solidFill>
              </a:defRPr>
            </a:lvl1pPr>
            <a:lvl2pPr marL="0" indent="0" algn="l">
              <a:lnSpc>
                <a:spcPct val="105000"/>
              </a:lnSpc>
              <a:spcBef>
                <a:spcPts val="0"/>
              </a:spcBef>
              <a:buNone/>
              <a:defRPr sz="14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Master text styles</a:t>
            </a:r>
          </a:p>
          <a:p>
            <a:pPr lvl="1"/>
            <a:r>
              <a:rPr lang="en-US"/>
              <a:t>Second level</a:t>
            </a:r>
          </a:p>
        </p:txBody>
      </p:sp>
      <p:sp>
        <p:nvSpPr>
          <p:cNvPr id="9" name="Picture Placeholder 81">
            <a:extLst>
              <a:ext uri="{FF2B5EF4-FFF2-40B4-BE49-F238E27FC236}">
                <a16:creationId xmlns:a16="http://schemas.microsoft.com/office/drawing/2014/main" id="{D7D46A84-FCAA-589A-2B33-51418286267A}"/>
              </a:ext>
            </a:extLst>
          </p:cNvPr>
          <p:cNvSpPr>
            <a:spLocks noGrp="1"/>
          </p:cNvSpPr>
          <p:nvPr>
            <p:ph type="pic" sz="quarter" idx="50"/>
          </p:nvPr>
        </p:nvSpPr>
        <p:spPr>
          <a:xfrm>
            <a:off x="4162137" y="5158375"/>
            <a:ext cx="1005840" cy="1005840"/>
          </a:xfrm>
          <a:custGeom>
            <a:avLst/>
            <a:gdLst>
              <a:gd name="connsiteX0" fmla="*/ 502920 w 1005840"/>
              <a:gd name="connsiteY0" fmla="*/ 0 h 1005840"/>
              <a:gd name="connsiteX1" fmla="*/ 1005840 w 1005840"/>
              <a:gd name="connsiteY1" fmla="*/ 502920 h 1005840"/>
              <a:gd name="connsiteX2" fmla="*/ 502920 w 1005840"/>
              <a:gd name="connsiteY2" fmla="*/ 1005840 h 1005840"/>
              <a:gd name="connsiteX3" fmla="*/ 0 w 1005840"/>
              <a:gd name="connsiteY3" fmla="*/ 502920 h 1005840"/>
              <a:gd name="connsiteX4" fmla="*/ 502920 w 100584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502920" y="0"/>
                </a:moveTo>
                <a:cubicBezTo>
                  <a:pt x="780676" y="0"/>
                  <a:pt x="1005840" y="225165"/>
                  <a:pt x="1005840" y="502920"/>
                </a:cubicBezTo>
                <a:cubicBezTo>
                  <a:pt x="1005840" y="780676"/>
                  <a:pt x="780676" y="1005840"/>
                  <a:pt x="502920" y="1005840"/>
                </a:cubicBezTo>
                <a:cubicBezTo>
                  <a:pt x="225165" y="1005840"/>
                  <a:pt x="0" y="780676"/>
                  <a:pt x="0" y="502920"/>
                </a:cubicBezTo>
                <a:cubicBezTo>
                  <a:pt x="0" y="225165"/>
                  <a:pt x="225165" y="0"/>
                  <a:pt x="50292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cxnSp>
        <p:nvCxnSpPr>
          <p:cNvPr id="11" name="Straight Connector 10">
            <a:extLst>
              <a:ext uri="{FF2B5EF4-FFF2-40B4-BE49-F238E27FC236}">
                <a16:creationId xmlns:a16="http://schemas.microsoft.com/office/drawing/2014/main" id="{139D5F2D-11C0-3704-5F86-F7791E94C94E}"/>
              </a:ext>
            </a:extLst>
          </p:cNvPr>
          <p:cNvCxnSpPr/>
          <p:nvPr/>
        </p:nvCxnSpPr>
        <p:spPr>
          <a:xfrm>
            <a:off x="7510408" y="522097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819DB736-4035-F3B7-9708-51027B3994CC}"/>
              </a:ext>
            </a:extLst>
          </p:cNvPr>
          <p:cNvCxnSpPr/>
          <p:nvPr/>
        </p:nvCxnSpPr>
        <p:spPr>
          <a:xfrm>
            <a:off x="9719352" y="522097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17" name="Freeform 16">
            <a:extLst>
              <a:ext uri="{FF2B5EF4-FFF2-40B4-BE49-F238E27FC236}">
                <a16:creationId xmlns:a16="http://schemas.microsoft.com/office/drawing/2014/main" id="{AEFE571C-2771-DAC9-7626-A5B7843ACA54}"/>
              </a:ext>
            </a:extLst>
          </p:cNvPr>
          <p:cNvSpPr/>
          <p:nvPr userDrawn="1"/>
        </p:nvSpPr>
        <p:spPr>
          <a:xfrm flipH="1">
            <a:off x="2359313" y="0"/>
            <a:ext cx="923306" cy="6858000"/>
          </a:xfrm>
          <a:custGeom>
            <a:avLst/>
            <a:gdLst>
              <a:gd name="connsiteX0" fmla="*/ 501275 w 923306"/>
              <a:gd name="connsiteY0" fmla="*/ 0 h 6858000"/>
              <a:gd name="connsiteX1" fmla="*/ 923306 w 923306"/>
              <a:gd name="connsiteY1" fmla="*/ 0 h 6858000"/>
              <a:gd name="connsiteX2" fmla="*/ 838005 w 923306"/>
              <a:gd name="connsiteY2" fmla="*/ 292180 h 6858000"/>
              <a:gd name="connsiteX3" fmla="*/ 422031 w 923306"/>
              <a:gd name="connsiteY3" fmla="*/ 3475494 h 6858000"/>
              <a:gd name="connsiteX4" fmla="*/ 838005 w 923306"/>
              <a:gd name="connsiteY4" fmla="*/ 6658808 h 6858000"/>
              <a:gd name="connsiteX5" fmla="*/ 896158 w 923306"/>
              <a:gd name="connsiteY5" fmla="*/ 6858000 h 6858000"/>
              <a:gd name="connsiteX6" fmla="*/ 474127 w 923306"/>
              <a:gd name="connsiteY6" fmla="*/ 6858000 h 6858000"/>
              <a:gd name="connsiteX7" fmla="*/ 415974 w 923306"/>
              <a:gd name="connsiteY7" fmla="*/ 6658808 h 6858000"/>
              <a:gd name="connsiteX8" fmla="*/ 0 w 923306"/>
              <a:gd name="connsiteY8" fmla="*/ 3475494 h 6858000"/>
              <a:gd name="connsiteX9" fmla="*/ 415974 w 923306"/>
              <a:gd name="connsiteY9" fmla="*/ 2921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06" h="6858000">
                <a:moveTo>
                  <a:pt x="501275" y="0"/>
                </a:moveTo>
                <a:lnTo>
                  <a:pt x="923306" y="0"/>
                </a:lnTo>
                <a:lnTo>
                  <a:pt x="838005" y="292180"/>
                </a:lnTo>
                <a:cubicBezTo>
                  <a:pt x="568897" y="1284788"/>
                  <a:pt x="422031" y="2356978"/>
                  <a:pt x="422031" y="3475494"/>
                </a:cubicBezTo>
                <a:cubicBezTo>
                  <a:pt x="422031" y="4594011"/>
                  <a:pt x="568897" y="5666200"/>
                  <a:pt x="838005" y="6658808"/>
                </a:cubicBezTo>
                <a:lnTo>
                  <a:pt x="896158" y="6858000"/>
                </a:lnTo>
                <a:lnTo>
                  <a:pt x="474127" y="6858000"/>
                </a:lnTo>
                <a:lnTo>
                  <a:pt x="415974" y="6658808"/>
                </a:lnTo>
                <a:cubicBezTo>
                  <a:pt x="146866" y="5666200"/>
                  <a:pt x="0" y="4594011"/>
                  <a:pt x="0" y="3475494"/>
                </a:cubicBezTo>
                <a:cubicBezTo>
                  <a:pt x="0" y="2356978"/>
                  <a:pt x="146866" y="1284788"/>
                  <a:pt x="415974" y="292180"/>
                </a:cubicBezTo>
                <a:close/>
              </a:path>
            </a:pathLst>
          </a:custGeom>
          <a:solidFill>
            <a:schemeClr val="bg1">
              <a:alpha val="70000"/>
            </a:schemeClr>
          </a:solidFill>
          <a:ln w="11112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18" name="Straight Connector 17">
            <a:extLst>
              <a:ext uri="{FF2B5EF4-FFF2-40B4-BE49-F238E27FC236}">
                <a16:creationId xmlns:a16="http://schemas.microsoft.com/office/drawing/2014/main" id="{928C97EA-E1A7-931F-B8DA-406BCE9AE3AF}"/>
              </a:ext>
            </a:extLst>
          </p:cNvPr>
          <p:cNvCxnSpPr/>
          <p:nvPr userDrawn="1"/>
        </p:nvCxnSpPr>
        <p:spPr>
          <a:xfrm>
            <a:off x="7510408" y="46686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19" name="Straight Connector 18">
            <a:extLst>
              <a:ext uri="{FF2B5EF4-FFF2-40B4-BE49-F238E27FC236}">
                <a16:creationId xmlns:a16="http://schemas.microsoft.com/office/drawing/2014/main" id="{E23BD9B3-9297-85F7-D494-CF13136EA6EC}"/>
              </a:ext>
            </a:extLst>
          </p:cNvPr>
          <p:cNvCxnSpPr/>
          <p:nvPr userDrawn="1"/>
        </p:nvCxnSpPr>
        <p:spPr>
          <a:xfrm>
            <a:off x="9719352" y="46686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1" name="Straight Connector 20">
            <a:extLst>
              <a:ext uri="{FF2B5EF4-FFF2-40B4-BE49-F238E27FC236}">
                <a16:creationId xmlns:a16="http://schemas.microsoft.com/office/drawing/2014/main" id="{861CD254-BBAB-0615-172D-6D339F8F2F8D}"/>
              </a:ext>
            </a:extLst>
          </p:cNvPr>
          <p:cNvCxnSpPr/>
          <p:nvPr userDrawn="1"/>
        </p:nvCxnSpPr>
        <p:spPr>
          <a:xfrm>
            <a:off x="7510408" y="165744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2" name="Straight Connector 21">
            <a:extLst>
              <a:ext uri="{FF2B5EF4-FFF2-40B4-BE49-F238E27FC236}">
                <a16:creationId xmlns:a16="http://schemas.microsoft.com/office/drawing/2014/main" id="{9C5E9769-5C32-8707-D277-0B2EDBF93063}"/>
              </a:ext>
            </a:extLst>
          </p:cNvPr>
          <p:cNvCxnSpPr/>
          <p:nvPr userDrawn="1"/>
        </p:nvCxnSpPr>
        <p:spPr>
          <a:xfrm>
            <a:off x="9719352" y="1657444"/>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3" name="Straight Connector 22">
            <a:extLst>
              <a:ext uri="{FF2B5EF4-FFF2-40B4-BE49-F238E27FC236}">
                <a16:creationId xmlns:a16="http://schemas.microsoft.com/office/drawing/2014/main" id="{A492F026-5406-7CEC-D916-9E9539E6CB47}"/>
              </a:ext>
            </a:extLst>
          </p:cNvPr>
          <p:cNvCxnSpPr/>
          <p:nvPr userDrawn="1"/>
        </p:nvCxnSpPr>
        <p:spPr>
          <a:xfrm>
            <a:off x="7510408" y="285583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4" name="Straight Connector 23">
            <a:extLst>
              <a:ext uri="{FF2B5EF4-FFF2-40B4-BE49-F238E27FC236}">
                <a16:creationId xmlns:a16="http://schemas.microsoft.com/office/drawing/2014/main" id="{8EFAEB0A-1A6E-1AD7-A96F-5AA5DD41E056}"/>
              </a:ext>
            </a:extLst>
          </p:cNvPr>
          <p:cNvCxnSpPr/>
          <p:nvPr userDrawn="1"/>
        </p:nvCxnSpPr>
        <p:spPr>
          <a:xfrm>
            <a:off x="9719352" y="285583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5" name="Straight Connector 24">
            <a:extLst>
              <a:ext uri="{FF2B5EF4-FFF2-40B4-BE49-F238E27FC236}">
                <a16:creationId xmlns:a16="http://schemas.microsoft.com/office/drawing/2014/main" id="{3C475347-2223-85E6-E9A4-1F78A3706ABC}"/>
              </a:ext>
            </a:extLst>
          </p:cNvPr>
          <p:cNvCxnSpPr/>
          <p:nvPr userDrawn="1"/>
        </p:nvCxnSpPr>
        <p:spPr>
          <a:xfrm>
            <a:off x="4162135" y="1529126"/>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6" name="Straight Connector 25">
            <a:extLst>
              <a:ext uri="{FF2B5EF4-FFF2-40B4-BE49-F238E27FC236}">
                <a16:creationId xmlns:a16="http://schemas.microsoft.com/office/drawing/2014/main" id="{CE139CBB-EDD9-E6A3-8F07-FBEE0FA3D8A7}"/>
              </a:ext>
            </a:extLst>
          </p:cNvPr>
          <p:cNvCxnSpPr/>
          <p:nvPr userDrawn="1"/>
        </p:nvCxnSpPr>
        <p:spPr>
          <a:xfrm>
            <a:off x="4162135" y="2707768"/>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7" name="Straight Connector 26">
            <a:extLst>
              <a:ext uri="{FF2B5EF4-FFF2-40B4-BE49-F238E27FC236}">
                <a16:creationId xmlns:a16="http://schemas.microsoft.com/office/drawing/2014/main" id="{07D5E834-8AE5-F44B-F166-8F5AC89A6DBD}"/>
              </a:ext>
            </a:extLst>
          </p:cNvPr>
          <p:cNvCxnSpPr/>
          <p:nvPr userDrawn="1"/>
        </p:nvCxnSpPr>
        <p:spPr>
          <a:xfrm>
            <a:off x="4162135" y="3894735"/>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B054472-2B5D-26F7-B623-CB1012D6D717}"/>
              </a:ext>
            </a:extLst>
          </p:cNvPr>
          <p:cNvCxnSpPr/>
          <p:nvPr userDrawn="1"/>
        </p:nvCxnSpPr>
        <p:spPr>
          <a:xfrm>
            <a:off x="7510408" y="4034013"/>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66AC4998-EA30-4442-43F2-B2241237B999}"/>
              </a:ext>
            </a:extLst>
          </p:cNvPr>
          <p:cNvCxnSpPr/>
          <p:nvPr userDrawn="1"/>
        </p:nvCxnSpPr>
        <p:spPr>
          <a:xfrm>
            <a:off x="9719352" y="4034013"/>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817BA234-06D1-E272-D30F-21EEBDC1D0A4}"/>
              </a:ext>
            </a:extLst>
          </p:cNvPr>
          <p:cNvCxnSpPr/>
          <p:nvPr userDrawn="1"/>
        </p:nvCxnSpPr>
        <p:spPr>
          <a:xfrm>
            <a:off x="4162135" y="5081701"/>
            <a:ext cx="7772400"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31" name="Straight Connector 30">
            <a:extLst>
              <a:ext uri="{FF2B5EF4-FFF2-40B4-BE49-F238E27FC236}">
                <a16:creationId xmlns:a16="http://schemas.microsoft.com/office/drawing/2014/main" id="{869A2A58-C551-7C40-D9F2-CD8D43CC3E11}"/>
              </a:ext>
            </a:extLst>
          </p:cNvPr>
          <p:cNvCxnSpPr/>
          <p:nvPr userDrawn="1"/>
        </p:nvCxnSpPr>
        <p:spPr>
          <a:xfrm>
            <a:off x="7510408" y="522097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cxnSp>
        <p:nvCxnSpPr>
          <p:cNvPr id="32" name="Straight Connector 31">
            <a:extLst>
              <a:ext uri="{FF2B5EF4-FFF2-40B4-BE49-F238E27FC236}">
                <a16:creationId xmlns:a16="http://schemas.microsoft.com/office/drawing/2014/main" id="{86D7674B-A7F7-59CE-2DE8-A4D103BF42E4}"/>
              </a:ext>
            </a:extLst>
          </p:cNvPr>
          <p:cNvCxnSpPr/>
          <p:nvPr userDrawn="1"/>
        </p:nvCxnSpPr>
        <p:spPr>
          <a:xfrm>
            <a:off x="9719352" y="5220979"/>
            <a:ext cx="0" cy="91440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12" name="Text Placeholder 6">
            <a:extLst>
              <a:ext uri="{FF2B5EF4-FFF2-40B4-BE49-F238E27FC236}">
                <a16:creationId xmlns:a16="http://schemas.microsoft.com/office/drawing/2014/main" id="{1AB80517-E706-3F62-6087-95E465C51B92}"/>
              </a:ext>
            </a:extLst>
          </p:cNvPr>
          <p:cNvSpPr>
            <a:spLocks noGrp="1"/>
          </p:cNvSpPr>
          <p:nvPr>
            <p:ph type="body" sz="quarter" idx="25"/>
          </p:nvPr>
        </p:nvSpPr>
        <p:spPr>
          <a:xfrm>
            <a:off x="521978" y="782060"/>
            <a:ext cx="1837335" cy="587438"/>
          </a:xfrm>
        </p:spPr>
        <p:txBody>
          <a:bodyPr anchor="b" anchorCtr="0"/>
          <a:lstStyle>
            <a:lvl1pPr marL="0" indent="0">
              <a:buFontTx/>
              <a:buNone/>
              <a:defRPr sz="1200" cap="all" baseline="0">
                <a:solidFill>
                  <a:schemeClr val="bg1"/>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705926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Left - Title-Text Box Righ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FBB2F2-DBED-516C-009E-05BA41732C04}"/>
              </a:ext>
            </a:extLst>
          </p:cNvPr>
          <p:cNvGraphicFramePr>
            <a:graphicFrameLocks noChangeAspect="1"/>
          </p:cNvGraphicFramePr>
          <p:nvPr>
            <p:custDataLst>
              <p:tags r:id="rId1"/>
            </p:custDataLst>
            <p:extLst>
              <p:ext uri="{D42A27DB-BD31-4B8C-83A1-F6EECF244321}">
                <p14:modId xmlns:p14="http://schemas.microsoft.com/office/powerpoint/2010/main" val="2903332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0FBB2F2-DBED-516C-009E-05BA41732C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EDC696EF-92F2-6152-03F7-6F1997E6B654}"/>
              </a:ext>
            </a:extLst>
          </p:cNvPr>
          <p:cNvSpPr>
            <a:spLocks noGrp="1"/>
          </p:cNvSpPr>
          <p:nvPr>
            <p:ph sz="quarter" idx="27"/>
          </p:nvPr>
        </p:nvSpPr>
        <p:spPr>
          <a:xfrm>
            <a:off x="4421188" y="1574800"/>
            <a:ext cx="7104062" cy="4572000"/>
          </a:xfrm>
        </p:spPr>
        <p:txBody>
          <a:bodyPr/>
          <a:lstStyle>
            <a:lvl1pPr marL="182880" indent="-182880">
              <a:buFont typeface="System Font Regular"/>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7851D294-E50E-5755-828C-E371C1EA02C2}"/>
              </a:ext>
            </a:extLst>
          </p:cNvPr>
          <p:cNvSpPr>
            <a:spLocks noGrp="1"/>
          </p:cNvSpPr>
          <p:nvPr>
            <p:ph type="pic" sz="quarter" idx="14"/>
          </p:nvPr>
        </p:nvSpPr>
        <p:spPr>
          <a:xfrm>
            <a:off x="0" y="-7497"/>
            <a:ext cx="3469526" cy="6865497"/>
          </a:xfrm>
          <a:custGeom>
            <a:avLst/>
            <a:gdLst>
              <a:gd name="connsiteX0" fmla="*/ 0 w 3469526"/>
              <a:gd name="connsiteY0" fmla="*/ 0 h 6865497"/>
              <a:gd name="connsiteX1" fmla="*/ 2973889 w 3469526"/>
              <a:gd name="connsiteY1" fmla="*/ 0 h 6865497"/>
              <a:gd name="connsiteX2" fmla="*/ 3118289 w 3469526"/>
              <a:gd name="connsiteY2" fmla="*/ 524966 h 6865497"/>
              <a:gd name="connsiteX3" fmla="*/ 3469526 w 3469526"/>
              <a:gd name="connsiteY3" fmla="*/ 3436498 h 6865497"/>
              <a:gd name="connsiteX4" fmla="*/ 3118288 w 3469526"/>
              <a:gd name="connsiteY4" fmla="*/ 6348030 h 6865497"/>
              <a:gd name="connsiteX5" fmla="*/ 2975952 w 3469526"/>
              <a:gd name="connsiteY5" fmla="*/ 6865497 h 6865497"/>
              <a:gd name="connsiteX6" fmla="*/ 0 w 3469526"/>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9526" h="6865497">
                <a:moveTo>
                  <a:pt x="0" y="0"/>
                </a:moveTo>
                <a:lnTo>
                  <a:pt x="2973889" y="0"/>
                </a:lnTo>
                <a:lnTo>
                  <a:pt x="3118289" y="524966"/>
                </a:lnTo>
                <a:cubicBezTo>
                  <a:pt x="3346298" y="1441845"/>
                  <a:pt x="3469526" y="2420383"/>
                  <a:pt x="3469526" y="3436498"/>
                </a:cubicBezTo>
                <a:cubicBezTo>
                  <a:pt x="3469526" y="4452613"/>
                  <a:pt x="3346298" y="5431152"/>
                  <a:pt x="3118288" y="6348030"/>
                </a:cubicBezTo>
                <a:lnTo>
                  <a:pt x="2975952" y="6865497"/>
                </a:lnTo>
                <a:lnTo>
                  <a:pt x="0" y="6865497"/>
                </a:ln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8" name="Freeform 7">
            <a:extLst>
              <a:ext uri="{FF2B5EF4-FFF2-40B4-BE49-F238E27FC236}">
                <a16:creationId xmlns:a16="http://schemas.microsoft.com/office/drawing/2014/main" id="{D061F10F-882D-E3F8-6D72-E28D1437ED88}"/>
              </a:ext>
            </a:extLst>
          </p:cNvPr>
          <p:cNvSpPr/>
          <p:nvPr/>
        </p:nvSpPr>
        <p:spPr>
          <a:xfrm>
            <a:off x="203554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lvl1pPr>
              <a:defRPr>
                <a:solidFill>
                  <a:schemeClr val="bg1"/>
                </a:solidFill>
              </a:defRPr>
            </a:lvl1p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4421692" y="557784"/>
            <a:ext cx="6400800" cy="441291"/>
          </a:xfrm>
        </p:spPr>
        <p:txBody>
          <a:bodyPr vert="horz"/>
          <a:lstStyle/>
          <a:p>
            <a:r>
              <a:rPr lang="en-US"/>
              <a:t>Click to edit Master title style</a:t>
            </a:r>
          </a:p>
        </p:txBody>
      </p:sp>
      <p:cxnSp>
        <p:nvCxnSpPr>
          <p:cNvPr id="2" name="Straight Connector 1">
            <a:extLst>
              <a:ext uri="{FF2B5EF4-FFF2-40B4-BE49-F238E27FC236}">
                <a16:creationId xmlns:a16="http://schemas.microsoft.com/office/drawing/2014/main" id="{F741EB3D-3ED6-2CBB-FCA4-594958434180}"/>
              </a:ext>
            </a:extLst>
          </p:cNvPr>
          <p:cNvCxnSpPr/>
          <p:nvPr/>
        </p:nvCxnSpPr>
        <p:spPr>
          <a:xfrm>
            <a:off x="4449762" y="1243371"/>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3" name="Text Placeholder 6">
            <a:extLst>
              <a:ext uri="{FF2B5EF4-FFF2-40B4-BE49-F238E27FC236}">
                <a16:creationId xmlns:a16="http://schemas.microsoft.com/office/drawing/2014/main" id="{2B6FE4A8-D75D-8F9C-7F8E-5411567DD3E0}"/>
              </a:ext>
            </a:extLst>
          </p:cNvPr>
          <p:cNvSpPr>
            <a:spLocks noGrp="1"/>
          </p:cNvSpPr>
          <p:nvPr>
            <p:ph type="body" sz="quarter" idx="25"/>
          </p:nvPr>
        </p:nvSpPr>
        <p:spPr>
          <a:xfrm>
            <a:off x="4421188" y="201051"/>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24049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TOC with bar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FBB2F2-DBED-516C-009E-05BA41732C04}"/>
              </a:ext>
            </a:extLst>
          </p:cNvPr>
          <p:cNvGraphicFramePr>
            <a:graphicFrameLocks noChangeAspect="1"/>
          </p:cNvGraphicFramePr>
          <p:nvPr>
            <p:custDataLst>
              <p:tags r:id="rId1"/>
            </p:custDataLst>
            <p:extLst>
              <p:ext uri="{D42A27DB-BD31-4B8C-83A1-F6EECF244321}">
                <p14:modId xmlns:p14="http://schemas.microsoft.com/office/powerpoint/2010/main" val="3417141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0FBB2F2-DBED-516C-009E-05BA41732C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EDC696EF-92F2-6152-03F7-6F1997E6B654}"/>
              </a:ext>
            </a:extLst>
          </p:cNvPr>
          <p:cNvSpPr>
            <a:spLocks noGrp="1"/>
          </p:cNvSpPr>
          <p:nvPr>
            <p:ph sz="quarter" idx="27"/>
          </p:nvPr>
        </p:nvSpPr>
        <p:spPr>
          <a:xfrm>
            <a:off x="4319590" y="1574800"/>
            <a:ext cx="7498079" cy="689423"/>
          </a:xfrm>
          <a:prstGeom prst="roundRect">
            <a:avLst>
              <a:gd name="adj" fmla="val 50000"/>
            </a:avLst>
          </a:prstGeom>
          <a:solidFill>
            <a:schemeClr val="bg1"/>
          </a:solidFill>
          <a:effectLst>
            <a:outerShdw blurRad="76200" dist="38100" dir="2700000" algn="tl" rotWithShape="0">
              <a:prstClr val="black">
                <a:alpha val="25000"/>
              </a:prstClr>
            </a:outerShdw>
          </a:effectLst>
        </p:spPr>
        <p:txBody>
          <a:bodyPr lIns="914400" anchor="ctr" anchorCtr="0"/>
          <a:lstStyle>
            <a:lvl1pPr marL="0" indent="0">
              <a:lnSpc>
                <a:spcPct val="85000"/>
              </a:lnSpc>
              <a:spcBef>
                <a:spcPts val="0"/>
              </a:spcBef>
              <a:buNone/>
              <a:defRPr sz="1600" b="1">
                <a:solidFill>
                  <a:schemeClr val="tx2"/>
                </a:solidFill>
              </a:defRPr>
            </a:lvl1pPr>
            <a:lvl2pPr marL="0" indent="0">
              <a:lnSpc>
                <a:spcPct val="85000"/>
              </a:lnSpc>
              <a:buNone/>
              <a:defRPr sz="1400" b="0"/>
            </a:lvl2pPr>
          </a:lstStyle>
          <a:p>
            <a:pPr lvl="0"/>
            <a:r>
              <a:rPr lang="en-US"/>
              <a:t>Click to edit Master text styles</a:t>
            </a:r>
          </a:p>
        </p:txBody>
      </p:sp>
      <p:sp>
        <p:nvSpPr>
          <p:cNvPr id="11" name="Picture Placeholder 10">
            <a:extLst>
              <a:ext uri="{FF2B5EF4-FFF2-40B4-BE49-F238E27FC236}">
                <a16:creationId xmlns:a16="http://schemas.microsoft.com/office/drawing/2014/main" id="{7851D294-E50E-5755-828C-E371C1EA02C2}"/>
              </a:ext>
            </a:extLst>
          </p:cNvPr>
          <p:cNvSpPr>
            <a:spLocks noGrp="1"/>
          </p:cNvSpPr>
          <p:nvPr>
            <p:ph type="pic" sz="quarter" idx="14"/>
          </p:nvPr>
        </p:nvSpPr>
        <p:spPr>
          <a:xfrm>
            <a:off x="0" y="0"/>
            <a:ext cx="3469526" cy="6865497"/>
          </a:xfrm>
          <a:custGeom>
            <a:avLst/>
            <a:gdLst>
              <a:gd name="connsiteX0" fmla="*/ 0 w 3469526"/>
              <a:gd name="connsiteY0" fmla="*/ 0 h 6865497"/>
              <a:gd name="connsiteX1" fmla="*/ 2973889 w 3469526"/>
              <a:gd name="connsiteY1" fmla="*/ 0 h 6865497"/>
              <a:gd name="connsiteX2" fmla="*/ 3118289 w 3469526"/>
              <a:gd name="connsiteY2" fmla="*/ 524966 h 6865497"/>
              <a:gd name="connsiteX3" fmla="*/ 3469526 w 3469526"/>
              <a:gd name="connsiteY3" fmla="*/ 3436498 h 6865497"/>
              <a:gd name="connsiteX4" fmla="*/ 3118288 w 3469526"/>
              <a:gd name="connsiteY4" fmla="*/ 6348030 h 6865497"/>
              <a:gd name="connsiteX5" fmla="*/ 2975952 w 3469526"/>
              <a:gd name="connsiteY5" fmla="*/ 6865497 h 6865497"/>
              <a:gd name="connsiteX6" fmla="*/ 0 w 3469526"/>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9526" h="6865497">
                <a:moveTo>
                  <a:pt x="0" y="0"/>
                </a:moveTo>
                <a:lnTo>
                  <a:pt x="2973889" y="0"/>
                </a:lnTo>
                <a:lnTo>
                  <a:pt x="3118289" y="524966"/>
                </a:lnTo>
                <a:cubicBezTo>
                  <a:pt x="3346298" y="1441845"/>
                  <a:pt x="3469526" y="2420383"/>
                  <a:pt x="3469526" y="3436498"/>
                </a:cubicBezTo>
                <a:cubicBezTo>
                  <a:pt x="3469526" y="4452613"/>
                  <a:pt x="3346298" y="5431152"/>
                  <a:pt x="3118288" y="6348030"/>
                </a:cubicBezTo>
                <a:lnTo>
                  <a:pt x="2975952" y="6865497"/>
                </a:lnTo>
                <a:lnTo>
                  <a:pt x="0" y="6865497"/>
                </a:ln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sp>
        <p:nvSpPr>
          <p:cNvPr id="8" name="Freeform 7">
            <a:extLst>
              <a:ext uri="{FF2B5EF4-FFF2-40B4-BE49-F238E27FC236}">
                <a16:creationId xmlns:a16="http://schemas.microsoft.com/office/drawing/2014/main" id="{D061F10F-882D-E3F8-6D72-E28D1437ED88}"/>
              </a:ext>
            </a:extLst>
          </p:cNvPr>
          <p:cNvSpPr/>
          <p:nvPr/>
        </p:nvSpPr>
        <p:spPr>
          <a:xfrm>
            <a:off x="2035543" y="0"/>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4421692" y="557784"/>
            <a:ext cx="6400800" cy="441291"/>
          </a:xfrm>
        </p:spPr>
        <p:txBody>
          <a:bodyPr vert="horz"/>
          <a:lstStyle/>
          <a:p>
            <a:r>
              <a:rPr lang="en-US"/>
              <a:t>Click to edit Master title style</a:t>
            </a:r>
          </a:p>
        </p:txBody>
      </p:sp>
      <p:cxnSp>
        <p:nvCxnSpPr>
          <p:cNvPr id="2" name="Straight Connector 1">
            <a:extLst>
              <a:ext uri="{FF2B5EF4-FFF2-40B4-BE49-F238E27FC236}">
                <a16:creationId xmlns:a16="http://schemas.microsoft.com/office/drawing/2014/main" id="{F741EB3D-3ED6-2CBB-FCA4-594958434180}"/>
              </a:ext>
            </a:extLst>
          </p:cNvPr>
          <p:cNvCxnSpPr/>
          <p:nvPr/>
        </p:nvCxnSpPr>
        <p:spPr>
          <a:xfrm>
            <a:off x="4449762" y="1243371"/>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9" name="Text Placeholder 8">
            <a:extLst>
              <a:ext uri="{FF2B5EF4-FFF2-40B4-BE49-F238E27FC236}">
                <a16:creationId xmlns:a16="http://schemas.microsoft.com/office/drawing/2014/main" id="{A7355082-51FD-63DC-165A-3331411E50E7}"/>
              </a:ext>
            </a:extLst>
          </p:cNvPr>
          <p:cNvSpPr>
            <a:spLocks noGrp="1"/>
          </p:cNvSpPr>
          <p:nvPr>
            <p:ph type="body" sz="quarter" idx="28" hasCustomPrompt="1"/>
          </p:nvPr>
        </p:nvSpPr>
        <p:spPr>
          <a:xfrm>
            <a:off x="4428346" y="1617092"/>
            <a:ext cx="685800" cy="604837"/>
          </a:xfrm>
        </p:spPr>
        <p:txBody>
          <a:bodyPr bIns="0" anchor="b" anchorCtr="0"/>
          <a:lstStyle>
            <a:lvl1pPr marL="0" indent="0" algn="ctr">
              <a:buNone/>
              <a:defRPr sz="4000" b="1">
                <a:solidFill>
                  <a:schemeClr val="tx2"/>
                </a:solidFill>
                <a:latin typeface="Raleway" panose="020B0503030101060003" pitchFamily="34" charset="77"/>
              </a:defRPr>
            </a:lvl1pPr>
          </a:lstStyle>
          <a:p>
            <a:pPr lvl="0"/>
            <a:r>
              <a:rPr lang="en-US"/>
              <a:t>#</a:t>
            </a:r>
          </a:p>
        </p:txBody>
      </p:sp>
      <p:sp>
        <p:nvSpPr>
          <p:cNvPr id="22" name="Content Placeholder 6">
            <a:extLst>
              <a:ext uri="{FF2B5EF4-FFF2-40B4-BE49-F238E27FC236}">
                <a16:creationId xmlns:a16="http://schemas.microsoft.com/office/drawing/2014/main" id="{5231899F-0ABE-87F2-F590-5ECC8789B4FE}"/>
              </a:ext>
            </a:extLst>
          </p:cNvPr>
          <p:cNvSpPr>
            <a:spLocks noGrp="1"/>
          </p:cNvSpPr>
          <p:nvPr>
            <p:ph sz="quarter" idx="29"/>
          </p:nvPr>
        </p:nvSpPr>
        <p:spPr>
          <a:xfrm>
            <a:off x="4319590" y="2434771"/>
            <a:ext cx="7498079" cy="689423"/>
          </a:xfrm>
          <a:prstGeom prst="roundRect">
            <a:avLst>
              <a:gd name="adj" fmla="val 50000"/>
            </a:avLst>
          </a:prstGeom>
          <a:solidFill>
            <a:schemeClr val="bg1"/>
          </a:solidFill>
          <a:effectLst>
            <a:outerShdw blurRad="76200" dist="38100" dir="2700000" algn="tl" rotWithShape="0">
              <a:prstClr val="black">
                <a:alpha val="25000"/>
              </a:prstClr>
            </a:outerShdw>
          </a:effectLst>
        </p:spPr>
        <p:txBody>
          <a:bodyPr lIns="914400" anchor="ctr" anchorCtr="0"/>
          <a:lstStyle>
            <a:lvl1pPr marL="0" indent="0">
              <a:lnSpc>
                <a:spcPct val="85000"/>
              </a:lnSpc>
              <a:spcBef>
                <a:spcPts val="0"/>
              </a:spcBef>
              <a:buNone/>
              <a:defRPr sz="1600" b="1">
                <a:solidFill>
                  <a:schemeClr val="tx2"/>
                </a:solidFill>
              </a:defRPr>
            </a:lvl1pPr>
            <a:lvl2pPr marL="0" indent="0">
              <a:lnSpc>
                <a:spcPct val="85000"/>
              </a:lnSpc>
              <a:buNone/>
              <a:defRPr b="0">
                <a:solidFill>
                  <a:schemeClr val="tx1"/>
                </a:solidFill>
              </a:defRPr>
            </a:lvl2pPr>
          </a:lstStyle>
          <a:p>
            <a:pPr lvl="0"/>
            <a:r>
              <a:rPr lang="en-US"/>
              <a:t>Click to edit Master text styles</a:t>
            </a:r>
          </a:p>
        </p:txBody>
      </p:sp>
      <p:sp>
        <p:nvSpPr>
          <p:cNvPr id="23" name="Text Placeholder 8">
            <a:extLst>
              <a:ext uri="{FF2B5EF4-FFF2-40B4-BE49-F238E27FC236}">
                <a16:creationId xmlns:a16="http://schemas.microsoft.com/office/drawing/2014/main" id="{2A0B8D10-68FC-4F13-1C9A-8F07BDDDEE4E}"/>
              </a:ext>
            </a:extLst>
          </p:cNvPr>
          <p:cNvSpPr>
            <a:spLocks noGrp="1"/>
          </p:cNvSpPr>
          <p:nvPr>
            <p:ph type="body" sz="quarter" idx="30" hasCustomPrompt="1"/>
          </p:nvPr>
        </p:nvSpPr>
        <p:spPr>
          <a:xfrm>
            <a:off x="4428346" y="2477063"/>
            <a:ext cx="685800" cy="604837"/>
          </a:xfrm>
        </p:spPr>
        <p:txBody>
          <a:bodyPr bIns="0" anchor="b" anchorCtr="0"/>
          <a:lstStyle>
            <a:lvl1pPr marL="0" indent="0" algn="ctr">
              <a:buNone/>
              <a:defRPr sz="4000" b="1">
                <a:solidFill>
                  <a:schemeClr val="tx2"/>
                </a:solidFill>
                <a:latin typeface="Raleway" panose="020B0503030101060003" pitchFamily="34" charset="77"/>
              </a:defRPr>
            </a:lvl1pPr>
          </a:lstStyle>
          <a:p>
            <a:pPr lvl="0"/>
            <a:r>
              <a:rPr lang="en-US"/>
              <a:t>#</a:t>
            </a:r>
          </a:p>
        </p:txBody>
      </p:sp>
      <p:sp>
        <p:nvSpPr>
          <p:cNvPr id="24" name="Content Placeholder 6">
            <a:extLst>
              <a:ext uri="{FF2B5EF4-FFF2-40B4-BE49-F238E27FC236}">
                <a16:creationId xmlns:a16="http://schemas.microsoft.com/office/drawing/2014/main" id="{C0E407F7-9202-C578-D20C-A1BFC57B3C93}"/>
              </a:ext>
            </a:extLst>
          </p:cNvPr>
          <p:cNvSpPr>
            <a:spLocks noGrp="1"/>
          </p:cNvSpPr>
          <p:nvPr>
            <p:ph sz="quarter" idx="31"/>
          </p:nvPr>
        </p:nvSpPr>
        <p:spPr>
          <a:xfrm>
            <a:off x="4319590" y="3294742"/>
            <a:ext cx="7498079" cy="689423"/>
          </a:xfrm>
          <a:prstGeom prst="roundRect">
            <a:avLst>
              <a:gd name="adj" fmla="val 50000"/>
            </a:avLst>
          </a:prstGeom>
          <a:solidFill>
            <a:schemeClr val="bg1"/>
          </a:solidFill>
          <a:effectLst>
            <a:outerShdw blurRad="76200" dist="38100" dir="2700000" algn="tl" rotWithShape="0">
              <a:prstClr val="black">
                <a:alpha val="25000"/>
              </a:prstClr>
            </a:outerShdw>
          </a:effectLst>
        </p:spPr>
        <p:txBody>
          <a:bodyPr lIns="914400" anchor="ctr" anchorCtr="0"/>
          <a:lstStyle>
            <a:lvl1pPr marL="0" indent="0">
              <a:lnSpc>
                <a:spcPct val="85000"/>
              </a:lnSpc>
              <a:spcBef>
                <a:spcPts val="0"/>
              </a:spcBef>
              <a:buNone/>
              <a:defRPr sz="1600" b="1">
                <a:solidFill>
                  <a:schemeClr val="tx2"/>
                </a:solidFill>
              </a:defRPr>
            </a:lvl1pPr>
            <a:lvl2pPr marL="0" indent="0">
              <a:lnSpc>
                <a:spcPct val="85000"/>
              </a:lnSpc>
              <a:buNone/>
              <a:defRPr sz="1400" b="0">
                <a:solidFill>
                  <a:schemeClr val="tx1"/>
                </a:solidFill>
              </a:defRPr>
            </a:lvl2pPr>
          </a:lstStyle>
          <a:p>
            <a:pPr lvl="0"/>
            <a:r>
              <a:rPr lang="en-US"/>
              <a:t>Click to edit Master text styles</a:t>
            </a:r>
          </a:p>
        </p:txBody>
      </p:sp>
      <p:sp>
        <p:nvSpPr>
          <p:cNvPr id="25" name="Text Placeholder 8">
            <a:extLst>
              <a:ext uri="{FF2B5EF4-FFF2-40B4-BE49-F238E27FC236}">
                <a16:creationId xmlns:a16="http://schemas.microsoft.com/office/drawing/2014/main" id="{C8343647-9DB4-352D-5D32-DFA8EC18B0B3}"/>
              </a:ext>
            </a:extLst>
          </p:cNvPr>
          <p:cNvSpPr>
            <a:spLocks noGrp="1"/>
          </p:cNvSpPr>
          <p:nvPr>
            <p:ph type="body" sz="quarter" idx="32" hasCustomPrompt="1"/>
          </p:nvPr>
        </p:nvSpPr>
        <p:spPr>
          <a:xfrm>
            <a:off x="4428346" y="3337034"/>
            <a:ext cx="685800" cy="604837"/>
          </a:xfrm>
        </p:spPr>
        <p:txBody>
          <a:bodyPr bIns="0" anchor="b" anchorCtr="0"/>
          <a:lstStyle>
            <a:lvl1pPr marL="0" indent="0" algn="ctr">
              <a:buNone/>
              <a:defRPr sz="4000" b="1">
                <a:solidFill>
                  <a:schemeClr val="tx2"/>
                </a:solidFill>
                <a:latin typeface="Raleway" panose="020B0503030101060003" pitchFamily="34" charset="77"/>
              </a:defRPr>
            </a:lvl1pPr>
          </a:lstStyle>
          <a:p>
            <a:pPr lvl="0"/>
            <a:r>
              <a:rPr lang="en-US"/>
              <a:t>#</a:t>
            </a:r>
          </a:p>
        </p:txBody>
      </p:sp>
      <p:sp>
        <p:nvSpPr>
          <p:cNvPr id="26" name="Content Placeholder 6">
            <a:extLst>
              <a:ext uri="{FF2B5EF4-FFF2-40B4-BE49-F238E27FC236}">
                <a16:creationId xmlns:a16="http://schemas.microsoft.com/office/drawing/2014/main" id="{3BAD7C73-DB0A-F786-B06E-7141DE23B5B5}"/>
              </a:ext>
            </a:extLst>
          </p:cNvPr>
          <p:cNvSpPr>
            <a:spLocks noGrp="1"/>
          </p:cNvSpPr>
          <p:nvPr>
            <p:ph sz="quarter" idx="33"/>
          </p:nvPr>
        </p:nvSpPr>
        <p:spPr>
          <a:xfrm>
            <a:off x="4319590" y="4154713"/>
            <a:ext cx="7498079" cy="689423"/>
          </a:xfrm>
          <a:prstGeom prst="roundRect">
            <a:avLst>
              <a:gd name="adj" fmla="val 50000"/>
            </a:avLst>
          </a:prstGeom>
          <a:solidFill>
            <a:schemeClr val="bg1"/>
          </a:solidFill>
          <a:effectLst>
            <a:outerShdw blurRad="76200" dist="38100" dir="2700000" algn="tl" rotWithShape="0">
              <a:prstClr val="black">
                <a:alpha val="25000"/>
              </a:prstClr>
            </a:outerShdw>
          </a:effectLst>
        </p:spPr>
        <p:txBody>
          <a:bodyPr lIns="914400" anchor="ctr" anchorCtr="0"/>
          <a:lstStyle>
            <a:lvl1pPr marL="0" indent="0">
              <a:lnSpc>
                <a:spcPct val="85000"/>
              </a:lnSpc>
              <a:spcBef>
                <a:spcPts val="0"/>
              </a:spcBef>
              <a:buNone/>
              <a:defRPr sz="1600" b="1">
                <a:solidFill>
                  <a:schemeClr val="tx2"/>
                </a:solidFill>
              </a:defRPr>
            </a:lvl1pPr>
            <a:lvl2pPr marL="0" indent="0">
              <a:lnSpc>
                <a:spcPct val="85000"/>
              </a:lnSpc>
              <a:buNone/>
              <a:defRPr sz="1400" b="0">
                <a:solidFill>
                  <a:schemeClr val="tx1"/>
                </a:solidFill>
              </a:defRPr>
            </a:lvl2pPr>
          </a:lstStyle>
          <a:p>
            <a:pPr lvl="0"/>
            <a:r>
              <a:rPr lang="en-US"/>
              <a:t>Click to edit Master text styles</a:t>
            </a:r>
          </a:p>
        </p:txBody>
      </p:sp>
      <p:sp>
        <p:nvSpPr>
          <p:cNvPr id="27" name="Text Placeholder 8">
            <a:extLst>
              <a:ext uri="{FF2B5EF4-FFF2-40B4-BE49-F238E27FC236}">
                <a16:creationId xmlns:a16="http://schemas.microsoft.com/office/drawing/2014/main" id="{58381DB2-9D30-8A5C-8ACC-DECB1E06D8FB}"/>
              </a:ext>
            </a:extLst>
          </p:cNvPr>
          <p:cNvSpPr>
            <a:spLocks noGrp="1"/>
          </p:cNvSpPr>
          <p:nvPr>
            <p:ph type="body" sz="quarter" idx="34" hasCustomPrompt="1"/>
          </p:nvPr>
        </p:nvSpPr>
        <p:spPr>
          <a:xfrm>
            <a:off x="4428346" y="4197005"/>
            <a:ext cx="685800" cy="604837"/>
          </a:xfrm>
        </p:spPr>
        <p:txBody>
          <a:bodyPr bIns="0" anchor="b" anchorCtr="0"/>
          <a:lstStyle>
            <a:lvl1pPr marL="0" indent="0" algn="ctr">
              <a:buNone/>
              <a:defRPr sz="4000" b="1">
                <a:solidFill>
                  <a:schemeClr val="tx2"/>
                </a:solidFill>
                <a:latin typeface="Raleway" panose="020B0503030101060003" pitchFamily="34" charset="77"/>
              </a:defRPr>
            </a:lvl1pPr>
          </a:lstStyle>
          <a:p>
            <a:pPr lvl="0"/>
            <a:r>
              <a:rPr lang="en-US"/>
              <a:t>#</a:t>
            </a:r>
          </a:p>
        </p:txBody>
      </p:sp>
      <p:sp>
        <p:nvSpPr>
          <p:cNvPr id="28" name="Content Placeholder 6">
            <a:extLst>
              <a:ext uri="{FF2B5EF4-FFF2-40B4-BE49-F238E27FC236}">
                <a16:creationId xmlns:a16="http://schemas.microsoft.com/office/drawing/2014/main" id="{12C4E305-7C73-A46B-8DBC-FE6D2061F3E0}"/>
              </a:ext>
            </a:extLst>
          </p:cNvPr>
          <p:cNvSpPr>
            <a:spLocks noGrp="1"/>
          </p:cNvSpPr>
          <p:nvPr>
            <p:ph sz="quarter" idx="35"/>
          </p:nvPr>
        </p:nvSpPr>
        <p:spPr>
          <a:xfrm>
            <a:off x="4319590" y="5014685"/>
            <a:ext cx="7498079" cy="689423"/>
          </a:xfrm>
          <a:prstGeom prst="roundRect">
            <a:avLst>
              <a:gd name="adj" fmla="val 50000"/>
            </a:avLst>
          </a:prstGeom>
          <a:solidFill>
            <a:schemeClr val="bg1"/>
          </a:solidFill>
          <a:effectLst>
            <a:outerShdw blurRad="76200" dist="38100" dir="2700000" algn="tl" rotWithShape="0">
              <a:prstClr val="black">
                <a:alpha val="25000"/>
              </a:prstClr>
            </a:outerShdw>
          </a:effectLst>
        </p:spPr>
        <p:txBody>
          <a:bodyPr lIns="914400" anchor="ctr" anchorCtr="0"/>
          <a:lstStyle>
            <a:lvl1pPr marL="0" indent="0">
              <a:lnSpc>
                <a:spcPct val="85000"/>
              </a:lnSpc>
              <a:spcBef>
                <a:spcPts val="0"/>
              </a:spcBef>
              <a:buNone/>
              <a:defRPr sz="1600" b="1">
                <a:solidFill>
                  <a:schemeClr val="tx2"/>
                </a:solidFill>
              </a:defRPr>
            </a:lvl1pPr>
            <a:lvl2pPr marL="0" indent="0">
              <a:lnSpc>
                <a:spcPct val="85000"/>
              </a:lnSpc>
              <a:buNone/>
              <a:defRPr sz="1400" b="0">
                <a:solidFill>
                  <a:schemeClr val="tx1"/>
                </a:solidFill>
              </a:defRPr>
            </a:lvl2pPr>
          </a:lstStyle>
          <a:p>
            <a:pPr lvl="0"/>
            <a:r>
              <a:rPr lang="en-US"/>
              <a:t>Click to edit Master text styles</a:t>
            </a:r>
          </a:p>
        </p:txBody>
      </p:sp>
      <p:sp>
        <p:nvSpPr>
          <p:cNvPr id="29" name="Text Placeholder 8">
            <a:extLst>
              <a:ext uri="{FF2B5EF4-FFF2-40B4-BE49-F238E27FC236}">
                <a16:creationId xmlns:a16="http://schemas.microsoft.com/office/drawing/2014/main" id="{E56DE478-BD5D-C573-36D0-182C82ECC91D}"/>
              </a:ext>
            </a:extLst>
          </p:cNvPr>
          <p:cNvSpPr>
            <a:spLocks noGrp="1"/>
          </p:cNvSpPr>
          <p:nvPr>
            <p:ph type="body" sz="quarter" idx="36" hasCustomPrompt="1"/>
          </p:nvPr>
        </p:nvSpPr>
        <p:spPr>
          <a:xfrm>
            <a:off x="4428346" y="5056977"/>
            <a:ext cx="685800" cy="604837"/>
          </a:xfrm>
        </p:spPr>
        <p:txBody>
          <a:bodyPr bIns="0" anchor="b" anchorCtr="0"/>
          <a:lstStyle>
            <a:lvl1pPr marL="0" indent="0" algn="ctr">
              <a:buNone/>
              <a:defRPr sz="4000" b="1">
                <a:solidFill>
                  <a:schemeClr val="tx2"/>
                </a:solidFill>
                <a:latin typeface="Raleway" panose="020B0503030101060003" pitchFamily="34" charset="77"/>
              </a:defRPr>
            </a:lvl1pPr>
          </a:lstStyle>
          <a:p>
            <a:pPr lvl="0"/>
            <a:r>
              <a:rPr lang="en-US"/>
              <a:t>#</a:t>
            </a:r>
          </a:p>
        </p:txBody>
      </p:sp>
      <p:sp>
        <p:nvSpPr>
          <p:cNvPr id="3" name="Text Placeholder 6">
            <a:extLst>
              <a:ext uri="{FF2B5EF4-FFF2-40B4-BE49-F238E27FC236}">
                <a16:creationId xmlns:a16="http://schemas.microsoft.com/office/drawing/2014/main" id="{F9F8EA55-105B-5C10-779D-ADD4CCF3C0E0}"/>
              </a:ext>
            </a:extLst>
          </p:cNvPr>
          <p:cNvSpPr>
            <a:spLocks noGrp="1"/>
          </p:cNvSpPr>
          <p:nvPr>
            <p:ph type="body" sz="quarter" idx="25"/>
          </p:nvPr>
        </p:nvSpPr>
        <p:spPr>
          <a:xfrm>
            <a:off x="4421692" y="201051"/>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72229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TOC text only">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FBB2F2-DBED-516C-009E-05BA41732C04}"/>
              </a:ext>
            </a:extLst>
          </p:cNvPr>
          <p:cNvGraphicFramePr>
            <a:graphicFrameLocks noChangeAspect="1"/>
          </p:cNvGraphicFramePr>
          <p:nvPr>
            <p:custDataLst>
              <p:tags r:id="rId1"/>
            </p:custDataLst>
            <p:extLst>
              <p:ext uri="{D42A27DB-BD31-4B8C-83A1-F6EECF244321}">
                <p14:modId xmlns:p14="http://schemas.microsoft.com/office/powerpoint/2010/main" val="34627499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0FBB2F2-DBED-516C-009E-05BA41732C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851D294-E50E-5755-828C-E371C1EA02C2}"/>
              </a:ext>
            </a:extLst>
          </p:cNvPr>
          <p:cNvSpPr>
            <a:spLocks noGrp="1"/>
          </p:cNvSpPr>
          <p:nvPr>
            <p:ph type="pic" sz="quarter" idx="14"/>
          </p:nvPr>
        </p:nvSpPr>
        <p:spPr>
          <a:xfrm>
            <a:off x="0" y="0"/>
            <a:ext cx="3469526" cy="6865497"/>
          </a:xfrm>
          <a:custGeom>
            <a:avLst/>
            <a:gdLst>
              <a:gd name="connsiteX0" fmla="*/ 0 w 3469526"/>
              <a:gd name="connsiteY0" fmla="*/ 0 h 6865497"/>
              <a:gd name="connsiteX1" fmla="*/ 2973889 w 3469526"/>
              <a:gd name="connsiteY1" fmla="*/ 0 h 6865497"/>
              <a:gd name="connsiteX2" fmla="*/ 3118289 w 3469526"/>
              <a:gd name="connsiteY2" fmla="*/ 524966 h 6865497"/>
              <a:gd name="connsiteX3" fmla="*/ 3469526 w 3469526"/>
              <a:gd name="connsiteY3" fmla="*/ 3436498 h 6865497"/>
              <a:gd name="connsiteX4" fmla="*/ 3118288 w 3469526"/>
              <a:gd name="connsiteY4" fmla="*/ 6348030 h 6865497"/>
              <a:gd name="connsiteX5" fmla="*/ 2975952 w 3469526"/>
              <a:gd name="connsiteY5" fmla="*/ 6865497 h 6865497"/>
              <a:gd name="connsiteX6" fmla="*/ 0 w 3469526"/>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9526" h="6865497">
                <a:moveTo>
                  <a:pt x="0" y="0"/>
                </a:moveTo>
                <a:lnTo>
                  <a:pt x="2973889" y="0"/>
                </a:lnTo>
                <a:lnTo>
                  <a:pt x="3118289" y="524966"/>
                </a:lnTo>
                <a:cubicBezTo>
                  <a:pt x="3346298" y="1441845"/>
                  <a:pt x="3469526" y="2420383"/>
                  <a:pt x="3469526" y="3436498"/>
                </a:cubicBezTo>
                <a:cubicBezTo>
                  <a:pt x="3469526" y="4452613"/>
                  <a:pt x="3346298" y="5431152"/>
                  <a:pt x="3118288" y="6348030"/>
                </a:cubicBezTo>
                <a:lnTo>
                  <a:pt x="2975952" y="6865497"/>
                </a:lnTo>
                <a:lnTo>
                  <a:pt x="0" y="6865497"/>
                </a:ln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8" name="Freeform 7">
            <a:extLst>
              <a:ext uri="{FF2B5EF4-FFF2-40B4-BE49-F238E27FC236}">
                <a16:creationId xmlns:a16="http://schemas.microsoft.com/office/drawing/2014/main" id="{D061F10F-882D-E3F8-6D72-E28D1437ED88}"/>
              </a:ext>
            </a:extLst>
          </p:cNvPr>
          <p:cNvSpPr/>
          <p:nvPr/>
        </p:nvSpPr>
        <p:spPr>
          <a:xfrm>
            <a:off x="2035543" y="0"/>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lvl1pPr>
              <a:defRPr>
                <a:solidFill>
                  <a:schemeClr val="bg1"/>
                </a:solidFill>
              </a:defRPr>
            </a:lvl1p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4421692" y="557784"/>
            <a:ext cx="6400800" cy="441291"/>
          </a:xfrm>
        </p:spPr>
        <p:txBody>
          <a:bodyPr vert="horz"/>
          <a:lstStyle/>
          <a:p>
            <a:r>
              <a:rPr lang="en-US"/>
              <a:t>Click to edit Master title style</a:t>
            </a:r>
          </a:p>
        </p:txBody>
      </p:sp>
      <p:cxnSp>
        <p:nvCxnSpPr>
          <p:cNvPr id="2" name="Straight Connector 1">
            <a:extLst>
              <a:ext uri="{FF2B5EF4-FFF2-40B4-BE49-F238E27FC236}">
                <a16:creationId xmlns:a16="http://schemas.microsoft.com/office/drawing/2014/main" id="{F741EB3D-3ED6-2CBB-FCA4-594958434180}"/>
              </a:ext>
            </a:extLst>
          </p:cNvPr>
          <p:cNvCxnSpPr/>
          <p:nvPr/>
        </p:nvCxnSpPr>
        <p:spPr>
          <a:xfrm>
            <a:off x="4449762" y="1243371"/>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7" name="Freeform 6">
            <a:extLst>
              <a:ext uri="{FF2B5EF4-FFF2-40B4-BE49-F238E27FC236}">
                <a16:creationId xmlns:a16="http://schemas.microsoft.com/office/drawing/2014/main" id="{4532E165-5F36-F562-5B03-A15FBEE83C39}"/>
              </a:ext>
            </a:extLst>
          </p:cNvPr>
          <p:cNvSpPr/>
          <p:nvPr userDrawn="1"/>
        </p:nvSpPr>
        <p:spPr>
          <a:xfrm>
            <a:off x="2035543" y="0"/>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9" name="Straight Connector 8">
            <a:extLst>
              <a:ext uri="{FF2B5EF4-FFF2-40B4-BE49-F238E27FC236}">
                <a16:creationId xmlns:a16="http://schemas.microsoft.com/office/drawing/2014/main" id="{E5550C23-D7BE-4361-C48F-A58F276CFEF5}"/>
              </a:ext>
            </a:extLst>
          </p:cNvPr>
          <p:cNvCxnSpPr/>
          <p:nvPr userDrawn="1"/>
        </p:nvCxnSpPr>
        <p:spPr>
          <a:xfrm>
            <a:off x="4449762" y="1243371"/>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15" name="Text Placeholder 6">
            <a:extLst>
              <a:ext uri="{FF2B5EF4-FFF2-40B4-BE49-F238E27FC236}">
                <a16:creationId xmlns:a16="http://schemas.microsoft.com/office/drawing/2014/main" id="{DDDC0FCF-1CD0-7058-1787-554868C512B3}"/>
              </a:ext>
            </a:extLst>
          </p:cNvPr>
          <p:cNvSpPr>
            <a:spLocks noGrp="1"/>
          </p:cNvSpPr>
          <p:nvPr>
            <p:ph type="body" sz="quarter" idx="25"/>
          </p:nvPr>
        </p:nvSpPr>
        <p:spPr>
          <a:xfrm>
            <a:off x="4421692" y="201051"/>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65324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Blue-Circle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FBB2F2-DBED-516C-009E-05BA41732C04}"/>
              </a:ext>
            </a:extLst>
          </p:cNvPr>
          <p:cNvGraphicFramePr>
            <a:graphicFrameLocks noChangeAspect="1"/>
          </p:cNvGraphicFramePr>
          <p:nvPr>
            <p:custDataLst>
              <p:tags r:id="rId1"/>
            </p:custDataLst>
            <p:extLst>
              <p:ext uri="{D42A27DB-BD31-4B8C-83A1-F6EECF244321}">
                <p14:modId xmlns:p14="http://schemas.microsoft.com/office/powerpoint/2010/main" val="2812872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0FBB2F2-DBED-516C-009E-05BA41732C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3" name="Text Placeholder 32">
            <a:extLst>
              <a:ext uri="{FF2B5EF4-FFF2-40B4-BE49-F238E27FC236}">
                <a16:creationId xmlns:a16="http://schemas.microsoft.com/office/drawing/2014/main" id="{F783DC20-6F83-611F-08C4-71A5EB96655E}"/>
              </a:ext>
            </a:extLst>
          </p:cNvPr>
          <p:cNvSpPr>
            <a:spLocks noGrp="1"/>
          </p:cNvSpPr>
          <p:nvPr>
            <p:ph type="body" sz="quarter" idx="26" hasCustomPrompt="1"/>
          </p:nvPr>
        </p:nvSpPr>
        <p:spPr>
          <a:xfrm>
            <a:off x="4247228" y="1607082"/>
            <a:ext cx="542912" cy="542912"/>
          </a:xfrm>
          <a:custGeom>
            <a:avLst/>
            <a:gdLst>
              <a:gd name="connsiteX0" fmla="*/ 271456 w 542912"/>
              <a:gd name="connsiteY0" fmla="*/ 0 h 542912"/>
              <a:gd name="connsiteX1" fmla="*/ 542912 w 542912"/>
              <a:gd name="connsiteY1" fmla="*/ 271456 h 542912"/>
              <a:gd name="connsiteX2" fmla="*/ 271456 w 542912"/>
              <a:gd name="connsiteY2" fmla="*/ 542912 h 542912"/>
              <a:gd name="connsiteX3" fmla="*/ 0 w 542912"/>
              <a:gd name="connsiteY3" fmla="*/ 271456 h 542912"/>
              <a:gd name="connsiteX4" fmla="*/ 271456 w 542912"/>
              <a:gd name="connsiteY4" fmla="*/ 0 h 542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12" h="542912">
                <a:moveTo>
                  <a:pt x="271456" y="0"/>
                </a:moveTo>
                <a:cubicBezTo>
                  <a:pt x="421377" y="0"/>
                  <a:pt x="542912" y="121535"/>
                  <a:pt x="542912" y="271456"/>
                </a:cubicBezTo>
                <a:cubicBezTo>
                  <a:pt x="542912" y="421377"/>
                  <a:pt x="421377" y="542912"/>
                  <a:pt x="271456" y="542912"/>
                </a:cubicBezTo>
                <a:cubicBezTo>
                  <a:pt x="121535" y="542912"/>
                  <a:pt x="0" y="421377"/>
                  <a:pt x="0" y="271456"/>
                </a:cubicBezTo>
                <a:cubicBezTo>
                  <a:pt x="0" y="121535"/>
                  <a:pt x="121535" y="0"/>
                  <a:pt x="271456" y="0"/>
                </a:cubicBez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bIns="82296" anchor="ctr" anchorCtr="0">
            <a:noAutofit/>
          </a:bodyPr>
          <a:lstStyle>
            <a:lvl1pPr marL="0" indent="0" algn="ctr">
              <a:buNone/>
              <a:defRPr sz="2800" b="1">
                <a:solidFill>
                  <a:schemeClr val="bg1"/>
                </a:solidFill>
                <a:latin typeface="Raleway" panose="020B0503030101060003" pitchFamily="34" charset="77"/>
              </a:defRPr>
            </a:lvl1pPr>
          </a:lstStyle>
          <a:p>
            <a:pPr lvl="0"/>
            <a:r>
              <a:rPr lang="en-US"/>
              <a:t>#</a:t>
            </a:r>
          </a:p>
        </p:txBody>
      </p:sp>
      <p:sp>
        <p:nvSpPr>
          <p:cNvPr id="11" name="Picture Placeholder 10">
            <a:extLst>
              <a:ext uri="{FF2B5EF4-FFF2-40B4-BE49-F238E27FC236}">
                <a16:creationId xmlns:a16="http://schemas.microsoft.com/office/drawing/2014/main" id="{7851D294-E50E-5755-828C-E371C1EA02C2}"/>
              </a:ext>
            </a:extLst>
          </p:cNvPr>
          <p:cNvSpPr>
            <a:spLocks noGrp="1"/>
          </p:cNvSpPr>
          <p:nvPr>
            <p:ph type="pic" sz="quarter" idx="14"/>
          </p:nvPr>
        </p:nvSpPr>
        <p:spPr>
          <a:xfrm>
            <a:off x="0" y="0"/>
            <a:ext cx="3469526" cy="6865497"/>
          </a:xfrm>
          <a:custGeom>
            <a:avLst/>
            <a:gdLst>
              <a:gd name="connsiteX0" fmla="*/ 0 w 3469526"/>
              <a:gd name="connsiteY0" fmla="*/ 0 h 6865497"/>
              <a:gd name="connsiteX1" fmla="*/ 2973889 w 3469526"/>
              <a:gd name="connsiteY1" fmla="*/ 0 h 6865497"/>
              <a:gd name="connsiteX2" fmla="*/ 3118289 w 3469526"/>
              <a:gd name="connsiteY2" fmla="*/ 524966 h 6865497"/>
              <a:gd name="connsiteX3" fmla="*/ 3469526 w 3469526"/>
              <a:gd name="connsiteY3" fmla="*/ 3436498 h 6865497"/>
              <a:gd name="connsiteX4" fmla="*/ 3118288 w 3469526"/>
              <a:gd name="connsiteY4" fmla="*/ 6348030 h 6865497"/>
              <a:gd name="connsiteX5" fmla="*/ 2975952 w 3469526"/>
              <a:gd name="connsiteY5" fmla="*/ 6865497 h 6865497"/>
              <a:gd name="connsiteX6" fmla="*/ 0 w 3469526"/>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9526" h="6865497">
                <a:moveTo>
                  <a:pt x="0" y="0"/>
                </a:moveTo>
                <a:lnTo>
                  <a:pt x="2973889" y="0"/>
                </a:lnTo>
                <a:lnTo>
                  <a:pt x="3118289" y="524966"/>
                </a:lnTo>
                <a:cubicBezTo>
                  <a:pt x="3346298" y="1441845"/>
                  <a:pt x="3469526" y="2420383"/>
                  <a:pt x="3469526" y="3436498"/>
                </a:cubicBezTo>
                <a:cubicBezTo>
                  <a:pt x="3469526" y="4452613"/>
                  <a:pt x="3346298" y="5431152"/>
                  <a:pt x="3118288" y="6348030"/>
                </a:cubicBezTo>
                <a:lnTo>
                  <a:pt x="2975952" y="6865497"/>
                </a:lnTo>
                <a:lnTo>
                  <a:pt x="0" y="6865497"/>
                </a:ln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sp>
        <p:nvSpPr>
          <p:cNvPr id="8" name="Freeform 7">
            <a:extLst>
              <a:ext uri="{FF2B5EF4-FFF2-40B4-BE49-F238E27FC236}">
                <a16:creationId xmlns:a16="http://schemas.microsoft.com/office/drawing/2014/main" id="{D061F10F-882D-E3F8-6D72-E28D1437ED88}"/>
              </a:ext>
            </a:extLst>
          </p:cNvPr>
          <p:cNvSpPr/>
          <p:nvPr/>
        </p:nvSpPr>
        <p:spPr>
          <a:xfrm>
            <a:off x="2035543" y="0"/>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lvl1pPr>
              <a:defRPr>
                <a:solidFill>
                  <a:schemeClr val="bg1"/>
                </a:solidFill>
              </a:defRPr>
            </a:lvl1p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4421692" y="557784"/>
            <a:ext cx="6400800" cy="441291"/>
          </a:xfrm>
        </p:spPr>
        <p:txBody>
          <a:bodyPr vert="horz"/>
          <a:lstStyle/>
          <a:p>
            <a:r>
              <a:rPr lang="en-US"/>
              <a:t>Click to edit Master title style</a:t>
            </a:r>
          </a:p>
        </p:txBody>
      </p:sp>
      <p:cxnSp>
        <p:nvCxnSpPr>
          <p:cNvPr id="2" name="Straight Connector 1">
            <a:extLst>
              <a:ext uri="{FF2B5EF4-FFF2-40B4-BE49-F238E27FC236}">
                <a16:creationId xmlns:a16="http://schemas.microsoft.com/office/drawing/2014/main" id="{F741EB3D-3ED6-2CBB-FCA4-594958434180}"/>
              </a:ext>
            </a:extLst>
          </p:cNvPr>
          <p:cNvCxnSpPr/>
          <p:nvPr/>
        </p:nvCxnSpPr>
        <p:spPr>
          <a:xfrm>
            <a:off x="4449762" y="1243371"/>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32" name="Text Placeholder 31">
            <a:extLst>
              <a:ext uri="{FF2B5EF4-FFF2-40B4-BE49-F238E27FC236}">
                <a16:creationId xmlns:a16="http://schemas.microsoft.com/office/drawing/2014/main" id="{84C5C107-BB77-809F-A364-91E0479ABF4C}"/>
              </a:ext>
            </a:extLst>
          </p:cNvPr>
          <p:cNvSpPr>
            <a:spLocks noGrp="1"/>
          </p:cNvSpPr>
          <p:nvPr>
            <p:ph type="body" sz="quarter" idx="27"/>
          </p:nvPr>
        </p:nvSpPr>
        <p:spPr>
          <a:xfrm>
            <a:off x="4930285" y="1543054"/>
            <a:ext cx="6654217" cy="666618"/>
          </a:xfrm>
        </p:spPr>
        <p:txBody>
          <a:bodyPr anchor="ctr" anchorCtr="0"/>
          <a:lstStyle>
            <a:lvl1pPr marL="0" indent="0">
              <a:lnSpc>
                <a:spcPct val="90000"/>
              </a:lnSpc>
              <a:buNone/>
              <a:defRPr kumimoji="0" lang="en-US" sz="1600" b="1" i="0" u="none" strike="noStrike" cap="none" spc="0" normalizeH="0" baseline="0" dirty="0" smtClean="0">
                <a:ln>
                  <a:noFill/>
                </a:ln>
                <a:solidFill>
                  <a:schemeClr val="tx2"/>
                </a:solidFill>
                <a:effectLst/>
                <a:uFillTx/>
                <a:latin typeface="Inter" panose="02000503000000020004" pitchFamily="2" charset="0"/>
                <a:ea typeface="Inter" panose="02000503000000020004" pitchFamily="2" charset="0"/>
                <a:cs typeface="Arial" panose="020B0604020202020204" pitchFamily="34" charset="0"/>
                <a:sym typeface="Poppins SemiBold"/>
              </a:defRPr>
            </a:lvl1pPr>
            <a:lvl2pPr marL="0" marR="0" indent="0" algn="l" defTabSz="914400" rtl="0" fontAlgn="auto" latinLnBrk="0" hangingPunct="0">
              <a:lnSpc>
                <a:spcPct val="90000"/>
              </a:lnSpc>
              <a:spcBef>
                <a:spcPts val="0"/>
              </a:spcBef>
              <a:spcAft>
                <a:spcPts val="0"/>
              </a:spcAft>
              <a:buClrTx/>
              <a:buSzTx/>
              <a:buFontTx/>
              <a:buNone/>
              <a:tabLst/>
              <a:defRPr kumimoji="0" lang="en-US" sz="16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panose="020B0604020202020204" pitchFamily="34" charset="0"/>
                <a:sym typeface="Poppins SemiBold"/>
              </a:defRPr>
            </a:lvl2pPr>
          </a:lstStyle>
          <a:p>
            <a:pPr lvl="0"/>
            <a:r>
              <a:rPr lang="en-US"/>
              <a:t>Click to edit Master text styles</a:t>
            </a:r>
          </a:p>
          <a:p>
            <a:pPr lvl="1"/>
            <a:r>
              <a:rPr lang="en-US"/>
              <a:t>Second level</a:t>
            </a:r>
          </a:p>
        </p:txBody>
      </p:sp>
      <p:sp>
        <p:nvSpPr>
          <p:cNvPr id="34" name="Text Placeholder 32">
            <a:extLst>
              <a:ext uri="{FF2B5EF4-FFF2-40B4-BE49-F238E27FC236}">
                <a16:creationId xmlns:a16="http://schemas.microsoft.com/office/drawing/2014/main" id="{621E8380-03BA-77EA-5120-903434A26042}"/>
              </a:ext>
            </a:extLst>
          </p:cNvPr>
          <p:cNvSpPr>
            <a:spLocks noGrp="1"/>
          </p:cNvSpPr>
          <p:nvPr>
            <p:ph type="body" sz="quarter" idx="28" hasCustomPrompt="1"/>
          </p:nvPr>
        </p:nvSpPr>
        <p:spPr>
          <a:xfrm>
            <a:off x="4247228" y="2381782"/>
            <a:ext cx="542912" cy="542912"/>
          </a:xfrm>
          <a:custGeom>
            <a:avLst/>
            <a:gdLst>
              <a:gd name="connsiteX0" fmla="*/ 271456 w 542912"/>
              <a:gd name="connsiteY0" fmla="*/ 0 h 542912"/>
              <a:gd name="connsiteX1" fmla="*/ 542912 w 542912"/>
              <a:gd name="connsiteY1" fmla="*/ 271456 h 542912"/>
              <a:gd name="connsiteX2" fmla="*/ 271456 w 542912"/>
              <a:gd name="connsiteY2" fmla="*/ 542912 h 542912"/>
              <a:gd name="connsiteX3" fmla="*/ 0 w 542912"/>
              <a:gd name="connsiteY3" fmla="*/ 271456 h 542912"/>
              <a:gd name="connsiteX4" fmla="*/ 271456 w 542912"/>
              <a:gd name="connsiteY4" fmla="*/ 0 h 542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12" h="542912">
                <a:moveTo>
                  <a:pt x="271456" y="0"/>
                </a:moveTo>
                <a:cubicBezTo>
                  <a:pt x="421377" y="0"/>
                  <a:pt x="542912" y="121535"/>
                  <a:pt x="542912" y="271456"/>
                </a:cubicBezTo>
                <a:cubicBezTo>
                  <a:pt x="542912" y="421377"/>
                  <a:pt x="421377" y="542912"/>
                  <a:pt x="271456" y="542912"/>
                </a:cubicBezTo>
                <a:cubicBezTo>
                  <a:pt x="121535" y="542912"/>
                  <a:pt x="0" y="421377"/>
                  <a:pt x="0" y="271456"/>
                </a:cubicBezTo>
                <a:cubicBezTo>
                  <a:pt x="0" y="121535"/>
                  <a:pt x="121535" y="0"/>
                  <a:pt x="271456" y="0"/>
                </a:cubicBez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bIns="82296" anchor="ctr" anchorCtr="0">
            <a:noAutofit/>
          </a:bodyPr>
          <a:lstStyle>
            <a:lvl1pPr marL="0" indent="0" algn="ctr">
              <a:buNone/>
              <a:defRPr sz="2800" b="1">
                <a:solidFill>
                  <a:schemeClr val="bg1"/>
                </a:solidFill>
                <a:latin typeface="Raleway" panose="020B0503030101060003" pitchFamily="34" charset="77"/>
              </a:defRPr>
            </a:lvl1pPr>
          </a:lstStyle>
          <a:p>
            <a:pPr lvl="0"/>
            <a:r>
              <a:rPr lang="en-US"/>
              <a:t>#</a:t>
            </a:r>
          </a:p>
        </p:txBody>
      </p:sp>
      <p:sp>
        <p:nvSpPr>
          <p:cNvPr id="35" name="Text Placeholder 31">
            <a:extLst>
              <a:ext uri="{FF2B5EF4-FFF2-40B4-BE49-F238E27FC236}">
                <a16:creationId xmlns:a16="http://schemas.microsoft.com/office/drawing/2014/main" id="{12BF4490-F802-FCB1-226A-259411CF7E2A}"/>
              </a:ext>
            </a:extLst>
          </p:cNvPr>
          <p:cNvSpPr>
            <a:spLocks noGrp="1"/>
          </p:cNvSpPr>
          <p:nvPr>
            <p:ph type="body" sz="quarter" idx="29"/>
          </p:nvPr>
        </p:nvSpPr>
        <p:spPr>
          <a:xfrm>
            <a:off x="4930285" y="2317754"/>
            <a:ext cx="6654217" cy="666618"/>
          </a:xfrm>
        </p:spPr>
        <p:txBody>
          <a:bodyPr anchor="ctr" anchorCtr="0"/>
          <a:lstStyle>
            <a:lvl1pPr marL="0" indent="0">
              <a:lnSpc>
                <a:spcPct val="90000"/>
              </a:lnSpc>
              <a:buNone/>
              <a:defRPr kumimoji="0" lang="en-US" sz="1600" b="1" i="0" u="none" strike="noStrike" cap="none" spc="0" normalizeH="0" baseline="0" dirty="0" smtClean="0">
                <a:ln>
                  <a:noFill/>
                </a:ln>
                <a:solidFill>
                  <a:schemeClr val="tx2"/>
                </a:solidFill>
                <a:effectLst/>
                <a:uFillTx/>
                <a:latin typeface="Inter" panose="02000503000000020004" pitchFamily="2" charset="0"/>
                <a:ea typeface="Inter" panose="02000503000000020004" pitchFamily="2" charset="0"/>
                <a:cs typeface="Arial" panose="020B0604020202020204" pitchFamily="34" charset="0"/>
                <a:sym typeface="Poppins SemiBold"/>
              </a:defRPr>
            </a:lvl1pPr>
            <a:lvl2pPr marL="0" marR="0" indent="0" algn="l" defTabSz="914400" rtl="0" fontAlgn="auto" latinLnBrk="0" hangingPunct="0">
              <a:lnSpc>
                <a:spcPct val="90000"/>
              </a:lnSpc>
              <a:spcBef>
                <a:spcPts val="0"/>
              </a:spcBef>
              <a:spcAft>
                <a:spcPts val="0"/>
              </a:spcAft>
              <a:buClrTx/>
              <a:buSzTx/>
              <a:buFontTx/>
              <a:buNone/>
              <a:tabLst/>
              <a:defRPr kumimoji="0" lang="en-US" sz="16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panose="020B0604020202020204" pitchFamily="34" charset="0"/>
                <a:sym typeface="Poppins SemiBold"/>
              </a:defRPr>
            </a:lvl2pPr>
          </a:lstStyle>
          <a:p>
            <a:pPr lvl="0"/>
            <a:r>
              <a:rPr lang="en-US"/>
              <a:t>Click to edit Master text styles</a:t>
            </a:r>
          </a:p>
          <a:p>
            <a:pPr lvl="1"/>
            <a:r>
              <a:rPr lang="en-US"/>
              <a:t>Second level</a:t>
            </a:r>
          </a:p>
        </p:txBody>
      </p:sp>
      <p:sp>
        <p:nvSpPr>
          <p:cNvPr id="36" name="Text Placeholder 32">
            <a:extLst>
              <a:ext uri="{FF2B5EF4-FFF2-40B4-BE49-F238E27FC236}">
                <a16:creationId xmlns:a16="http://schemas.microsoft.com/office/drawing/2014/main" id="{7B4B4CD9-B227-3F76-41F6-4C9F28E95E20}"/>
              </a:ext>
            </a:extLst>
          </p:cNvPr>
          <p:cNvSpPr>
            <a:spLocks noGrp="1"/>
          </p:cNvSpPr>
          <p:nvPr>
            <p:ph type="body" sz="quarter" idx="30" hasCustomPrompt="1"/>
          </p:nvPr>
        </p:nvSpPr>
        <p:spPr>
          <a:xfrm>
            <a:off x="4247228" y="3169182"/>
            <a:ext cx="542912" cy="542912"/>
          </a:xfrm>
          <a:custGeom>
            <a:avLst/>
            <a:gdLst>
              <a:gd name="connsiteX0" fmla="*/ 271456 w 542912"/>
              <a:gd name="connsiteY0" fmla="*/ 0 h 542912"/>
              <a:gd name="connsiteX1" fmla="*/ 542912 w 542912"/>
              <a:gd name="connsiteY1" fmla="*/ 271456 h 542912"/>
              <a:gd name="connsiteX2" fmla="*/ 271456 w 542912"/>
              <a:gd name="connsiteY2" fmla="*/ 542912 h 542912"/>
              <a:gd name="connsiteX3" fmla="*/ 0 w 542912"/>
              <a:gd name="connsiteY3" fmla="*/ 271456 h 542912"/>
              <a:gd name="connsiteX4" fmla="*/ 271456 w 542912"/>
              <a:gd name="connsiteY4" fmla="*/ 0 h 542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12" h="542912">
                <a:moveTo>
                  <a:pt x="271456" y="0"/>
                </a:moveTo>
                <a:cubicBezTo>
                  <a:pt x="421377" y="0"/>
                  <a:pt x="542912" y="121535"/>
                  <a:pt x="542912" y="271456"/>
                </a:cubicBezTo>
                <a:cubicBezTo>
                  <a:pt x="542912" y="421377"/>
                  <a:pt x="421377" y="542912"/>
                  <a:pt x="271456" y="542912"/>
                </a:cubicBezTo>
                <a:cubicBezTo>
                  <a:pt x="121535" y="542912"/>
                  <a:pt x="0" y="421377"/>
                  <a:pt x="0" y="271456"/>
                </a:cubicBezTo>
                <a:cubicBezTo>
                  <a:pt x="0" y="121535"/>
                  <a:pt x="121535" y="0"/>
                  <a:pt x="271456" y="0"/>
                </a:cubicBez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bIns="109728" anchor="ctr" anchorCtr="0">
            <a:noAutofit/>
          </a:bodyPr>
          <a:lstStyle>
            <a:lvl1pPr marL="0" indent="0" algn="ctr">
              <a:buNone/>
              <a:defRPr sz="2800" b="1">
                <a:solidFill>
                  <a:schemeClr val="bg1"/>
                </a:solidFill>
                <a:latin typeface="Raleway" panose="020B0503030101060003" pitchFamily="34" charset="77"/>
              </a:defRPr>
            </a:lvl1pPr>
          </a:lstStyle>
          <a:p>
            <a:pPr lvl="0"/>
            <a:r>
              <a:rPr lang="en-US"/>
              <a:t>#</a:t>
            </a:r>
          </a:p>
        </p:txBody>
      </p:sp>
      <p:sp>
        <p:nvSpPr>
          <p:cNvPr id="37" name="Text Placeholder 31">
            <a:extLst>
              <a:ext uri="{FF2B5EF4-FFF2-40B4-BE49-F238E27FC236}">
                <a16:creationId xmlns:a16="http://schemas.microsoft.com/office/drawing/2014/main" id="{B087C6A3-2435-63C4-DE0C-5628CB071BAC}"/>
              </a:ext>
            </a:extLst>
          </p:cNvPr>
          <p:cNvSpPr>
            <a:spLocks noGrp="1"/>
          </p:cNvSpPr>
          <p:nvPr>
            <p:ph type="body" sz="quarter" idx="31"/>
          </p:nvPr>
        </p:nvSpPr>
        <p:spPr>
          <a:xfrm>
            <a:off x="4930285" y="3105154"/>
            <a:ext cx="6654217" cy="666618"/>
          </a:xfrm>
        </p:spPr>
        <p:txBody>
          <a:bodyPr anchor="ctr" anchorCtr="0"/>
          <a:lstStyle>
            <a:lvl1pPr marL="0" indent="0">
              <a:lnSpc>
                <a:spcPct val="90000"/>
              </a:lnSpc>
              <a:buNone/>
              <a:defRPr kumimoji="0" lang="en-US" sz="1600" b="1" i="0" u="none" strike="noStrike" cap="none" spc="0" normalizeH="0" baseline="0" dirty="0" smtClean="0">
                <a:ln>
                  <a:noFill/>
                </a:ln>
                <a:solidFill>
                  <a:schemeClr val="tx2"/>
                </a:solidFill>
                <a:effectLst/>
                <a:uFillTx/>
                <a:latin typeface="Inter" panose="02000503000000020004" pitchFamily="2" charset="0"/>
                <a:ea typeface="Inter" panose="02000503000000020004" pitchFamily="2" charset="0"/>
                <a:cs typeface="Arial" panose="020B0604020202020204" pitchFamily="34" charset="0"/>
                <a:sym typeface="Poppins SemiBold"/>
              </a:defRPr>
            </a:lvl1pPr>
            <a:lvl2pPr marL="0" marR="0" indent="0" algn="l" defTabSz="914400" rtl="0" fontAlgn="auto" latinLnBrk="0" hangingPunct="0">
              <a:lnSpc>
                <a:spcPct val="90000"/>
              </a:lnSpc>
              <a:spcBef>
                <a:spcPts val="0"/>
              </a:spcBef>
              <a:spcAft>
                <a:spcPts val="0"/>
              </a:spcAft>
              <a:buClrTx/>
              <a:buSzTx/>
              <a:buFontTx/>
              <a:buNone/>
              <a:tabLst/>
              <a:defRPr kumimoji="0" lang="en-US" sz="16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panose="020B0604020202020204" pitchFamily="34" charset="0"/>
                <a:sym typeface="Poppins SemiBold"/>
              </a:defRPr>
            </a:lvl2pPr>
          </a:lstStyle>
          <a:p>
            <a:pPr lvl="0"/>
            <a:r>
              <a:rPr lang="en-US"/>
              <a:t>Click to edit Master text styles</a:t>
            </a:r>
          </a:p>
          <a:p>
            <a:pPr lvl="1"/>
            <a:r>
              <a:rPr lang="en-US"/>
              <a:t>Second level</a:t>
            </a:r>
          </a:p>
        </p:txBody>
      </p:sp>
      <p:sp>
        <p:nvSpPr>
          <p:cNvPr id="38" name="Text Placeholder 32">
            <a:extLst>
              <a:ext uri="{FF2B5EF4-FFF2-40B4-BE49-F238E27FC236}">
                <a16:creationId xmlns:a16="http://schemas.microsoft.com/office/drawing/2014/main" id="{FBBB784B-2E8B-ED21-1F5F-E56F6CFA9943}"/>
              </a:ext>
            </a:extLst>
          </p:cNvPr>
          <p:cNvSpPr>
            <a:spLocks noGrp="1"/>
          </p:cNvSpPr>
          <p:nvPr>
            <p:ph type="body" sz="quarter" idx="32" hasCustomPrompt="1"/>
          </p:nvPr>
        </p:nvSpPr>
        <p:spPr>
          <a:xfrm>
            <a:off x="4247228" y="3950232"/>
            <a:ext cx="542912" cy="542912"/>
          </a:xfrm>
          <a:custGeom>
            <a:avLst/>
            <a:gdLst>
              <a:gd name="connsiteX0" fmla="*/ 271456 w 542912"/>
              <a:gd name="connsiteY0" fmla="*/ 0 h 542912"/>
              <a:gd name="connsiteX1" fmla="*/ 542912 w 542912"/>
              <a:gd name="connsiteY1" fmla="*/ 271456 h 542912"/>
              <a:gd name="connsiteX2" fmla="*/ 271456 w 542912"/>
              <a:gd name="connsiteY2" fmla="*/ 542912 h 542912"/>
              <a:gd name="connsiteX3" fmla="*/ 0 w 542912"/>
              <a:gd name="connsiteY3" fmla="*/ 271456 h 542912"/>
              <a:gd name="connsiteX4" fmla="*/ 271456 w 542912"/>
              <a:gd name="connsiteY4" fmla="*/ 0 h 542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12" h="542912">
                <a:moveTo>
                  <a:pt x="271456" y="0"/>
                </a:moveTo>
                <a:cubicBezTo>
                  <a:pt x="421377" y="0"/>
                  <a:pt x="542912" y="121535"/>
                  <a:pt x="542912" y="271456"/>
                </a:cubicBezTo>
                <a:cubicBezTo>
                  <a:pt x="542912" y="421377"/>
                  <a:pt x="421377" y="542912"/>
                  <a:pt x="271456" y="542912"/>
                </a:cubicBezTo>
                <a:cubicBezTo>
                  <a:pt x="121535" y="542912"/>
                  <a:pt x="0" y="421377"/>
                  <a:pt x="0" y="271456"/>
                </a:cubicBezTo>
                <a:cubicBezTo>
                  <a:pt x="0" y="121535"/>
                  <a:pt x="121535" y="0"/>
                  <a:pt x="271456" y="0"/>
                </a:cubicBez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bIns="82296" anchor="ctr" anchorCtr="0">
            <a:noAutofit/>
          </a:bodyPr>
          <a:lstStyle>
            <a:lvl1pPr marL="0" indent="0" algn="ctr">
              <a:buNone/>
              <a:defRPr sz="2800" b="1">
                <a:solidFill>
                  <a:schemeClr val="bg1"/>
                </a:solidFill>
                <a:latin typeface="Raleway" panose="020B0503030101060003" pitchFamily="34" charset="77"/>
              </a:defRPr>
            </a:lvl1pPr>
          </a:lstStyle>
          <a:p>
            <a:pPr lvl="0"/>
            <a:r>
              <a:rPr lang="en-US"/>
              <a:t>#</a:t>
            </a:r>
          </a:p>
        </p:txBody>
      </p:sp>
      <p:sp>
        <p:nvSpPr>
          <p:cNvPr id="39" name="Text Placeholder 31">
            <a:extLst>
              <a:ext uri="{FF2B5EF4-FFF2-40B4-BE49-F238E27FC236}">
                <a16:creationId xmlns:a16="http://schemas.microsoft.com/office/drawing/2014/main" id="{D36791DF-9395-604C-FA73-A9B36FDF1C76}"/>
              </a:ext>
            </a:extLst>
          </p:cNvPr>
          <p:cNvSpPr>
            <a:spLocks noGrp="1"/>
          </p:cNvSpPr>
          <p:nvPr>
            <p:ph type="body" sz="quarter" idx="33"/>
          </p:nvPr>
        </p:nvSpPr>
        <p:spPr>
          <a:xfrm>
            <a:off x="4930285" y="3886204"/>
            <a:ext cx="6654217" cy="666618"/>
          </a:xfrm>
        </p:spPr>
        <p:txBody>
          <a:bodyPr anchor="ctr" anchorCtr="0"/>
          <a:lstStyle>
            <a:lvl1pPr marL="0" indent="0">
              <a:lnSpc>
                <a:spcPct val="90000"/>
              </a:lnSpc>
              <a:buNone/>
              <a:defRPr kumimoji="0" lang="en-US" sz="1600" b="1" i="0" u="none" strike="noStrike" cap="none" spc="0" normalizeH="0" baseline="0" dirty="0" smtClean="0">
                <a:ln>
                  <a:noFill/>
                </a:ln>
                <a:solidFill>
                  <a:schemeClr val="tx2"/>
                </a:solidFill>
                <a:effectLst/>
                <a:uFillTx/>
                <a:latin typeface="Inter" panose="02000503000000020004" pitchFamily="2" charset="0"/>
                <a:ea typeface="Inter" panose="02000503000000020004" pitchFamily="2" charset="0"/>
                <a:cs typeface="Arial" panose="020B0604020202020204" pitchFamily="34" charset="0"/>
                <a:sym typeface="Poppins SemiBold"/>
              </a:defRPr>
            </a:lvl1pPr>
            <a:lvl2pPr marL="0" marR="0" indent="0" algn="l" defTabSz="914400" rtl="0" fontAlgn="auto" latinLnBrk="0" hangingPunct="0">
              <a:lnSpc>
                <a:spcPct val="90000"/>
              </a:lnSpc>
              <a:spcBef>
                <a:spcPts val="0"/>
              </a:spcBef>
              <a:spcAft>
                <a:spcPts val="0"/>
              </a:spcAft>
              <a:buClrTx/>
              <a:buSzTx/>
              <a:buFontTx/>
              <a:buNone/>
              <a:tabLst/>
              <a:defRPr kumimoji="0" lang="en-US" sz="16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panose="020B0604020202020204" pitchFamily="34" charset="0"/>
                <a:sym typeface="Poppins SemiBold"/>
              </a:defRPr>
            </a:lvl2pPr>
          </a:lstStyle>
          <a:p>
            <a:pPr lvl="0"/>
            <a:r>
              <a:rPr lang="en-US"/>
              <a:t>Click to edit Master text styles</a:t>
            </a:r>
          </a:p>
          <a:p>
            <a:pPr lvl="1"/>
            <a:r>
              <a:rPr lang="en-US"/>
              <a:t>Second level</a:t>
            </a:r>
          </a:p>
        </p:txBody>
      </p:sp>
      <p:sp>
        <p:nvSpPr>
          <p:cNvPr id="40" name="Text Placeholder 32">
            <a:extLst>
              <a:ext uri="{FF2B5EF4-FFF2-40B4-BE49-F238E27FC236}">
                <a16:creationId xmlns:a16="http://schemas.microsoft.com/office/drawing/2014/main" id="{DB111F2C-4CBD-6861-3D40-476EDC12DDAA}"/>
              </a:ext>
            </a:extLst>
          </p:cNvPr>
          <p:cNvSpPr>
            <a:spLocks noGrp="1"/>
          </p:cNvSpPr>
          <p:nvPr>
            <p:ph type="body" sz="quarter" idx="34" hasCustomPrompt="1"/>
          </p:nvPr>
        </p:nvSpPr>
        <p:spPr>
          <a:xfrm>
            <a:off x="4247228" y="4750332"/>
            <a:ext cx="542912" cy="542912"/>
          </a:xfrm>
          <a:custGeom>
            <a:avLst/>
            <a:gdLst>
              <a:gd name="connsiteX0" fmla="*/ 271456 w 542912"/>
              <a:gd name="connsiteY0" fmla="*/ 0 h 542912"/>
              <a:gd name="connsiteX1" fmla="*/ 542912 w 542912"/>
              <a:gd name="connsiteY1" fmla="*/ 271456 h 542912"/>
              <a:gd name="connsiteX2" fmla="*/ 271456 w 542912"/>
              <a:gd name="connsiteY2" fmla="*/ 542912 h 542912"/>
              <a:gd name="connsiteX3" fmla="*/ 0 w 542912"/>
              <a:gd name="connsiteY3" fmla="*/ 271456 h 542912"/>
              <a:gd name="connsiteX4" fmla="*/ 271456 w 542912"/>
              <a:gd name="connsiteY4" fmla="*/ 0 h 542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12" h="542912">
                <a:moveTo>
                  <a:pt x="271456" y="0"/>
                </a:moveTo>
                <a:cubicBezTo>
                  <a:pt x="421377" y="0"/>
                  <a:pt x="542912" y="121535"/>
                  <a:pt x="542912" y="271456"/>
                </a:cubicBezTo>
                <a:cubicBezTo>
                  <a:pt x="542912" y="421377"/>
                  <a:pt x="421377" y="542912"/>
                  <a:pt x="271456" y="542912"/>
                </a:cubicBezTo>
                <a:cubicBezTo>
                  <a:pt x="121535" y="542912"/>
                  <a:pt x="0" y="421377"/>
                  <a:pt x="0" y="271456"/>
                </a:cubicBezTo>
                <a:cubicBezTo>
                  <a:pt x="0" y="121535"/>
                  <a:pt x="121535" y="0"/>
                  <a:pt x="271456" y="0"/>
                </a:cubicBez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bIns="109728" anchor="ctr" anchorCtr="0">
            <a:noAutofit/>
          </a:bodyPr>
          <a:lstStyle>
            <a:lvl1pPr marL="0" indent="0" algn="ctr">
              <a:buNone/>
              <a:defRPr sz="2800" b="1">
                <a:solidFill>
                  <a:schemeClr val="bg1"/>
                </a:solidFill>
                <a:latin typeface="Raleway" panose="020B0503030101060003" pitchFamily="34" charset="77"/>
              </a:defRPr>
            </a:lvl1pPr>
          </a:lstStyle>
          <a:p>
            <a:pPr lvl="0"/>
            <a:r>
              <a:rPr lang="en-US"/>
              <a:t>#</a:t>
            </a:r>
          </a:p>
        </p:txBody>
      </p:sp>
      <p:sp>
        <p:nvSpPr>
          <p:cNvPr id="41" name="Text Placeholder 31">
            <a:extLst>
              <a:ext uri="{FF2B5EF4-FFF2-40B4-BE49-F238E27FC236}">
                <a16:creationId xmlns:a16="http://schemas.microsoft.com/office/drawing/2014/main" id="{727413C7-6CB1-2A2E-2216-BFE87C490AA4}"/>
              </a:ext>
            </a:extLst>
          </p:cNvPr>
          <p:cNvSpPr>
            <a:spLocks noGrp="1"/>
          </p:cNvSpPr>
          <p:nvPr>
            <p:ph type="body" sz="quarter" idx="35"/>
          </p:nvPr>
        </p:nvSpPr>
        <p:spPr>
          <a:xfrm>
            <a:off x="4930285" y="4686304"/>
            <a:ext cx="6654217" cy="666618"/>
          </a:xfrm>
        </p:spPr>
        <p:txBody>
          <a:bodyPr anchor="ctr" anchorCtr="0"/>
          <a:lstStyle>
            <a:lvl1pPr marL="0" indent="0">
              <a:lnSpc>
                <a:spcPct val="90000"/>
              </a:lnSpc>
              <a:buNone/>
              <a:defRPr kumimoji="0" lang="en-US" sz="1600" b="1" i="0" u="none" strike="noStrike" cap="none" spc="0" normalizeH="0" baseline="0" dirty="0" smtClean="0">
                <a:ln>
                  <a:noFill/>
                </a:ln>
                <a:solidFill>
                  <a:schemeClr val="tx2"/>
                </a:solidFill>
                <a:effectLst/>
                <a:uFillTx/>
                <a:latin typeface="Inter" panose="02000503000000020004" pitchFamily="2" charset="0"/>
                <a:ea typeface="Inter" panose="02000503000000020004" pitchFamily="2" charset="0"/>
                <a:cs typeface="Arial" panose="020B0604020202020204" pitchFamily="34" charset="0"/>
                <a:sym typeface="Poppins SemiBold"/>
              </a:defRPr>
            </a:lvl1pPr>
            <a:lvl2pPr marL="0" marR="0" indent="0" algn="l" defTabSz="914400" rtl="0" fontAlgn="auto" latinLnBrk="0" hangingPunct="0">
              <a:lnSpc>
                <a:spcPct val="90000"/>
              </a:lnSpc>
              <a:spcBef>
                <a:spcPts val="0"/>
              </a:spcBef>
              <a:spcAft>
                <a:spcPts val="0"/>
              </a:spcAft>
              <a:buClrTx/>
              <a:buSzTx/>
              <a:buFontTx/>
              <a:buNone/>
              <a:tabLst/>
              <a:defRPr kumimoji="0" lang="en-US" sz="16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panose="020B0604020202020204" pitchFamily="34" charset="0"/>
                <a:sym typeface="Poppins SemiBold"/>
              </a:defRPr>
            </a:lvl2pPr>
          </a:lstStyle>
          <a:p>
            <a:pPr lvl="0"/>
            <a:r>
              <a:rPr lang="en-US"/>
              <a:t>Click to edit Master text styles</a:t>
            </a:r>
          </a:p>
          <a:p>
            <a:pPr lvl="1"/>
            <a:r>
              <a:rPr lang="en-US"/>
              <a:t>Second level</a:t>
            </a:r>
          </a:p>
        </p:txBody>
      </p:sp>
      <p:sp>
        <p:nvSpPr>
          <p:cNvPr id="42" name="Text Placeholder 32">
            <a:extLst>
              <a:ext uri="{FF2B5EF4-FFF2-40B4-BE49-F238E27FC236}">
                <a16:creationId xmlns:a16="http://schemas.microsoft.com/office/drawing/2014/main" id="{175BD177-69F4-2427-6516-7D3DA64D203F}"/>
              </a:ext>
            </a:extLst>
          </p:cNvPr>
          <p:cNvSpPr>
            <a:spLocks noGrp="1"/>
          </p:cNvSpPr>
          <p:nvPr>
            <p:ph type="body" sz="quarter" idx="36" hasCustomPrompt="1"/>
          </p:nvPr>
        </p:nvSpPr>
        <p:spPr>
          <a:xfrm>
            <a:off x="4247228" y="5525032"/>
            <a:ext cx="542912" cy="542912"/>
          </a:xfrm>
          <a:custGeom>
            <a:avLst/>
            <a:gdLst>
              <a:gd name="connsiteX0" fmla="*/ 271456 w 542912"/>
              <a:gd name="connsiteY0" fmla="*/ 0 h 542912"/>
              <a:gd name="connsiteX1" fmla="*/ 542912 w 542912"/>
              <a:gd name="connsiteY1" fmla="*/ 271456 h 542912"/>
              <a:gd name="connsiteX2" fmla="*/ 271456 w 542912"/>
              <a:gd name="connsiteY2" fmla="*/ 542912 h 542912"/>
              <a:gd name="connsiteX3" fmla="*/ 0 w 542912"/>
              <a:gd name="connsiteY3" fmla="*/ 271456 h 542912"/>
              <a:gd name="connsiteX4" fmla="*/ 271456 w 542912"/>
              <a:gd name="connsiteY4" fmla="*/ 0 h 542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12" h="542912">
                <a:moveTo>
                  <a:pt x="271456" y="0"/>
                </a:moveTo>
                <a:cubicBezTo>
                  <a:pt x="421377" y="0"/>
                  <a:pt x="542912" y="121535"/>
                  <a:pt x="542912" y="271456"/>
                </a:cubicBezTo>
                <a:cubicBezTo>
                  <a:pt x="542912" y="421377"/>
                  <a:pt x="421377" y="542912"/>
                  <a:pt x="271456" y="542912"/>
                </a:cubicBezTo>
                <a:cubicBezTo>
                  <a:pt x="121535" y="542912"/>
                  <a:pt x="0" y="421377"/>
                  <a:pt x="0" y="271456"/>
                </a:cubicBezTo>
                <a:cubicBezTo>
                  <a:pt x="0" y="121535"/>
                  <a:pt x="121535" y="0"/>
                  <a:pt x="271456" y="0"/>
                </a:cubicBez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bIns="82296" anchor="ctr" anchorCtr="0">
            <a:noAutofit/>
          </a:bodyPr>
          <a:lstStyle>
            <a:lvl1pPr marL="0" indent="0" algn="ctr">
              <a:buNone/>
              <a:defRPr sz="2800" b="1">
                <a:solidFill>
                  <a:schemeClr val="bg1"/>
                </a:solidFill>
                <a:latin typeface="Raleway" panose="020B0503030101060003" pitchFamily="34" charset="77"/>
              </a:defRPr>
            </a:lvl1pPr>
          </a:lstStyle>
          <a:p>
            <a:pPr lvl="0"/>
            <a:r>
              <a:rPr lang="en-US"/>
              <a:t>#</a:t>
            </a:r>
          </a:p>
        </p:txBody>
      </p:sp>
      <p:sp>
        <p:nvSpPr>
          <p:cNvPr id="43" name="Text Placeholder 31">
            <a:extLst>
              <a:ext uri="{FF2B5EF4-FFF2-40B4-BE49-F238E27FC236}">
                <a16:creationId xmlns:a16="http://schemas.microsoft.com/office/drawing/2014/main" id="{62AE3F0C-C219-02E1-8E28-4ECA04AB7088}"/>
              </a:ext>
            </a:extLst>
          </p:cNvPr>
          <p:cNvSpPr>
            <a:spLocks noGrp="1"/>
          </p:cNvSpPr>
          <p:nvPr>
            <p:ph type="body" sz="quarter" idx="37"/>
          </p:nvPr>
        </p:nvSpPr>
        <p:spPr>
          <a:xfrm>
            <a:off x="4930285" y="5461004"/>
            <a:ext cx="6654217" cy="666618"/>
          </a:xfrm>
        </p:spPr>
        <p:txBody>
          <a:bodyPr anchor="ctr" anchorCtr="0"/>
          <a:lstStyle>
            <a:lvl1pPr marL="0" indent="0">
              <a:lnSpc>
                <a:spcPct val="90000"/>
              </a:lnSpc>
              <a:buNone/>
              <a:defRPr kumimoji="0" lang="en-US" sz="1600" b="1" i="0" u="none" strike="noStrike" cap="none" spc="0" normalizeH="0" baseline="0" dirty="0" smtClean="0">
                <a:ln>
                  <a:noFill/>
                </a:ln>
                <a:solidFill>
                  <a:schemeClr val="tx2"/>
                </a:solidFill>
                <a:effectLst/>
                <a:uFillTx/>
                <a:latin typeface="Inter" panose="02000503000000020004" pitchFamily="2" charset="0"/>
                <a:ea typeface="Inter" panose="02000503000000020004" pitchFamily="2" charset="0"/>
                <a:cs typeface="Arial" panose="020B0604020202020204" pitchFamily="34" charset="0"/>
                <a:sym typeface="Poppins SemiBold"/>
              </a:defRPr>
            </a:lvl1pPr>
            <a:lvl2pPr marL="0" marR="0" indent="0" algn="l" defTabSz="914400" rtl="0" fontAlgn="auto" latinLnBrk="0" hangingPunct="0">
              <a:lnSpc>
                <a:spcPct val="90000"/>
              </a:lnSpc>
              <a:spcBef>
                <a:spcPts val="0"/>
              </a:spcBef>
              <a:spcAft>
                <a:spcPts val="0"/>
              </a:spcAft>
              <a:buClrTx/>
              <a:buSzTx/>
              <a:buFontTx/>
              <a:buNone/>
              <a:tabLst/>
              <a:defRPr kumimoji="0" lang="en-US" sz="16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panose="020B0604020202020204" pitchFamily="34" charset="0"/>
                <a:sym typeface="Poppins SemiBold"/>
              </a:defRPr>
            </a:lvl2pPr>
          </a:lstStyle>
          <a:p>
            <a:pPr lvl="0"/>
            <a:r>
              <a:rPr lang="en-US"/>
              <a:t>Click to edit Master text styles</a:t>
            </a:r>
          </a:p>
          <a:p>
            <a:pPr lvl="1"/>
            <a:r>
              <a:rPr lang="en-US"/>
              <a:t>Second level</a:t>
            </a:r>
          </a:p>
        </p:txBody>
      </p:sp>
      <p:sp>
        <p:nvSpPr>
          <p:cNvPr id="4" name="Text Placeholder 6">
            <a:extLst>
              <a:ext uri="{FF2B5EF4-FFF2-40B4-BE49-F238E27FC236}">
                <a16:creationId xmlns:a16="http://schemas.microsoft.com/office/drawing/2014/main" id="{08385C90-E082-2FD6-03E8-7CA21009A4EF}"/>
              </a:ext>
            </a:extLst>
          </p:cNvPr>
          <p:cNvSpPr>
            <a:spLocks noGrp="1"/>
          </p:cNvSpPr>
          <p:nvPr>
            <p:ph type="body" sz="quarter" idx="25"/>
          </p:nvPr>
        </p:nvSpPr>
        <p:spPr>
          <a:xfrm>
            <a:off x="4421692" y="201051"/>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1660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Box-Left-Title-Text-Box-Righ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F0B88C2-7171-555F-B35B-2FB55FD42EF9}"/>
              </a:ext>
            </a:extLst>
          </p:cNvPr>
          <p:cNvGraphicFramePr>
            <a:graphicFrameLocks noChangeAspect="1"/>
          </p:cNvGraphicFramePr>
          <p:nvPr>
            <p:custDataLst>
              <p:tags r:id="rId1"/>
            </p:custDataLst>
            <p:extLst>
              <p:ext uri="{D42A27DB-BD31-4B8C-83A1-F6EECF244321}">
                <p14:modId xmlns:p14="http://schemas.microsoft.com/office/powerpoint/2010/main" val="15148700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F0B88C2-7171-555F-B35B-2FB55FD42E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4138ECDB-5C1E-BF15-BB22-ACDA873736BB}"/>
              </a:ext>
            </a:extLst>
          </p:cNvPr>
          <p:cNvSpPr>
            <a:spLocks noGrp="1"/>
          </p:cNvSpPr>
          <p:nvPr>
            <p:ph sz="quarter" idx="31"/>
          </p:nvPr>
        </p:nvSpPr>
        <p:spPr>
          <a:xfrm>
            <a:off x="4421188" y="2122489"/>
            <a:ext cx="7134225" cy="4115250"/>
          </a:xfrm>
        </p:spPr>
        <p:txBody>
          <a:bodyPr/>
          <a:lstStyle>
            <a:lvl1pPr marL="182880" indent="-182880">
              <a:buFont typeface="System Font Regular"/>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reeform 2">
            <a:extLst>
              <a:ext uri="{FF2B5EF4-FFF2-40B4-BE49-F238E27FC236}">
                <a16:creationId xmlns:a16="http://schemas.microsoft.com/office/drawing/2014/main" id="{8F298006-EDA9-B2BD-F042-1CF1974EA3D2}"/>
              </a:ext>
            </a:extLst>
          </p:cNvPr>
          <p:cNvSpPr/>
          <p:nvPr/>
        </p:nvSpPr>
        <p:spPr>
          <a:xfrm>
            <a:off x="0" y="-7496"/>
            <a:ext cx="3469526" cy="6865497"/>
          </a:xfrm>
          <a:custGeom>
            <a:avLst/>
            <a:gdLst>
              <a:gd name="connsiteX0" fmla="*/ 0 w 3469526"/>
              <a:gd name="connsiteY0" fmla="*/ 0 h 6865497"/>
              <a:gd name="connsiteX1" fmla="*/ 2973889 w 3469526"/>
              <a:gd name="connsiteY1" fmla="*/ 0 h 6865497"/>
              <a:gd name="connsiteX2" fmla="*/ 3118289 w 3469526"/>
              <a:gd name="connsiteY2" fmla="*/ 524966 h 6865497"/>
              <a:gd name="connsiteX3" fmla="*/ 3469526 w 3469526"/>
              <a:gd name="connsiteY3" fmla="*/ 3436498 h 6865497"/>
              <a:gd name="connsiteX4" fmla="*/ 3118288 w 3469526"/>
              <a:gd name="connsiteY4" fmla="*/ 6348030 h 6865497"/>
              <a:gd name="connsiteX5" fmla="*/ 2975952 w 3469526"/>
              <a:gd name="connsiteY5" fmla="*/ 6865497 h 6865497"/>
              <a:gd name="connsiteX6" fmla="*/ 0 w 3469526"/>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9526" h="6865497">
                <a:moveTo>
                  <a:pt x="0" y="0"/>
                </a:moveTo>
                <a:lnTo>
                  <a:pt x="2973889" y="0"/>
                </a:lnTo>
                <a:lnTo>
                  <a:pt x="3118289" y="524966"/>
                </a:lnTo>
                <a:cubicBezTo>
                  <a:pt x="3346298" y="1441845"/>
                  <a:pt x="3469526" y="2420383"/>
                  <a:pt x="3469526" y="3436498"/>
                </a:cubicBezTo>
                <a:cubicBezTo>
                  <a:pt x="3469526" y="4452613"/>
                  <a:pt x="3346298" y="5431152"/>
                  <a:pt x="3118288" y="6348030"/>
                </a:cubicBezTo>
                <a:lnTo>
                  <a:pt x="2975952" y="6865497"/>
                </a:lnTo>
                <a:lnTo>
                  <a:pt x="0" y="6865497"/>
                </a:ln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8" name="Freeform 7">
            <a:extLst>
              <a:ext uri="{FF2B5EF4-FFF2-40B4-BE49-F238E27FC236}">
                <a16:creationId xmlns:a16="http://schemas.microsoft.com/office/drawing/2014/main" id="{D061F10F-882D-E3F8-6D72-E28D1437ED88}"/>
              </a:ext>
            </a:extLst>
          </p:cNvPr>
          <p:cNvSpPr/>
          <p:nvPr/>
        </p:nvSpPr>
        <p:spPr>
          <a:xfrm>
            <a:off x="203554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lvl1pPr>
              <a:defRPr>
                <a:solidFill>
                  <a:schemeClr val="bg1"/>
                </a:solidFill>
              </a:defRPr>
            </a:lvl1p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4421692" y="1338941"/>
            <a:ext cx="6400800" cy="441291"/>
          </a:xfrm>
        </p:spPr>
        <p:txBody>
          <a:bodyPr vert="horz"/>
          <a:lstStyle>
            <a:lvl1pPr>
              <a:defRPr sz="2800"/>
            </a:lvl1pPr>
          </a:lstStyle>
          <a:p>
            <a:r>
              <a:rPr lang="en-US"/>
              <a:t>Click to edit Master title style</a:t>
            </a:r>
          </a:p>
        </p:txBody>
      </p:sp>
      <p:cxnSp>
        <p:nvCxnSpPr>
          <p:cNvPr id="9" name="Straight Connector 8">
            <a:extLst>
              <a:ext uri="{FF2B5EF4-FFF2-40B4-BE49-F238E27FC236}">
                <a16:creationId xmlns:a16="http://schemas.microsoft.com/office/drawing/2014/main" id="{9A66A928-4B22-740D-65FF-1432038E76AE}"/>
              </a:ext>
            </a:extLst>
          </p:cNvPr>
          <p:cNvCxnSpPr/>
          <p:nvPr/>
        </p:nvCxnSpPr>
        <p:spPr>
          <a:xfrm>
            <a:off x="4449762" y="194328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14" name="Text Placeholder 5">
            <a:extLst>
              <a:ext uri="{FF2B5EF4-FFF2-40B4-BE49-F238E27FC236}">
                <a16:creationId xmlns:a16="http://schemas.microsoft.com/office/drawing/2014/main" id="{177104F7-31FD-7AA1-FFE2-B0DE1660E557}"/>
              </a:ext>
            </a:extLst>
          </p:cNvPr>
          <p:cNvSpPr>
            <a:spLocks noGrp="1"/>
          </p:cNvSpPr>
          <p:nvPr>
            <p:ph type="body" sz="quarter" idx="30"/>
          </p:nvPr>
        </p:nvSpPr>
        <p:spPr>
          <a:xfrm>
            <a:off x="414338" y="1107831"/>
            <a:ext cx="2074862" cy="4756637"/>
          </a:xfrm>
        </p:spPr>
        <p:txBody>
          <a:bodyPr anchor="ctr" anchorCtr="0"/>
          <a:lstStyle>
            <a:lvl1pPr marL="182880" indent="-182880">
              <a:lnSpc>
                <a:spcPct val="120000"/>
              </a:lnSpc>
              <a:buClrTx/>
              <a:buFont typeface="System Font Regular"/>
              <a:buChar char="+"/>
              <a:defRPr>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a:t>Click to edit Master text styles</a:t>
            </a:r>
          </a:p>
        </p:txBody>
      </p:sp>
      <p:sp>
        <p:nvSpPr>
          <p:cNvPr id="2" name="Text Placeholder 6">
            <a:extLst>
              <a:ext uri="{FF2B5EF4-FFF2-40B4-BE49-F238E27FC236}">
                <a16:creationId xmlns:a16="http://schemas.microsoft.com/office/drawing/2014/main" id="{DDEAFD08-B472-982E-F624-803D1288CA8A}"/>
              </a:ext>
            </a:extLst>
          </p:cNvPr>
          <p:cNvSpPr>
            <a:spLocks noGrp="1"/>
          </p:cNvSpPr>
          <p:nvPr>
            <p:ph type="body" sz="quarter" idx="25"/>
          </p:nvPr>
        </p:nvSpPr>
        <p:spPr>
          <a:xfrm>
            <a:off x="4421692" y="9813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72719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163B7F2-9056-AF2B-EAFC-16A34EF508C0}"/>
              </a:ext>
            </a:extLst>
          </p:cNvPr>
          <p:cNvGraphicFramePr>
            <a:graphicFrameLocks noChangeAspect="1"/>
          </p:cNvGraphicFramePr>
          <p:nvPr>
            <p:custDataLst>
              <p:tags r:id="rId1"/>
            </p:custDataLst>
            <p:extLst>
              <p:ext uri="{D42A27DB-BD31-4B8C-83A1-F6EECF244321}">
                <p14:modId xmlns:p14="http://schemas.microsoft.com/office/powerpoint/2010/main" val="24226128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0163B7F2-9056-AF2B-EAFC-16A34EF508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851D294-E50E-5755-828C-E371C1EA02C2}"/>
              </a:ext>
            </a:extLst>
          </p:cNvPr>
          <p:cNvSpPr>
            <a:spLocks noGrp="1"/>
          </p:cNvSpPr>
          <p:nvPr>
            <p:ph type="pic" sz="quarter" idx="14"/>
          </p:nvPr>
        </p:nvSpPr>
        <p:spPr>
          <a:xfrm>
            <a:off x="0" y="-7497"/>
            <a:ext cx="3469526" cy="6865497"/>
          </a:xfrm>
          <a:custGeom>
            <a:avLst/>
            <a:gdLst>
              <a:gd name="connsiteX0" fmla="*/ 0 w 3469526"/>
              <a:gd name="connsiteY0" fmla="*/ 0 h 6865497"/>
              <a:gd name="connsiteX1" fmla="*/ 2973889 w 3469526"/>
              <a:gd name="connsiteY1" fmla="*/ 0 h 6865497"/>
              <a:gd name="connsiteX2" fmla="*/ 3118289 w 3469526"/>
              <a:gd name="connsiteY2" fmla="*/ 524966 h 6865497"/>
              <a:gd name="connsiteX3" fmla="*/ 3469526 w 3469526"/>
              <a:gd name="connsiteY3" fmla="*/ 3436498 h 6865497"/>
              <a:gd name="connsiteX4" fmla="*/ 3118288 w 3469526"/>
              <a:gd name="connsiteY4" fmla="*/ 6348030 h 6865497"/>
              <a:gd name="connsiteX5" fmla="*/ 2975952 w 3469526"/>
              <a:gd name="connsiteY5" fmla="*/ 6865497 h 6865497"/>
              <a:gd name="connsiteX6" fmla="*/ 0 w 3469526"/>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9526" h="6865497">
                <a:moveTo>
                  <a:pt x="0" y="0"/>
                </a:moveTo>
                <a:lnTo>
                  <a:pt x="2973889" y="0"/>
                </a:lnTo>
                <a:lnTo>
                  <a:pt x="3118289" y="524966"/>
                </a:lnTo>
                <a:cubicBezTo>
                  <a:pt x="3346298" y="1441845"/>
                  <a:pt x="3469526" y="2420383"/>
                  <a:pt x="3469526" y="3436498"/>
                </a:cubicBezTo>
                <a:cubicBezTo>
                  <a:pt x="3469526" y="4452613"/>
                  <a:pt x="3346298" y="5431152"/>
                  <a:pt x="3118288" y="6348030"/>
                </a:cubicBezTo>
                <a:lnTo>
                  <a:pt x="2975952" y="6865497"/>
                </a:lnTo>
                <a:lnTo>
                  <a:pt x="0" y="6865497"/>
                </a:ln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sp>
        <p:nvSpPr>
          <p:cNvPr id="8" name="Freeform 7">
            <a:extLst>
              <a:ext uri="{FF2B5EF4-FFF2-40B4-BE49-F238E27FC236}">
                <a16:creationId xmlns:a16="http://schemas.microsoft.com/office/drawing/2014/main" id="{D061F10F-882D-E3F8-6D72-E28D1437ED88}"/>
              </a:ext>
            </a:extLst>
          </p:cNvPr>
          <p:cNvSpPr/>
          <p:nvPr/>
        </p:nvSpPr>
        <p:spPr>
          <a:xfrm>
            <a:off x="203554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lvl1pPr>
              <a:defRPr>
                <a:solidFill>
                  <a:schemeClr val="bg1"/>
                </a:solidFill>
              </a:defRPr>
            </a:lvl1p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hasCustomPrompt="1"/>
          </p:nvPr>
        </p:nvSpPr>
        <p:spPr>
          <a:xfrm>
            <a:off x="4421692" y="1432724"/>
            <a:ext cx="6400800" cy="731520"/>
          </a:xfrm>
        </p:spPr>
        <p:txBody>
          <a:bodyPr vert="horz"/>
          <a:lstStyle>
            <a:lvl1pPr>
              <a:defRPr sz="2800"/>
            </a:lvl1pPr>
          </a:lstStyle>
          <a:p>
            <a:r>
              <a:rPr lang="en-US"/>
              <a:t>Click to edit Master title style </a:t>
            </a:r>
            <a:br>
              <a:rPr lang="en-US"/>
            </a:br>
            <a:r>
              <a:rPr lang="en-US"/>
              <a:t>for 2-line title</a:t>
            </a:r>
          </a:p>
        </p:txBody>
      </p:sp>
      <p:sp>
        <p:nvSpPr>
          <p:cNvPr id="15" name="Content Placeholder 14">
            <a:extLst>
              <a:ext uri="{FF2B5EF4-FFF2-40B4-BE49-F238E27FC236}">
                <a16:creationId xmlns:a16="http://schemas.microsoft.com/office/drawing/2014/main" id="{87A6EE9D-543A-0282-90F0-F78108BF9F1B}"/>
              </a:ext>
            </a:extLst>
          </p:cNvPr>
          <p:cNvSpPr>
            <a:spLocks noGrp="1"/>
          </p:cNvSpPr>
          <p:nvPr>
            <p:ph sz="quarter" idx="26"/>
          </p:nvPr>
        </p:nvSpPr>
        <p:spPr>
          <a:xfrm>
            <a:off x="4421188" y="2416861"/>
            <a:ext cx="6400800" cy="1424877"/>
          </a:xfrm>
        </p:spPr>
        <p:txBody>
          <a:bodyPr>
            <a:spAutoFit/>
          </a:bodyPr>
          <a:lstStyle>
            <a:lvl1pPr>
              <a:lnSpc>
                <a:spcPct val="120000"/>
              </a:lnSpc>
              <a:spcBef>
                <a:spcPts val="1000"/>
              </a:spcBef>
              <a:defRPr sz="1400">
                <a:solidFill>
                  <a:schemeClr val="tx1"/>
                </a:solidFill>
              </a:defRPr>
            </a:lvl1pPr>
            <a:lvl2pPr>
              <a:lnSpc>
                <a:spcPct val="120000"/>
              </a:lnSpc>
              <a:spcBef>
                <a:spcPts val="300"/>
              </a:spcBef>
              <a:defRPr sz="1400">
                <a:solidFill>
                  <a:schemeClr val="tx1"/>
                </a:solidFill>
              </a:defRPr>
            </a:lvl2pPr>
            <a:lvl3pPr>
              <a:lnSpc>
                <a:spcPct val="120000"/>
              </a:lnSpc>
              <a:spcBef>
                <a:spcPts val="300"/>
              </a:spcBef>
              <a:defRPr sz="1400">
                <a:solidFill>
                  <a:schemeClr val="tx1"/>
                </a:solidFill>
              </a:defRPr>
            </a:lvl3pPr>
            <a:lvl4pPr>
              <a:lnSpc>
                <a:spcPct val="120000"/>
              </a:lnSpc>
              <a:spcBef>
                <a:spcPts val="300"/>
              </a:spcBef>
              <a:defRPr sz="1400">
                <a:solidFill>
                  <a:schemeClr val="tx1"/>
                </a:solidFill>
              </a:defRPr>
            </a:lvl4pPr>
            <a:lvl5pPr>
              <a:lnSpc>
                <a:spcPct val="120000"/>
              </a:lnSpc>
              <a:spcBef>
                <a:spcPts val="3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reeform 6">
            <a:extLst>
              <a:ext uri="{FF2B5EF4-FFF2-40B4-BE49-F238E27FC236}">
                <a16:creationId xmlns:a16="http://schemas.microsoft.com/office/drawing/2014/main" id="{95274DB3-147E-416A-5340-AC9997290272}"/>
              </a:ext>
            </a:extLst>
          </p:cNvPr>
          <p:cNvSpPr/>
          <p:nvPr userDrawn="1"/>
        </p:nvSpPr>
        <p:spPr>
          <a:xfrm>
            <a:off x="203554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ext Placeholder 6">
            <a:extLst>
              <a:ext uri="{FF2B5EF4-FFF2-40B4-BE49-F238E27FC236}">
                <a16:creationId xmlns:a16="http://schemas.microsoft.com/office/drawing/2014/main" id="{D52DFB45-FA49-83A4-2289-F918AC0A2127}"/>
              </a:ext>
            </a:extLst>
          </p:cNvPr>
          <p:cNvSpPr>
            <a:spLocks noGrp="1"/>
          </p:cNvSpPr>
          <p:nvPr>
            <p:ph type="body" sz="quarter" idx="25"/>
          </p:nvPr>
        </p:nvSpPr>
        <p:spPr>
          <a:xfrm>
            <a:off x="4421692" y="981269"/>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85505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BE7E741-7734-408E-1472-10EC777EA384}"/>
              </a:ext>
            </a:extLst>
          </p:cNvPr>
          <p:cNvGraphicFramePr>
            <a:graphicFrameLocks noChangeAspect="1"/>
          </p:cNvGraphicFramePr>
          <p:nvPr>
            <p:custDataLst>
              <p:tags r:id="rId1"/>
            </p:custDataLst>
            <p:extLst>
              <p:ext uri="{D42A27DB-BD31-4B8C-83A1-F6EECF244321}">
                <p14:modId xmlns:p14="http://schemas.microsoft.com/office/powerpoint/2010/main" val="3860583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BE7E741-7734-408E-1472-10EC777EA38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851D294-E50E-5755-828C-E371C1EA02C2}"/>
              </a:ext>
            </a:extLst>
          </p:cNvPr>
          <p:cNvSpPr>
            <a:spLocks noGrp="1"/>
          </p:cNvSpPr>
          <p:nvPr>
            <p:ph type="pic" sz="quarter" idx="14"/>
          </p:nvPr>
        </p:nvSpPr>
        <p:spPr>
          <a:xfrm>
            <a:off x="0" y="-7497"/>
            <a:ext cx="3469526" cy="6865497"/>
          </a:xfrm>
          <a:custGeom>
            <a:avLst/>
            <a:gdLst>
              <a:gd name="connsiteX0" fmla="*/ 0 w 3469526"/>
              <a:gd name="connsiteY0" fmla="*/ 0 h 6865497"/>
              <a:gd name="connsiteX1" fmla="*/ 2973889 w 3469526"/>
              <a:gd name="connsiteY1" fmla="*/ 0 h 6865497"/>
              <a:gd name="connsiteX2" fmla="*/ 3118289 w 3469526"/>
              <a:gd name="connsiteY2" fmla="*/ 524966 h 6865497"/>
              <a:gd name="connsiteX3" fmla="*/ 3469526 w 3469526"/>
              <a:gd name="connsiteY3" fmla="*/ 3436498 h 6865497"/>
              <a:gd name="connsiteX4" fmla="*/ 3118288 w 3469526"/>
              <a:gd name="connsiteY4" fmla="*/ 6348030 h 6865497"/>
              <a:gd name="connsiteX5" fmla="*/ 2975952 w 3469526"/>
              <a:gd name="connsiteY5" fmla="*/ 6865497 h 6865497"/>
              <a:gd name="connsiteX6" fmla="*/ 0 w 3469526"/>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9526" h="6865497">
                <a:moveTo>
                  <a:pt x="0" y="0"/>
                </a:moveTo>
                <a:lnTo>
                  <a:pt x="2973889" y="0"/>
                </a:lnTo>
                <a:lnTo>
                  <a:pt x="3118289" y="524966"/>
                </a:lnTo>
                <a:cubicBezTo>
                  <a:pt x="3346298" y="1441845"/>
                  <a:pt x="3469526" y="2420383"/>
                  <a:pt x="3469526" y="3436498"/>
                </a:cubicBezTo>
                <a:cubicBezTo>
                  <a:pt x="3469526" y="4452613"/>
                  <a:pt x="3346298" y="5431152"/>
                  <a:pt x="3118288" y="6348030"/>
                </a:cubicBezTo>
                <a:lnTo>
                  <a:pt x="2975952" y="6865497"/>
                </a:lnTo>
                <a:lnTo>
                  <a:pt x="0" y="6865497"/>
                </a:ln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sp>
        <p:nvSpPr>
          <p:cNvPr id="8" name="Freeform 7">
            <a:extLst>
              <a:ext uri="{FF2B5EF4-FFF2-40B4-BE49-F238E27FC236}">
                <a16:creationId xmlns:a16="http://schemas.microsoft.com/office/drawing/2014/main" id="{D061F10F-882D-E3F8-6D72-E28D1437ED88}"/>
              </a:ext>
            </a:extLst>
          </p:cNvPr>
          <p:cNvSpPr/>
          <p:nvPr/>
        </p:nvSpPr>
        <p:spPr>
          <a:xfrm>
            <a:off x="203554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ooter Placeholder 4">
            <a:extLst>
              <a:ext uri="{FF2B5EF4-FFF2-40B4-BE49-F238E27FC236}">
                <a16:creationId xmlns:a16="http://schemas.microsoft.com/office/drawing/2014/main" id="{53063C45-2FF0-6562-271D-7EDA72A98AA0}"/>
              </a:ext>
            </a:extLst>
          </p:cNvPr>
          <p:cNvSpPr>
            <a:spLocks noGrp="1"/>
          </p:cNvSpPr>
          <p:nvPr>
            <p:ph type="ftr" sz="quarter" idx="23"/>
          </p:nvPr>
        </p:nvSpPr>
        <p:spPr/>
        <p:txBody>
          <a:bodyPr/>
          <a:lstStyle>
            <a:lvl1pPr>
              <a:defRPr>
                <a:solidFill>
                  <a:schemeClr val="bg1"/>
                </a:solidFill>
              </a:defRPr>
            </a:lvl1p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A6E497A9-899B-1E32-8A08-AA8B852093F9}"/>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13" name="Title 12">
            <a:extLst>
              <a:ext uri="{FF2B5EF4-FFF2-40B4-BE49-F238E27FC236}">
                <a16:creationId xmlns:a16="http://schemas.microsoft.com/office/drawing/2014/main" id="{99EB35B5-115F-B82D-C1CE-09EF63B41AC7}"/>
              </a:ext>
            </a:extLst>
          </p:cNvPr>
          <p:cNvSpPr>
            <a:spLocks noGrp="1"/>
          </p:cNvSpPr>
          <p:nvPr>
            <p:ph type="title"/>
          </p:nvPr>
        </p:nvSpPr>
        <p:spPr>
          <a:xfrm>
            <a:off x="3924803" y="557784"/>
            <a:ext cx="7171997" cy="441291"/>
          </a:xfrm>
        </p:spPr>
        <p:txBody>
          <a:bodyPr vert="horz"/>
          <a:lstStyle/>
          <a:p>
            <a:r>
              <a:rPr lang="en-US"/>
              <a:t>Click to edit Master title style</a:t>
            </a:r>
          </a:p>
        </p:txBody>
      </p:sp>
      <p:sp>
        <p:nvSpPr>
          <p:cNvPr id="15" name="Content Placeholder 14">
            <a:extLst>
              <a:ext uri="{FF2B5EF4-FFF2-40B4-BE49-F238E27FC236}">
                <a16:creationId xmlns:a16="http://schemas.microsoft.com/office/drawing/2014/main" id="{87A6EE9D-543A-0282-90F0-F78108BF9F1B}"/>
              </a:ext>
            </a:extLst>
          </p:cNvPr>
          <p:cNvSpPr>
            <a:spLocks noGrp="1"/>
          </p:cNvSpPr>
          <p:nvPr>
            <p:ph sz="quarter" idx="26"/>
          </p:nvPr>
        </p:nvSpPr>
        <p:spPr>
          <a:xfrm>
            <a:off x="3924300" y="1885243"/>
            <a:ext cx="5272454" cy="1424877"/>
          </a:xfrm>
          <a:ln w="12700">
            <a:miter lim="400000"/>
          </a:ln>
        </p:spPr>
        <p:txBody>
          <a:bodyPr lIns="0" tIns="0" rIns="0" bIns="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 name="Straight Connector 1">
            <a:extLst>
              <a:ext uri="{FF2B5EF4-FFF2-40B4-BE49-F238E27FC236}">
                <a16:creationId xmlns:a16="http://schemas.microsoft.com/office/drawing/2014/main" id="{F741EB3D-3ED6-2CBB-FCA4-594958434180}"/>
              </a:ext>
            </a:extLst>
          </p:cNvPr>
          <p:cNvCxnSpPr/>
          <p:nvPr/>
        </p:nvCxnSpPr>
        <p:spPr>
          <a:xfrm>
            <a:off x="3952874" y="1243371"/>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7" name="Text Placeholder 6">
            <a:extLst>
              <a:ext uri="{FF2B5EF4-FFF2-40B4-BE49-F238E27FC236}">
                <a16:creationId xmlns:a16="http://schemas.microsoft.com/office/drawing/2014/main" id="{00026AE6-ED6B-D15D-B04A-7E7D6C2148CC}"/>
              </a:ext>
            </a:extLst>
          </p:cNvPr>
          <p:cNvSpPr>
            <a:spLocks noGrp="1"/>
          </p:cNvSpPr>
          <p:nvPr>
            <p:ph type="body" sz="quarter" idx="27"/>
          </p:nvPr>
        </p:nvSpPr>
        <p:spPr>
          <a:xfrm>
            <a:off x="9493250" y="1885242"/>
            <a:ext cx="2100439" cy="4261557"/>
          </a:xfr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4">
            <a:extLst>
              <a:ext uri="{FF2B5EF4-FFF2-40B4-BE49-F238E27FC236}">
                <a16:creationId xmlns:a16="http://schemas.microsoft.com/office/drawing/2014/main" id="{108BF67F-4D1D-739D-A965-98BEAA8E90BA}"/>
              </a:ext>
            </a:extLst>
          </p:cNvPr>
          <p:cNvSpPr>
            <a:spLocks noGrp="1"/>
          </p:cNvSpPr>
          <p:nvPr>
            <p:ph sz="quarter" idx="28"/>
          </p:nvPr>
        </p:nvSpPr>
        <p:spPr>
          <a:xfrm>
            <a:off x="3924300" y="1580444"/>
            <a:ext cx="5272454" cy="304800"/>
          </a:xfrm>
        </p:spPr>
        <p:txBody>
          <a:bodyPr>
            <a:noAutofit/>
          </a:bodyPr>
          <a:lstStyle>
            <a:lvl1pPr marL="0" indent="0">
              <a:lnSpc>
                <a:spcPct val="105000"/>
              </a:lnSpc>
              <a:spcBef>
                <a:spcPts val="0"/>
              </a:spcBef>
              <a:buNone/>
              <a:defRPr sz="1400" b="1">
                <a:solidFill>
                  <a:schemeClr val="tx2"/>
                </a:solidFill>
              </a:defRPr>
            </a:lvl1pPr>
            <a:lvl2pPr>
              <a:lnSpc>
                <a:spcPct val="150000"/>
              </a:lnSpc>
              <a:spcBef>
                <a:spcPts val="300"/>
              </a:spcBef>
              <a:defRPr sz="1200">
                <a:solidFill>
                  <a:schemeClr val="tx1"/>
                </a:solidFill>
              </a:defRPr>
            </a:lvl2pPr>
            <a:lvl3pPr>
              <a:lnSpc>
                <a:spcPct val="150000"/>
              </a:lnSpc>
              <a:spcBef>
                <a:spcPts val="300"/>
              </a:spcBef>
              <a:defRPr sz="1200">
                <a:solidFill>
                  <a:schemeClr val="tx1"/>
                </a:solidFill>
              </a:defRPr>
            </a:lvl3pPr>
            <a:lvl4pPr>
              <a:lnSpc>
                <a:spcPct val="150000"/>
              </a:lnSpc>
              <a:spcBef>
                <a:spcPts val="300"/>
              </a:spcBef>
              <a:defRPr sz="1200">
                <a:solidFill>
                  <a:schemeClr val="tx1"/>
                </a:solidFill>
              </a:defRPr>
            </a:lvl4pPr>
            <a:lvl5pPr>
              <a:lnSpc>
                <a:spcPct val="150000"/>
              </a:lnSpc>
              <a:spcBef>
                <a:spcPts val="300"/>
              </a:spcBef>
              <a:defRPr sz="1200">
                <a:solidFill>
                  <a:schemeClr val="tx1"/>
                </a:solidFill>
              </a:defRPr>
            </a:lvl5pPr>
          </a:lstStyle>
          <a:p>
            <a:pPr lvl="0"/>
            <a:r>
              <a:rPr lang="en-US"/>
              <a:t>Click to edit Master text styles</a:t>
            </a:r>
          </a:p>
        </p:txBody>
      </p:sp>
      <p:sp>
        <p:nvSpPr>
          <p:cNvPr id="16" name="Text Placeholder 6">
            <a:extLst>
              <a:ext uri="{FF2B5EF4-FFF2-40B4-BE49-F238E27FC236}">
                <a16:creationId xmlns:a16="http://schemas.microsoft.com/office/drawing/2014/main" id="{806D35C6-7EDE-FFDD-B6E7-FF1469E4270D}"/>
              </a:ext>
            </a:extLst>
          </p:cNvPr>
          <p:cNvSpPr>
            <a:spLocks noGrp="1"/>
          </p:cNvSpPr>
          <p:nvPr>
            <p:ph type="body" sz="quarter" idx="29" hasCustomPrompt="1"/>
          </p:nvPr>
        </p:nvSpPr>
        <p:spPr>
          <a:xfrm>
            <a:off x="9493250" y="1580443"/>
            <a:ext cx="2100439" cy="304800"/>
          </a:xfrm>
        </p:spPr>
        <p:txBody>
          <a:bodyPr/>
          <a:lstStyle>
            <a:lvl1pPr marL="0" indent="0">
              <a:lnSpc>
                <a:spcPct val="105000"/>
              </a:lnSpc>
              <a:spcBef>
                <a:spcPts val="0"/>
              </a:spcBef>
              <a:buNone/>
              <a:defRPr b="1">
                <a:solidFill>
                  <a:schemeClr val="tx2"/>
                </a:solidFill>
              </a:defRPr>
            </a:lvl1pPr>
          </a:lstStyle>
          <a:p>
            <a:pPr lvl="0"/>
            <a:r>
              <a:rPr lang="en-US"/>
              <a:t>Click to edit text styles</a:t>
            </a:r>
          </a:p>
        </p:txBody>
      </p:sp>
      <p:sp>
        <p:nvSpPr>
          <p:cNvPr id="9" name="Freeform 8">
            <a:extLst>
              <a:ext uri="{FF2B5EF4-FFF2-40B4-BE49-F238E27FC236}">
                <a16:creationId xmlns:a16="http://schemas.microsoft.com/office/drawing/2014/main" id="{721165FB-1417-A643-17DA-EDC8124BC4CC}"/>
              </a:ext>
            </a:extLst>
          </p:cNvPr>
          <p:cNvSpPr/>
          <p:nvPr userDrawn="1"/>
        </p:nvSpPr>
        <p:spPr>
          <a:xfrm>
            <a:off x="203554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601202 w 1433982"/>
              <a:gd name="connsiteY6" fmla="*/ 6865498 h 6865498"/>
              <a:gd name="connsiteX7" fmla="*/ 743538 w 1433982"/>
              <a:gd name="connsiteY7" fmla="*/ 6348031 h 6865498"/>
              <a:gd name="connsiteX8" fmla="*/ 1094776 w 1433982"/>
              <a:gd name="connsiteY8" fmla="*/ 3436499 h 6865498"/>
              <a:gd name="connsiteX9" fmla="*/ 743539 w 1433982"/>
              <a:gd name="connsiteY9" fmla="*/ 524967 h 6865498"/>
              <a:gd name="connsiteX10" fmla="*/ 599139 w 1433982"/>
              <a:gd name="connsiteY10" fmla="*/ 1 h 6865498"/>
              <a:gd name="connsiteX11" fmla="*/ 0 w 1433982"/>
              <a:gd name="connsiteY11" fmla="*/ 1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601202" y="6865498"/>
                </a:lnTo>
                <a:lnTo>
                  <a:pt x="743538" y="6348031"/>
                </a:lnTo>
                <a:cubicBezTo>
                  <a:pt x="971548" y="5431153"/>
                  <a:pt x="1094776" y="4452614"/>
                  <a:pt x="1094776" y="3436499"/>
                </a:cubicBezTo>
                <a:cubicBezTo>
                  <a:pt x="1094776" y="2420384"/>
                  <a:pt x="971548" y="1441846"/>
                  <a:pt x="743539" y="524967"/>
                </a:cubicBezTo>
                <a:lnTo>
                  <a:pt x="599139" y="1"/>
                </a:lnTo>
                <a:lnTo>
                  <a:pt x="0" y="1"/>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17" name="Straight Connector 16">
            <a:extLst>
              <a:ext uri="{FF2B5EF4-FFF2-40B4-BE49-F238E27FC236}">
                <a16:creationId xmlns:a16="http://schemas.microsoft.com/office/drawing/2014/main" id="{32F8F4D5-65AD-AD88-1A19-335E7F18BB13}"/>
              </a:ext>
            </a:extLst>
          </p:cNvPr>
          <p:cNvCxnSpPr/>
          <p:nvPr userDrawn="1"/>
        </p:nvCxnSpPr>
        <p:spPr>
          <a:xfrm>
            <a:off x="3952874" y="1243371"/>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FF1B90CA-7E6B-1C76-9315-189D5089A4D9}"/>
              </a:ext>
            </a:extLst>
          </p:cNvPr>
          <p:cNvSpPr>
            <a:spLocks noGrp="1"/>
          </p:cNvSpPr>
          <p:nvPr>
            <p:ph type="body" sz="quarter" idx="25"/>
          </p:nvPr>
        </p:nvSpPr>
        <p:spPr>
          <a:xfrm>
            <a:off x="3924300" y="201051"/>
            <a:ext cx="6898192"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71360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line Headline">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3873565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aphicFrame>
        <p:nvGraphicFramePr>
          <p:cNvPr id="7" name="think-cell data - do not delete" hidden="1">
            <a:extLst>
              <a:ext uri="{FF2B5EF4-FFF2-40B4-BE49-F238E27FC236}">
                <a16:creationId xmlns:a16="http://schemas.microsoft.com/office/drawing/2014/main" id="{360387BD-0E60-C5F9-4B36-92A801F66831}"/>
              </a:ext>
            </a:extLst>
          </p:cNvPr>
          <p:cNvGraphicFramePr>
            <a:graphicFrameLocks noChangeAspect="1"/>
          </p:cNvGraphicFramePr>
          <p:nvPr userDrawn="1">
            <p:custDataLst>
              <p:tags r:id="rId2"/>
            </p:custDataLst>
            <p:extLst>
              <p:ext uri="{D42A27DB-BD31-4B8C-83A1-F6EECF244321}">
                <p14:modId xmlns:p14="http://schemas.microsoft.com/office/powerpoint/2010/main" val="3873565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360387BD-0E60-C5F9-4B36-92A801F6683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0F27028B-EEB2-4373-CE8D-DC408865C04B}"/>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3312828B-4138-960B-65FF-3E703EB4292E}"/>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38870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8_Title Slid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9D2A16-24A6-AA7D-BFB7-9E6C4A3A004A}"/>
              </a:ext>
            </a:extLst>
          </p:cNvPr>
          <p:cNvGraphicFramePr>
            <a:graphicFrameLocks noChangeAspect="1"/>
          </p:cNvGraphicFramePr>
          <p:nvPr>
            <p:custDataLst>
              <p:tags r:id="rId1"/>
            </p:custDataLst>
            <p:extLst>
              <p:ext uri="{D42A27DB-BD31-4B8C-83A1-F6EECF244321}">
                <p14:modId xmlns:p14="http://schemas.microsoft.com/office/powerpoint/2010/main" val="2338931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A39D2A16-24A6-AA7D-BFB7-9E6C4A3A00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B1714CDE-D079-1CD3-1458-044DF2789852}"/>
              </a:ext>
            </a:extLst>
          </p:cNvPr>
          <p:cNvSpPr/>
          <p:nvPr userDrawn="1"/>
        </p:nvSpPr>
        <p:spPr>
          <a:xfrm>
            <a:off x="2" y="-7496"/>
            <a:ext cx="11961045" cy="6865497"/>
          </a:xfrm>
          <a:custGeom>
            <a:avLst/>
            <a:gdLst>
              <a:gd name="connsiteX0" fmla="*/ 0 w 11961045"/>
              <a:gd name="connsiteY0" fmla="*/ 0 h 6865497"/>
              <a:gd name="connsiteX1" fmla="*/ 11465408 w 11961045"/>
              <a:gd name="connsiteY1" fmla="*/ 0 h 6865497"/>
              <a:gd name="connsiteX2" fmla="*/ 11609808 w 11961045"/>
              <a:gd name="connsiteY2" fmla="*/ 524966 h 6865497"/>
              <a:gd name="connsiteX3" fmla="*/ 11961045 w 11961045"/>
              <a:gd name="connsiteY3" fmla="*/ 3436498 h 6865497"/>
              <a:gd name="connsiteX4" fmla="*/ 11609807 w 11961045"/>
              <a:gd name="connsiteY4" fmla="*/ 6348030 h 6865497"/>
              <a:gd name="connsiteX5" fmla="*/ 11467471 w 11961045"/>
              <a:gd name="connsiteY5" fmla="*/ 6865497 h 6865497"/>
              <a:gd name="connsiteX6" fmla="*/ 0 w 11961045"/>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1045" h="6865497">
                <a:moveTo>
                  <a:pt x="0" y="0"/>
                </a:moveTo>
                <a:lnTo>
                  <a:pt x="11465408" y="0"/>
                </a:lnTo>
                <a:lnTo>
                  <a:pt x="11609808" y="524966"/>
                </a:lnTo>
                <a:cubicBezTo>
                  <a:pt x="11837817" y="1441845"/>
                  <a:pt x="11961045" y="2420383"/>
                  <a:pt x="11961045" y="3436498"/>
                </a:cubicBezTo>
                <a:cubicBezTo>
                  <a:pt x="11961045" y="4452613"/>
                  <a:pt x="11837817" y="5431152"/>
                  <a:pt x="11609807" y="6348030"/>
                </a:cubicBezTo>
                <a:lnTo>
                  <a:pt x="11467471" y="6865497"/>
                </a:lnTo>
                <a:lnTo>
                  <a:pt x="0" y="6865497"/>
                </a:ln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5" name="Content Placeholder 14">
            <a:extLst>
              <a:ext uri="{FF2B5EF4-FFF2-40B4-BE49-F238E27FC236}">
                <a16:creationId xmlns:a16="http://schemas.microsoft.com/office/drawing/2014/main" id="{4D09ACD2-8767-AC91-6B86-B5025B94C795}"/>
              </a:ext>
            </a:extLst>
          </p:cNvPr>
          <p:cNvSpPr>
            <a:spLocks noGrp="1"/>
          </p:cNvSpPr>
          <p:nvPr>
            <p:ph sz="quarter" idx="15"/>
          </p:nvPr>
        </p:nvSpPr>
        <p:spPr>
          <a:xfrm>
            <a:off x="-2" y="1929384"/>
            <a:ext cx="8312795" cy="2999232"/>
          </a:xfrm>
          <a:custGeom>
            <a:avLst/>
            <a:gdLst>
              <a:gd name="connsiteX0" fmla="*/ 1027075 w 8312795"/>
              <a:gd name="connsiteY0" fmla="*/ 1126219 h 2999232"/>
              <a:gd name="connsiteX1" fmla="*/ 1028413 w 8312795"/>
              <a:gd name="connsiteY1" fmla="*/ 1126219 h 2999232"/>
              <a:gd name="connsiteX2" fmla="*/ 1032059 w 8312795"/>
              <a:gd name="connsiteY2" fmla="*/ 1126458 h 2999232"/>
              <a:gd name="connsiteX3" fmla="*/ 1033154 w 8312795"/>
              <a:gd name="connsiteY3" fmla="*/ 1127175 h 2999232"/>
              <a:gd name="connsiteX4" fmla="*/ 1033518 w 8312795"/>
              <a:gd name="connsiteY4" fmla="*/ 1128370 h 2999232"/>
              <a:gd name="connsiteX5" fmla="*/ 1033154 w 8312795"/>
              <a:gd name="connsiteY5" fmla="*/ 1129566 h 2999232"/>
              <a:gd name="connsiteX6" fmla="*/ 1032059 w 8312795"/>
              <a:gd name="connsiteY6" fmla="*/ 1130402 h 2999232"/>
              <a:gd name="connsiteX7" fmla="*/ 1028413 w 8312795"/>
              <a:gd name="connsiteY7" fmla="*/ 1130641 h 2999232"/>
              <a:gd name="connsiteX8" fmla="*/ 1027075 w 8312795"/>
              <a:gd name="connsiteY8" fmla="*/ 1130641 h 2999232"/>
              <a:gd name="connsiteX9" fmla="*/ 1023672 w 8312795"/>
              <a:gd name="connsiteY9" fmla="*/ 1123589 h 2999232"/>
              <a:gd name="connsiteX10" fmla="*/ 1023672 w 8312795"/>
              <a:gd name="connsiteY10" fmla="*/ 1139965 h 2999232"/>
              <a:gd name="connsiteX11" fmla="*/ 1023793 w 8312795"/>
              <a:gd name="connsiteY11" fmla="*/ 1139965 h 2999232"/>
              <a:gd name="connsiteX12" fmla="*/ 1027197 w 8312795"/>
              <a:gd name="connsiteY12" fmla="*/ 1139965 h 2999232"/>
              <a:gd name="connsiteX13" fmla="*/ 1027197 w 8312795"/>
              <a:gd name="connsiteY13" fmla="*/ 1133271 h 2999232"/>
              <a:gd name="connsiteX14" fmla="*/ 1028048 w 8312795"/>
              <a:gd name="connsiteY14" fmla="*/ 1133271 h 2999232"/>
              <a:gd name="connsiteX15" fmla="*/ 1030358 w 8312795"/>
              <a:gd name="connsiteY15" fmla="*/ 1133988 h 2999232"/>
              <a:gd name="connsiteX16" fmla="*/ 1032667 w 8312795"/>
              <a:gd name="connsiteY16" fmla="*/ 1137335 h 2999232"/>
              <a:gd name="connsiteX17" fmla="*/ 1034126 w 8312795"/>
              <a:gd name="connsiteY17" fmla="*/ 1139965 h 2999232"/>
              <a:gd name="connsiteX18" fmla="*/ 1038259 w 8312795"/>
              <a:gd name="connsiteY18" fmla="*/ 1139965 h 2999232"/>
              <a:gd name="connsiteX19" fmla="*/ 1036314 w 8312795"/>
              <a:gd name="connsiteY19" fmla="*/ 1136618 h 2999232"/>
              <a:gd name="connsiteX20" fmla="*/ 1035099 w 8312795"/>
              <a:gd name="connsiteY20" fmla="*/ 1134586 h 2999232"/>
              <a:gd name="connsiteX21" fmla="*/ 1034004 w 8312795"/>
              <a:gd name="connsiteY21" fmla="*/ 1133271 h 2999232"/>
              <a:gd name="connsiteX22" fmla="*/ 1032789 w 8312795"/>
              <a:gd name="connsiteY22" fmla="*/ 1132673 h 2999232"/>
              <a:gd name="connsiteX23" fmla="*/ 1036071 w 8312795"/>
              <a:gd name="connsiteY23" fmla="*/ 1131119 h 2999232"/>
              <a:gd name="connsiteX24" fmla="*/ 1037287 w 8312795"/>
              <a:gd name="connsiteY24" fmla="*/ 1128131 h 2999232"/>
              <a:gd name="connsiteX25" fmla="*/ 1036679 w 8312795"/>
              <a:gd name="connsiteY25" fmla="*/ 1125741 h 2999232"/>
              <a:gd name="connsiteX26" fmla="*/ 1035099 w 8312795"/>
              <a:gd name="connsiteY26" fmla="*/ 1124187 h 2999232"/>
              <a:gd name="connsiteX27" fmla="*/ 1032424 w 8312795"/>
              <a:gd name="connsiteY27" fmla="*/ 1123589 h 2999232"/>
              <a:gd name="connsiteX28" fmla="*/ 1027075 w 8312795"/>
              <a:gd name="connsiteY28" fmla="*/ 1123589 h 2999232"/>
              <a:gd name="connsiteX29" fmla="*/ 1030844 w 8312795"/>
              <a:gd name="connsiteY29" fmla="*/ 1119286 h 2999232"/>
              <a:gd name="connsiteX30" fmla="*/ 1037044 w 8312795"/>
              <a:gd name="connsiteY30" fmla="*/ 1120840 h 2999232"/>
              <a:gd name="connsiteX31" fmla="*/ 1041785 w 8312795"/>
              <a:gd name="connsiteY31" fmla="*/ 1125382 h 2999232"/>
              <a:gd name="connsiteX32" fmla="*/ 1043487 w 8312795"/>
              <a:gd name="connsiteY32" fmla="*/ 1131598 h 2999232"/>
              <a:gd name="connsiteX33" fmla="*/ 1041785 w 8312795"/>
              <a:gd name="connsiteY33" fmla="*/ 1137813 h 2999232"/>
              <a:gd name="connsiteX34" fmla="*/ 1037165 w 8312795"/>
              <a:gd name="connsiteY34" fmla="*/ 1142355 h 2999232"/>
              <a:gd name="connsiteX35" fmla="*/ 1030844 w 8312795"/>
              <a:gd name="connsiteY35" fmla="*/ 1144028 h 2999232"/>
              <a:gd name="connsiteX36" fmla="*/ 1024522 w 8312795"/>
              <a:gd name="connsiteY36" fmla="*/ 1142355 h 2999232"/>
              <a:gd name="connsiteX37" fmla="*/ 1019903 w 8312795"/>
              <a:gd name="connsiteY37" fmla="*/ 1137813 h 2999232"/>
              <a:gd name="connsiteX38" fmla="*/ 1018201 w 8312795"/>
              <a:gd name="connsiteY38" fmla="*/ 1131598 h 2999232"/>
              <a:gd name="connsiteX39" fmla="*/ 1019903 w 8312795"/>
              <a:gd name="connsiteY39" fmla="*/ 1125382 h 2999232"/>
              <a:gd name="connsiteX40" fmla="*/ 1024644 w 8312795"/>
              <a:gd name="connsiteY40" fmla="*/ 1120840 h 2999232"/>
              <a:gd name="connsiteX41" fmla="*/ 1030844 w 8312795"/>
              <a:gd name="connsiteY41" fmla="*/ 1119286 h 2999232"/>
              <a:gd name="connsiteX42" fmla="*/ 1030844 w 8312795"/>
              <a:gd name="connsiteY42" fmla="*/ 1116298 h 2999232"/>
              <a:gd name="connsiteX43" fmla="*/ 1023064 w 8312795"/>
              <a:gd name="connsiteY43" fmla="*/ 1118330 h 2999232"/>
              <a:gd name="connsiteX44" fmla="*/ 1017229 w 8312795"/>
              <a:gd name="connsiteY44" fmla="*/ 1124067 h 2999232"/>
              <a:gd name="connsiteX45" fmla="*/ 1015162 w 8312795"/>
              <a:gd name="connsiteY45" fmla="*/ 1131837 h 2999232"/>
              <a:gd name="connsiteX46" fmla="*/ 1017229 w 8312795"/>
              <a:gd name="connsiteY46" fmla="*/ 1139486 h 2999232"/>
              <a:gd name="connsiteX47" fmla="*/ 1023064 w 8312795"/>
              <a:gd name="connsiteY47" fmla="*/ 1145224 h 2999232"/>
              <a:gd name="connsiteX48" fmla="*/ 1030844 w 8312795"/>
              <a:gd name="connsiteY48" fmla="*/ 1147256 h 2999232"/>
              <a:gd name="connsiteX49" fmla="*/ 1038624 w 8312795"/>
              <a:gd name="connsiteY49" fmla="*/ 1145224 h 2999232"/>
              <a:gd name="connsiteX50" fmla="*/ 1044459 w 8312795"/>
              <a:gd name="connsiteY50" fmla="*/ 1139486 h 2999232"/>
              <a:gd name="connsiteX51" fmla="*/ 1046526 w 8312795"/>
              <a:gd name="connsiteY51" fmla="*/ 1131837 h 2999232"/>
              <a:gd name="connsiteX52" fmla="*/ 1044459 w 8312795"/>
              <a:gd name="connsiteY52" fmla="*/ 1124067 h 2999232"/>
              <a:gd name="connsiteX53" fmla="*/ 1038624 w 8312795"/>
              <a:gd name="connsiteY53" fmla="*/ 1118330 h 2999232"/>
              <a:gd name="connsiteX54" fmla="*/ 1030844 w 8312795"/>
              <a:gd name="connsiteY54" fmla="*/ 1116298 h 2999232"/>
              <a:gd name="connsiteX55" fmla="*/ 577408 w 8312795"/>
              <a:gd name="connsiteY55" fmla="*/ 905570 h 2999232"/>
              <a:gd name="connsiteX56" fmla="*/ 577287 w 8312795"/>
              <a:gd name="connsiteY56" fmla="*/ 905690 h 2999232"/>
              <a:gd name="connsiteX57" fmla="*/ 454628 w 8312795"/>
              <a:gd name="connsiteY57" fmla="*/ 1026293 h 2999232"/>
              <a:gd name="connsiteX58" fmla="*/ 577408 w 8312795"/>
              <a:gd name="connsiteY58" fmla="*/ 1146777 h 2999232"/>
              <a:gd name="connsiteX59" fmla="*/ 700067 w 8312795"/>
              <a:gd name="connsiteY59" fmla="*/ 1026174 h 2999232"/>
              <a:gd name="connsiteX60" fmla="*/ 577408 w 8312795"/>
              <a:gd name="connsiteY60" fmla="*/ 905570 h 2999232"/>
              <a:gd name="connsiteX61" fmla="*/ 3534223 w 8312795"/>
              <a:gd name="connsiteY61" fmla="*/ 817120 h 2999232"/>
              <a:gd name="connsiteX62" fmla="*/ 3568869 w 8312795"/>
              <a:gd name="connsiteY62" fmla="*/ 824411 h 2999232"/>
              <a:gd name="connsiteX63" fmla="*/ 3596707 w 8312795"/>
              <a:gd name="connsiteY63" fmla="*/ 844850 h 2999232"/>
              <a:gd name="connsiteX64" fmla="*/ 3615307 w 8312795"/>
              <a:gd name="connsiteY64" fmla="*/ 876406 h 2999232"/>
              <a:gd name="connsiteX65" fmla="*/ 3621993 w 8312795"/>
              <a:gd name="connsiteY65" fmla="*/ 916089 h 2999232"/>
              <a:gd name="connsiteX66" fmla="*/ 3615307 w 8312795"/>
              <a:gd name="connsiteY66" fmla="*/ 956489 h 2999232"/>
              <a:gd name="connsiteX67" fmla="*/ 3596707 w 8312795"/>
              <a:gd name="connsiteY67" fmla="*/ 988045 h 2999232"/>
              <a:gd name="connsiteX68" fmla="*/ 3568869 w 8312795"/>
              <a:gd name="connsiteY68" fmla="*/ 1008484 h 2999232"/>
              <a:gd name="connsiteX69" fmla="*/ 3534223 w 8312795"/>
              <a:gd name="connsiteY69" fmla="*/ 1015775 h 2999232"/>
              <a:gd name="connsiteX70" fmla="*/ 3499577 w 8312795"/>
              <a:gd name="connsiteY70" fmla="*/ 1008484 h 2999232"/>
              <a:gd name="connsiteX71" fmla="*/ 3471739 w 8312795"/>
              <a:gd name="connsiteY71" fmla="*/ 988045 h 2999232"/>
              <a:gd name="connsiteX72" fmla="*/ 3453139 w 8312795"/>
              <a:gd name="connsiteY72" fmla="*/ 956848 h 2999232"/>
              <a:gd name="connsiteX73" fmla="*/ 3446453 w 8312795"/>
              <a:gd name="connsiteY73" fmla="*/ 916806 h 2999232"/>
              <a:gd name="connsiteX74" fmla="*/ 3446453 w 8312795"/>
              <a:gd name="connsiteY74" fmla="*/ 916687 h 2999232"/>
              <a:gd name="connsiteX75" fmla="*/ 3453139 w 8312795"/>
              <a:gd name="connsiteY75" fmla="*/ 877003 h 2999232"/>
              <a:gd name="connsiteX76" fmla="*/ 3471739 w 8312795"/>
              <a:gd name="connsiteY76" fmla="*/ 845448 h 2999232"/>
              <a:gd name="connsiteX77" fmla="*/ 3499577 w 8312795"/>
              <a:gd name="connsiteY77" fmla="*/ 824650 h 2999232"/>
              <a:gd name="connsiteX78" fmla="*/ 3534223 w 8312795"/>
              <a:gd name="connsiteY78" fmla="*/ 817120 h 2999232"/>
              <a:gd name="connsiteX79" fmla="*/ 2694576 w 8312795"/>
              <a:gd name="connsiteY79" fmla="*/ 808155 h 2999232"/>
              <a:gd name="connsiteX80" fmla="*/ 2753535 w 8312795"/>
              <a:gd name="connsiteY80" fmla="*/ 830148 h 2999232"/>
              <a:gd name="connsiteX81" fmla="*/ 2781009 w 8312795"/>
              <a:gd name="connsiteY81" fmla="*/ 888717 h 2999232"/>
              <a:gd name="connsiteX82" fmla="*/ 2781130 w 8312795"/>
              <a:gd name="connsiteY82" fmla="*/ 888836 h 2999232"/>
              <a:gd name="connsiteX83" fmla="*/ 2609481 w 8312795"/>
              <a:gd name="connsiteY83" fmla="*/ 888836 h 2999232"/>
              <a:gd name="connsiteX84" fmla="*/ 2617990 w 8312795"/>
              <a:gd name="connsiteY84" fmla="*/ 855966 h 2999232"/>
              <a:gd name="connsiteX85" fmla="*/ 2636590 w 8312795"/>
              <a:gd name="connsiteY85" fmla="*/ 830507 h 2999232"/>
              <a:gd name="connsiteX86" fmla="*/ 2662726 w 8312795"/>
              <a:gd name="connsiteY86" fmla="*/ 814012 h 2999232"/>
              <a:gd name="connsiteX87" fmla="*/ 2694576 w 8312795"/>
              <a:gd name="connsiteY87" fmla="*/ 808155 h 2999232"/>
              <a:gd name="connsiteX88" fmla="*/ 1795121 w 8312795"/>
              <a:gd name="connsiteY88" fmla="*/ 749586 h 2999232"/>
              <a:gd name="connsiteX89" fmla="*/ 1795121 w 8312795"/>
              <a:gd name="connsiteY89" fmla="*/ 1085101 h 2999232"/>
              <a:gd name="connsiteX90" fmla="*/ 1881189 w 8312795"/>
              <a:gd name="connsiteY90" fmla="*/ 1085101 h 2999232"/>
              <a:gd name="connsiteX91" fmla="*/ 1881189 w 8312795"/>
              <a:gd name="connsiteY91" fmla="*/ 749586 h 2999232"/>
              <a:gd name="connsiteX92" fmla="*/ 2369878 w 8312795"/>
              <a:gd name="connsiteY92" fmla="*/ 748271 h 2999232"/>
              <a:gd name="connsiteX93" fmla="*/ 2297911 w 8312795"/>
              <a:gd name="connsiteY93" fmla="*/ 766320 h 2999232"/>
              <a:gd name="connsiteX94" fmla="*/ 2245882 w 8312795"/>
              <a:gd name="connsiteY94" fmla="*/ 818434 h 2999232"/>
              <a:gd name="connsiteX95" fmla="*/ 2216341 w 8312795"/>
              <a:gd name="connsiteY95" fmla="*/ 768591 h 2999232"/>
              <a:gd name="connsiteX96" fmla="*/ 2150818 w 8312795"/>
              <a:gd name="connsiteY96" fmla="*/ 748391 h 2999232"/>
              <a:gd name="connsiteX97" fmla="*/ 2076664 w 8312795"/>
              <a:gd name="connsiteY97" fmla="*/ 765722 h 2999232"/>
              <a:gd name="connsiteX98" fmla="*/ 2025607 w 8312795"/>
              <a:gd name="connsiteY98" fmla="*/ 815326 h 2999232"/>
              <a:gd name="connsiteX99" fmla="*/ 2025607 w 8312795"/>
              <a:gd name="connsiteY99" fmla="*/ 749466 h 2999232"/>
              <a:gd name="connsiteX100" fmla="*/ 1947927 w 8312795"/>
              <a:gd name="connsiteY100" fmla="*/ 749466 h 2999232"/>
              <a:gd name="connsiteX101" fmla="*/ 1947927 w 8312795"/>
              <a:gd name="connsiteY101" fmla="*/ 1085101 h 2999232"/>
              <a:gd name="connsiteX102" fmla="*/ 2033995 w 8312795"/>
              <a:gd name="connsiteY102" fmla="*/ 1085101 h 2999232"/>
              <a:gd name="connsiteX103" fmla="*/ 2033995 w 8312795"/>
              <a:gd name="connsiteY103" fmla="*/ 891824 h 2999232"/>
              <a:gd name="connsiteX104" fmla="*/ 2066453 w 8312795"/>
              <a:gd name="connsiteY104" fmla="*/ 841981 h 2999232"/>
              <a:gd name="connsiteX105" fmla="*/ 2114349 w 8312795"/>
              <a:gd name="connsiteY105" fmla="*/ 823096 h 2999232"/>
              <a:gd name="connsiteX106" fmla="*/ 2152520 w 8312795"/>
              <a:gd name="connsiteY106" fmla="*/ 841383 h 2999232"/>
              <a:gd name="connsiteX107" fmla="*/ 2166379 w 8312795"/>
              <a:gd name="connsiteY107" fmla="*/ 899474 h 2999232"/>
              <a:gd name="connsiteX108" fmla="*/ 2166379 w 8312795"/>
              <a:gd name="connsiteY108" fmla="*/ 1085101 h 2999232"/>
              <a:gd name="connsiteX109" fmla="*/ 2252446 w 8312795"/>
              <a:gd name="connsiteY109" fmla="*/ 1085101 h 2999232"/>
              <a:gd name="connsiteX110" fmla="*/ 2252446 w 8312795"/>
              <a:gd name="connsiteY110" fmla="*/ 892541 h 2999232"/>
              <a:gd name="connsiteX111" fmla="*/ 2284539 w 8312795"/>
              <a:gd name="connsiteY111" fmla="*/ 842340 h 2999232"/>
              <a:gd name="connsiteX112" fmla="*/ 2332679 w 8312795"/>
              <a:gd name="connsiteY112" fmla="*/ 823096 h 2999232"/>
              <a:gd name="connsiteX113" fmla="*/ 2370850 w 8312795"/>
              <a:gd name="connsiteY113" fmla="*/ 841383 h 2999232"/>
              <a:gd name="connsiteX114" fmla="*/ 2384708 w 8312795"/>
              <a:gd name="connsiteY114" fmla="*/ 899474 h 2999232"/>
              <a:gd name="connsiteX115" fmla="*/ 2384708 w 8312795"/>
              <a:gd name="connsiteY115" fmla="*/ 1085101 h 2999232"/>
              <a:gd name="connsiteX116" fmla="*/ 2470776 w 8312795"/>
              <a:gd name="connsiteY116" fmla="*/ 1085101 h 2999232"/>
              <a:gd name="connsiteX117" fmla="*/ 2470655 w 8312795"/>
              <a:gd name="connsiteY117" fmla="*/ 1084862 h 2999232"/>
              <a:gd name="connsiteX118" fmla="*/ 2470655 w 8312795"/>
              <a:gd name="connsiteY118" fmla="*/ 878317 h 2999232"/>
              <a:gd name="connsiteX119" fmla="*/ 2466521 w 8312795"/>
              <a:gd name="connsiteY119" fmla="*/ 830984 h 2999232"/>
              <a:gd name="connsiteX120" fmla="*/ 2451447 w 8312795"/>
              <a:gd name="connsiteY120" fmla="*/ 789269 h 2999232"/>
              <a:gd name="connsiteX121" fmla="*/ 2420570 w 8312795"/>
              <a:gd name="connsiteY121" fmla="*/ 759626 h 2999232"/>
              <a:gd name="connsiteX122" fmla="*/ 2369878 w 8312795"/>
              <a:gd name="connsiteY122" fmla="*/ 748271 h 2999232"/>
              <a:gd name="connsiteX123" fmla="*/ 2695913 w 8312795"/>
              <a:gd name="connsiteY123" fmla="*/ 747913 h 2999232"/>
              <a:gd name="connsiteX124" fmla="*/ 2622975 w 8312795"/>
              <a:gd name="connsiteY124" fmla="*/ 761539 h 2999232"/>
              <a:gd name="connsiteX125" fmla="*/ 2567784 w 8312795"/>
              <a:gd name="connsiteY125" fmla="*/ 798473 h 2999232"/>
              <a:gd name="connsiteX126" fmla="*/ 2533017 w 8312795"/>
              <a:gd name="connsiteY126" fmla="*/ 852500 h 2999232"/>
              <a:gd name="connsiteX127" fmla="*/ 2520982 w 8312795"/>
              <a:gd name="connsiteY127" fmla="*/ 918001 h 2999232"/>
              <a:gd name="connsiteX128" fmla="*/ 2533260 w 8312795"/>
              <a:gd name="connsiteY128" fmla="*/ 981949 h 2999232"/>
              <a:gd name="connsiteX129" fmla="*/ 2568271 w 8312795"/>
              <a:gd name="connsiteY129" fmla="*/ 1035258 h 2999232"/>
              <a:gd name="connsiteX130" fmla="*/ 2623096 w 8312795"/>
              <a:gd name="connsiteY130" fmla="*/ 1071595 h 2999232"/>
              <a:gd name="connsiteX131" fmla="*/ 2695062 w 8312795"/>
              <a:gd name="connsiteY131" fmla="*/ 1084982 h 2999232"/>
              <a:gd name="connsiteX132" fmla="*/ 2695184 w 8312795"/>
              <a:gd name="connsiteY132" fmla="*/ 1084743 h 2999232"/>
              <a:gd name="connsiteX133" fmla="*/ 2790734 w 8312795"/>
              <a:gd name="connsiteY133" fmla="*/ 1060837 h 2999232"/>
              <a:gd name="connsiteX134" fmla="*/ 2849085 w 8312795"/>
              <a:gd name="connsiteY134" fmla="*/ 999758 h 2999232"/>
              <a:gd name="connsiteX135" fmla="*/ 2776511 w 8312795"/>
              <a:gd name="connsiteY135" fmla="*/ 979917 h 2999232"/>
              <a:gd name="connsiteX136" fmla="*/ 2745876 w 8312795"/>
              <a:gd name="connsiteY136" fmla="*/ 1011831 h 2999232"/>
              <a:gd name="connsiteX137" fmla="*/ 2698223 w 8312795"/>
              <a:gd name="connsiteY137" fmla="*/ 1023903 h 2999232"/>
              <a:gd name="connsiteX138" fmla="*/ 2666738 w 8312795"/>
              <a:gd name="connsiteY138" fmla="*/ 1018285 h 2999232"/>
              <a:gd name="connsiteX139" fmla="*/ 2639629 w 8312795"/>
              <a:gd name="connsiteY139" fmla="*/ 1002149 h 2999232"/>
              <a:gd name="connsiteX140" fmla="*/ 2620057 w 8312795"/>
              <a:gd name="connsiteY140" fmla="*/ 976690 h 2999232"/>
              <a:gd name="connsiteX141" fmla="*/ 2610575 w 8312795"/>
              <a:gd name="connsiteY141" fmla="*/ 942624 h 2999232"/>
              <a:gd name="connsiteX142" fmla="*/ 2866104 w 8312795"/>
              <a:gd name="connsiteY142" fmla="*/ 942624 h 2999232"/>
              <a:gd name="connsiteX143" fmla="*/ 2867684 w 8312795"/>
              <a:gd name="connsiteY143" fmla="*/ 930193 h 2999232"/>
              <a:gd name="connsiteX144" fmla="*/ 2868049 w 8312795"/>
              <a:gd name="connsiteY144" fmla="*/ 914655 h 2999232"/>
              <a:gd name="connsiteX145" fmla="*/ 2856379 w 8312795"/>
              <a:gd name="connsiteY145" fmla="*/ 851424 h 2999232"/>
              <a:gd name="connsiteX146" fmla="*/ 2822340 w 8312795"/>
              <a:gd name="connsiteY146" fmla="*/ 798115 h 2999232"/>
              <a:gd name="connsiteX147" fmla="*/ 2768123 w 8312795"/>
              <a:gd name="connsiteY147" fmla="*/ 761539 h 2999232"/>
              <a:gd name="connsiteX148" fmla="*/ 2695913 w 8312795"/>
              <a:gd name="connsiteY148" fmla="*/ 747913 h 2999232"/>
              <a:gd name="connsiteX149" fmla="*/ 3534223 w 8312795"/>
              <a:gd name="connsiteY149" fmla="*/ 745403 h 2999232"/>
              <a:gd name="connsiteX150" fmla="*/ 3460555 w 8312795"/>
              <a:gd name="connsiteY150" fmla="*/ 759268 h 2999232"/>
              <a:gd name="connsiteX151" fmla="*/ 3405121 w 8312795"/>
              <a:gd name="connsiteY151" fmla="*/ 796800 h 2999232"/>
              <a:gd name="connsiteX152" fmla="*/ 3370232 w 8312795"/>
              <a:gd name="connsiteY152" fmla="*/ 851305 h 2999232"/>
              <a:gd name="connsiteX153" fmla="*/ 3358076 w 8312795"/>
              <a:gd name="connsiteY153" fmla="*/ 916806 h 2999232"/>
              <a:gd name="connsiteX154" fmla="*/ 3370232 w 8312795"/>
              <a:gd name="connsiteY154" fmla="*/ 981710 h 2999232"/>
              <a:gd name="connsiteX155" fmla="*/ 3405121 w 8312795"/>
              <a:gd name="connsiteY155" fmla="*/ 1036215 h 2999232"/>
              <a:gd name="connsiteX156" fmla="*/ 3460555 w 8312795"/>
              <a:gd name="connsiteY156" fmla="*/ 1073746 h 2999232"/>
              <a:gd name="connsiteX157" fmla="*/ 3534223 w 8312795"/>
              <a:gd name="connsiteY157" fmla="*/ 1087612 h 2999232"/>
              <a:gd name="connsiteX158" fmla="*/ 3607891 w 8312795"/>
              <a:gd name="connsiteY158" fmla="*/ 1073746 h 2999232"/>
              <a:gd name="connsiteX159" fmla="*/ 3663081 w 8312795"/>
              <a:gd name="connsiteY159" fmla="*/ 1036215 h 2999232"/>
              <a:gd name="connsiteX160" fmla="*/ 3697727 w 8312795"/>
              <a:gd name="connsiteY160" fmla="*/ 981710 h 2999232"/>
              <a:gd name="connsiteX161" fmla="*/ 3709884 w 8312795"/>
              <a:gd name="connsiteY161" fmla="*/ 916806 h 2999232"/>
              <a:gd name="connsiteX162" fmla="*/ 3697727 w 8312795"/>
              <a:gd name="connsiteY162" fmla="*/ 851305 h 2999232"/>
              <a:gd name="connsiteX163" fmla="*/ 3662838 w 8312795"/>
              <a:gd name="connsiteY163" fmla="*/ 796800 h 2999232"/>
              <a:gd name="connsiteX164" fmla="*/ 3607648 w 8312795"/>
              <a:gd name="connsiteY164" fmla="*/ 759268 h 2999232"/>
              <a:gd name="connsiteX165" fmla="*/ 3534223 w 8312795"/>
              <a:gd name="connsiteY165" fmla="*/ 745403 h 2999232"/>
              <a:gd name="connsiteX166" fmla="*/ 3142420 w 8312795"/>
              <a:gd name="connsiteY166" fmla="*/ 630417 h 2999232"/>
              <a:gd name="connsiteX167" fmla="*/ 3047356 w 8312795"/>
              <a:gd name="connsiteY167" fmla="*/ 650020 h 2999232"/>
              <a:gd name="connsiteX168" fmla="*/ 2976727 w 8312795"/>
              <a:gd name="connsiteY168" fmla="*/ 701178 h 2999232"/>
              <a:gd name="connsiteX169" fmla="*/ 2932721 w 8312795"/>
              <a:gd name="connsiteY169" fmla="*/ 772894 h 2999232"/>
              <a:gd name="connsiteX170" fmla="*/ 2917659 w 8312795"/>
              <a:gd name="connsiteY170" fmla="*/ 853993 h 2999232"/>
              <a:gd name="connsiteX171" fmla="*/ 2917647 w 8312795"/>
              <a:gd name="connsiteY171" fmla="*/ 853934 h 2999232"/>
              <a:gd name="connsiteX172" fmla="*/ 2917647 w 8312795"/>
              <a:gd name="connsiteY172" fmla="*/ 854054 h 2999232"/>
              <a:gd name="connsiteX173" fmla="*/ 2917659 w 8312795"/>
              <a:gd name="connsiteY173" fmla="*/ 853993 h 2999232"/>
              <a:gd name="connsiteX174" fmla="*/ 2934058 w 8312795"/>
              <a:gd name="connsiteY174" fmla="*/ 938202 h 2999232"/>
              <a:gd name="connsiteX175" fmla="*/ 2979645 w 8312795"/>
              <a:gd name="connsiteY175" fmla="*/ 1012070 h 2999232"/>
              <a:gd name="connsiteX176" fmla="*/ 3049301 w 8312795"/>
              <a:gd name="connsiteY176" fmla="*/ 1064782 h 2999232"/>
              <a:gd name="connsiteX177" fmla="*/ 3138530 w 8312795"/>
              <a:gd name="connsiteY177" fmla="*/ 1084982 h 2999232"/>
              <a:gd name="connsiteX178" fmla="*/ 3195057 w 8312795"/>
              <a:gd name="connsiteY178" fmla="*/ 1078049 h 2999232"/>
              <a:gd name="connsiteX179" fmla="*/ 3249275 w 8312795"/>
              <a:gd name="connsiteY179" fmla="*/ 1057849 h 2999232"/>
              <a:gd name="connsiteX180" fmla="*/ 3294862 w 8312795"/>
              <a:gd name="connsiteY180" fmla="*/ 1025337 h 2999232"/>
              <a:gd name="connsiteX181" fmla="*/ 3325982 w 8312795"/>
              <a:gd name="connsiteY181" fmla="*/ 980873 h 2999232"/>
              <a:gd name="connsiteX182" fmla="*/ 3253408 w 8312795"/>
              <a:gd name="connsiteY182" fmla="*/ 939875 h 2999232"/>
              <a:gd name="connsiteX183" fmla="*/ 3232864 w 8312795"/>
              <a:gd name="connsiteY183" fmla="*/ 971191 h 2999232"/>
              <a:gd name="connsiteX184" fmla="*/ 3204904 w 8312795"/>
              <a:gd name="connsiteY184" fmla="*/ 992348 h 2999232"/>
              <a:gd name="connsiteX185" fmla="*/ 3173176 w 8312795"/>
              <a:gd name="connsiteY185" fmla="*/ 1004300 h 2999232"/>
              <a:gd name="connsiteX186" fmla="*/ 3141083 w 8312795"/>
              <a:gd name="connsiteY186" fmla="*/ 1008125 h 2999232"/>
              <a:gd name="connsiteX187" fmla="*/ 3086865 w 8312795"/>
              <a:gd name="connsiteY187" fmla="*/ 995455 h 2999232"/>
              <a:gd name="connsiteX188" fmla="*/ 3044439 w 8312795"/>
              <a:gd name="connsiteY188" fmla="*/ 961988 h 2999232"/>
              <a:gd name="connsiteX189" fmla="*/ 3017087 w 8312795"/>
              <a:gd name="connsiteY189" fmla="*/ 913698 h 2999232"/>
              <a:gd name="connsiteX190" fmla="*/ 3007483 w 8312795"/>
              <a:gd name="connsiteY190" fmla="*/ 856564 h 2999232"/>
              <a:gd name="connsiteX191" fmla="*/ 3015871 w 8312795"/>
              <a:gd name="connsiteY191" fmla="*/ 803135 h 2999232"/>
              <a:gd name="connsiteX192" fmla="*/ 3040670 w 8312795"/>
              <a:gd name="connsiteY192" fmla="*/ 755204 h 2999232"/>
              <a:gd name="connsiteX193" fmla="*/ 3081759 w 8312795"/>
              <a:gd name="connsiteY193" fmla="*/ 720780 h 2999232"/>
              <a:gd name="connsiteX194" fmla="*/ 3139867 w 8312795"/>
              <a:gd name="connsiteY194" fmla="*/ 707513 h 2999232"/>
              <a:gd name="connsiteX195" fmla="*/ 3171352 w 8312795"/>
              <a:gd name="connsiteY195" fmla="*/ 710979 h 2999232"/>
              <a:gd name="connsiteX196" fmla="*/ 3202230 w 8312795"/>
              <a:gd name="connsiteY196" fmla="*/ 721975 h 2999232"/>
              <a:gd name="connsiteX197" fmla="*/ 3229825 w 8312795"/>
              <a:gd name="connsiteY197" fmla="*/ 742534 h 2999232"/>
              <a:gd name="connsiteX198" fmla="*/ 3251706 w 8312795"/>
              <a:gd name="connsiteY198" fmla="*/ 774448 h 2999232"/>
              <a:gd name="connsiteX199" fmla="*/ 3319783 w 8312795"/>
              <a:gd name="connsiteY199" fmla="*/ 728310 h 2999232"/>
              <a:gd name="connsiteX200" fmla="*/ 3251342 w 8312795"/>
              <a:gd name="connsiteY200" fmla="*/ 657550 h 2999232"/>
              <a:gd name="connsiteX201" fmla="*/ 3142420 w 8312795"/>
              <a:gd name="connsiteY201" fmla="*/ 630417 h 2999232"/>
              <a:gd name="connsiteX202" fmla="*/ 1371711 w 8312795"/>
              <a:gd name="connsiteY202" fmla="*/ 630417 h 2999232"/>
              <a:gd name="connsiteX203" fmla="*/ 1276647 w 8312795"/>
              <a:gd name="connsiteY203" fmla="*/ 650020 h 2999232"/>
              <a:gd name="connsiteX204" fmla="*/ 1206018 w 8312795"/>
              <a:gd name="connsiteY204" fmla="*/ 701178 h 2999232"/>
              <a:gd name="connsiteX205" fmla="*/ 1162012 w 8312795"/>
              <a:gd name="connsiteY205" fmla="*/ 772894 h 2999232"/>
              <a:gd name="connsiteX206" fmla="*/ 1146950 w 8312795"/>
              <a:gd name="connsiteY206" fmla="*/ 853993 h 2999232"/>
              <a:gd name="connsiteX207" fmla="*/ 1146938 w 8312795"/>
              <a:gd name="connsiteY207" fmla="*/ 853934 h 2999232"/>
              <a:gd name="connsiteX208" fmla="*/ 1146938 w 8312795"/>
              <a:gd name="connsiteY208" fmla="*/ 854054 h 2999232"/>
              <a:gd name="connsiteX209" fmla="*/ 1146950 w 8312795"/>
              <a:gd name="connsiteY209" fmla="*/ 853993 h 2999232"/>
              <a:gd name="connsiteX210" fmla="*/ 1163349 w 8312795"/>
              <a:gd name="connsiteY210" fmla="*/ 938202 h 2999232"/>
              <a:gd name="connsiteX211" fmla="*/ 1208936 w 8312795"/>
              <a:gd name="connsiteY211" fmla="*/ 1012070 h 2999232"/>
              <a:gd name="connsiteX212" fmla="*/ 1278592 w 8312795"/>
              <a:gd name="connsiteY212" fmla="*/ 1064782 h 2999232"/>
              <a:gd name="connsiteX213" fmla="*/ 1367821 w 8312795"/>
              <a:gd name="connsiteY213" fmla="*/ 1084982 h 2999232"/>
              <a:gd name="connsiteX214" fmla="*/ 1424348 w 8312795"/>
              <a:gd name="connsiteY214" fmla="*/ 1078049 h 2999232"/>
              <a:gd name="connsiteX215" fmla="*/ 1478688 w 8312795"/>
              <a:gd name="connsiteY215" fmla="*/ 1057849 h 2999232"/>
              <a:gd name="connsiteX216" fmla="*/ 1524274 w 8312795"/>
              <a:gd name="connsiteY216" fmla="*/ 1025337 h 2999232"/>
              <a:gd name="connsiteX217" fmla="*/ 1555395 w 8312795"/>
              <a:gd name="connsiteY217" fmla="*/ 980873 h 2999232"/>
              <a:gd name="connsiteX218" fmla="*/ 1482821 w 8312795"/>
              <a:gd name="connsiteY218" fmla="*/ 939875 h 2999232"/>
              <a:gd name="connsiteX219" fmla="*/ 1462276 w 8312795"/>
              <a:gd name="connsiteY219" fmla="*/ 971191 h 2999232"/>
              <a:gd name="connsiteX220" fmla="*/ 1434317 w 8312795"/>
              <a:gd name="connsiteY220" fmla="*/ 992348 h 2999232"/>
              <a:gd name="connsiteX221" fmla="*/ 1402588 w 8312795"/>
              <a:gd name="connsiteY221" fmla="*/ 1004300 h 2999232"/>
              <a:gd name="connsiteX222" fmla="*/ 1370495 w 8312795"/>
              <a:gd name="connsiteY222" fmla="*/ 1008125 h 2999232"/>
              <a:gd name="connsiteX223" fmla="*/ 1316277 w 8312795"/>
              <a:gd name="connsiteY223" fmla="*/ 995455 h 2999232"/>
              <a:gd name="connsiteX224" fmla="*/ 1273851 w 8312795"/>
              <a:gd name="connsiteY224" fmla="*/ 961988 h 2999232"/>
              <a:gd name="connsiteX225" fmla="*/ 1246499 w 8312795"/>
              <a:gd name="connsiteY225" fmla="*/ 913698 h 2999232"/>
              <a:gd name="connsiteX226" fmla="*/ 1236896 w 8312795"/>
              <a:gd name="connsiteY226" fmla="*/ 856564 h 2999232"/>
              <a:gd name="connsiteX227" fmla="*/ 1245284 w 8312795"/>
              <a:gd name="connsiteY227" fmla="*/ 803135 h 2999232"/>
              <a:gd name="connsiteX228" fmla="*/ 1269961 w 8312795"/>
              <a:gd name="connsiteY228" fmla="*/ 755204 h 2999232"/>
              <a:gd name="connsiteX229" fmla="*/ 1311050 w 8312795"/>
              <a:gd name="connsiteY229" fmla="*/ 720780 h 2999232"/>
              <a:gd name="connsiteX230" fmla="*/ 1369158 w 8312795"/>
              <a:gd name="connsiteY230" fmla="*/ 707513 h 2999232"/>
              <a:gd name="connsiteX231" fmla="*/ 1400643 w 8312795"/>
              <a:gd name="connsiteY231" fmla="*/ 710979 h 2999232"/>
              <a:gd name="connsiteX232" fmla="*/ 1431521 w 8312795"/>
              <a:gd name="connsiteY232" fmla="*/ 721975 h 2999232"/>
              <a:gd name="connsiteX233" fmla="*/ 1459116 w 8312795"/>
              <a:gd name="connsiteY233" fmla="*/ 742534 h 2999232"/>
              <a:gd name="connsiteX234" fmla="*/ 1480997 w 8312795"/>
              <a:gd name="connsiteY234" fmla="*/ 774448 h 2999232"/>
              <a:gd name="connsiteX235" fmla="*/ 1549074 w 8312795"/>
              <a:gd name="connsiteY235" fmla="*/ 728310 h 2999232"/>
              <a:gd name="connsiteX236" fmla="*/ 1480633 w 8312795"/>
              <a:gd name="connsiteY236" fmla="*/ 657550 h 2999232"/>
              <a:gd name="connsiteX237" fmla="*/ 1371711 w 8312795"/>
              <a:gd name="connsiteY237" fmla="*/ 630417 h 2999232"/>
              <a:gd name="connsiteX238" fmla="*/ 1795121 w 8312795"/>
              <a:gd name="connsiteY238" fmla="*/ 624082 h 2999232"/>
              <a:gd name="connsiteX239" fmla="*/ 1795121 w 8312795"/>
              <a:gd name="connsiteY239" fmla="*/ 708110 h 2999232"/>
              <a:gd name="connsiteX240" fmla="*/ 1881189 w 8312795"/>
              <a:gd name="connsiteY240" fmla="*/ 708110 h 2999232"/>
              <a:gd name="connsiteX241" fmla="*/ 1881189 w 8312795"/>
              <a:gd name="connsiteY241" fmla="*/ 624082 h 2999232"/>
              <a:gd name="connsiteX242" fmla="*/ 1598186 w 8312795"/>
              <a:gd name="connsiteY242" fmla="*/ 619181 h 2999232"/>
              <a:gd name="connsiteX243" fmla="*/ 1598186 w 8312795"/>
              <a:gd name="connsiteY243" fmla="*/ 1003822 h 2999232"/>
              <a:gd name="connsiteX244" fmla="*/ 1620311 w 8312795"/>
              <a:gd name="connsiteY244" fmla="*/ 1064184 h 2999232"/>
              <a:gd name="connsiteX245" fmla="*/ 1621162 w 8312795"/>
              <a:gd name="connsiteY245" fmla="*/ 1065020 h 2999232"/>
              <a:gd name="connsiteX246" fmla="*/ 1634169 w 8312795"/>
              <a:gd name="connsiteY246" fmla="*/ 1074343 h 2999232"/>
              <a:gd name="connsiteX247" fmla="*/ 1644502 w 8312795"/>
              <a:gd name="connsiteY247" fmla="*/ 1079005 h 2999232"/>
              <a:gd name="connsiteX248" fmla="*/ 1696532 w 8312795"/>
              <a:gd name="connsiteY248" fmla="*/ 1084981 h 2999232"/>
              <a:gd name="connsiteX249" fmla="*/ 1701151 w 8312795"/>
              <a:gd name="connsiteY249" fmla="*/ 1084742 h 2999232"/>
              <a:gd name="connsiteX250" fmla="*/ 1706014 w 8312795"/>
              <a:gd name="connsiteY250" fmla="*/ 1084384 h 2999232"/>
              <a:gd name="connsiteX251" fmla="*/ 1710755 w 8312795"/>
              <a:gd name="connsiteY251" fmla="*/ 1083906 h 2999232"/>
              <a:gd name="connsiteX252" fmla="*/ 1715496 w 8312795"/>
              <a:gd name="connsiteY252" fmla="*/ 1083308 h 2999232"/>
              <a:gd name="connsiteX253" fmla="*/ 1720237 w 8312795"/>
              <a:gd name="connsiteY253" fmla="*/ 1082591 h 2999232"/>
              <a:gd name="connsiteX254" fmla="*/ 1725099 w 8312795"/>
              <a:gd name="connsiteY254" fmla="*/ 1081635 h 2999232"/>
              <a:gd name="connsiteX255" fmla="*/ 1727652 w 8312795"/>
              <a:gd name="connsiteY255" fmla="*/ 1081037 h 2999232"/>
              <a:gd name="connsiteX256" fmla="*/ 1733001 w 8312795"/>
              <a:gd name="connsiteY256" fmla="*/ 1079483 h 2999232"/>
              <a:gd name="connsiteX257" fmla="*/ 1734946 w 8312795"/>
              <a:gd name="connsiteY257" fmla="*/ 1078886 h 2999232"/>
              <a:gd name="connsiteX258" fmla="*/ 1723154 w 8312795"/>
              <a:gd name="connsiteY258" fmla="*/ 1005137 h 2999232"/>
              <a:gd name="connsiteX259" fmla="*/ 1695194 w 8312795"/>
              <a:gd name="connsiteY259" fmla="*/ 1006691 h 2999232"/>
              <a:gd name="connsiteX260" fmla="*/ 1695073 w 8312795"/>
              <a:gd name="connsiteY260" fmla="*/ 1006691 h 2999232"/>
              <a:gd name="connsiteX261" fmla="*/ 1684254 w 8312795"/>
              <a:gd name="connsiteY261" fmla="*/ 976689 h 2999232"/>
              <a:gd name="connsiteX262" fmla="*/ 1684254 w 8312795"/>
              <a:gd name="connsiteY262" fmla="*/ 619181 h 2999232"/>
              <a:gd name="connsiteX263" fmla="*/ 576725 w 8312795"/>
              <a:gd name="connsiteY263" fmla="*/ 564647 h 2999232"/>
              <a:gd name="connsiteX264" fmla="*/ 490003 w 8312795"/>
              <a:gd name="connsiteY264" fmla="*/ 600057 h 2999232"/>
              <a:gd name="connsiteX265" fmla="*/ 490003 w 8312795"/>
              <a:gd name="connsiteY265" fmla="*/ 770624 h 2999232"/>
              <a:gd name="connsiteX266" fmla="*/ 663476 w 8312795"/>
              <a:gd name="connsiteY266" fmla="*/ 770624 h 2999232"/>
              <a:gd name="connsiteX267" fmla="*/ 837070 w 8312795"/>
              <a:gd name="connsiteY267" fmla="*/ 770624 h 2999232"/>
              <a:gd name="connsiteX268" fmla="*/ 837070 w 8312795"/>
              <a:gd name="connsiteY268" fmla="*/ 941309 h 2999232"/>
              <a:gd name="connsiteX269" fmla="*/ 837070 w 8312795"/>
              <a:gd name="connsiteY269" fmla="*/ 1111876 h 2999232"/>
              <a:gd name="connsiteX270" fmla="*/ 1010664 w 8312795"/>
              <a:gd name="connsiteY270" fmla="*/ 1111876 h 2999232"/>
              <a:gd name="connsiteX271" fmla="*/ 1010664 w 8312795"/>
              <a:gd name="connsiteY271" fmla="*/ 941309 h 2999232"/>
              <a:gd name="connsiteX272" fmla="*/ 1010664 w 8312795"/>
              <a:gd name="connsiteY272" fmla="*/ 770624 h 2999232"/>
              <a:gd name="connsiteX273" fmla="*/ 1010543 w 8312795"/>
              <a:gd name="connsiteY273" fmla="*/ 770624 h 2999232"/>
              <a:gd name="connsiteX274" fmla="*/ 1010543 w 8312795"/>
              <a:gd name="connsiteY274" fmla="*/ 600057 h 2999232"/>
              <a:gd name="connsiteX275" fmla="*/ 836949 w 8312795"/>
              <a:gd name="connsiteY275" fmla="*/ 600057 h 2999232"/>
              <a:gd name="connsiteX276" fmla="*/ 663355 w 8312795"/>
              <a:gd name="connsiteY276" fmla="*/ 600057 h 2999232"/>
              <a:gd name="connsiteX277" fmla="*/ 576725 w 8312795"/>
              <a:gd name="connsiteY277" fmla="*/ 564647 h 2999232"/>
              <a:gd name="connsiteX278" fmla="*/ 0 w 8312795"/>
              <a:gd name="connsiteY278" fmla="*/ 0 h 2999232"/>
              <a:gd name="connsiteX279" fmla="*/ 7880428 w 8312795"/>
              <a:gd name="connsiteY279" fmla="*/ 0 h 2999232"/>
              <a:gd name="connsiteX280" fmla="*/ 8312795 w 8312795"/>
              <a:gd name="connsiteY280" fmla="*/ 275419 h 2999232"/>
              <a:gd name="connsiteX281" fmla="*/ 8312795 w 8312795"/>
              <a:gd name="connsiteY281" fmla="*/ 2723813 h 2999232"/>
              <a:gd name="connsiteX282" fmla="*/ 7880428 w 8312795"/>
              <a:gd name="connsiteY282" fmla="*/ 2999232 h 2999232"/>
              <a:gd name="connsiteX283" fmla="*/ 0 w 8312795"/>
              <a:gd name="connsiteY283" fmla="*/ 2999232 h 299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8312795" h="2999232">
                <a:moveTo>
                  <a:pt x="1027075" y="1126219"/>
                </a:moveTo>
                <a:lnTo>
                  <a:pt x="1028413" y="1126219"/>
                </a:lnTo>
                <a:cubicBezTo>
                  <a:pt x="1030358" y="1126219"/>
                  <a:pt x="1031573" y="1126338"/>
                  <a:pt x="1032059" y="1126458"/>
                </a:cubicBezTo>
                <a:cubicBezTo>
                  <a:pt x="1032546" y="1126577"/>
                  <a:pt x="1032910" y="1126816"/>
                  <a:pt x="1033154" y="1127175"/>
                </a:cubicBezTo>
                <a:cubicBezTo>
                  <a:pt x="1033397" y="1127534"/>
                  <a:pt x="1033518" y="1128012"/>
                  <a:pt x="1033518" y="1128370"/>
                </a:cubicBezTo>
                <a:cubicBezTo>
                  <a:pt x="1033518" y="1128729"/>
                  <a:pt x="1033397" y="1129207"/>
                  <a:pt x="1033154" y="1129566"/>
                </a:cubicBezTo>
                <a:cubicBezTo>
                  <a:pt x="1032910" y="1130044"/>
                  <a:pt x="1032546" y="1130283"/>
                  <a:pt x="1032059" y="1130402"/>
                </a:cubicBezTo>
                <a:cubicBezTo>
                  <a:pt x="1031573" y="1130641"/>
                  <a:pt x="1030358" y="1130641"/>
                  <a:pt x="1028413" y="1130641"/>
                </a:cubicBezTo>
                <a:lnTo>
                  <a:pt x="1027075" y="1130641"/>
                </a:lnTo>
                <a:close/>
                <a:moveTo>
                  <a:pt x="1023672" y="1123589"/>
                </a:moveTo>
                <a:lnTo>
                  <a:pt x="1023672" y="1139965"/>
                </a:lnTo>
                <a:lnTo>
                  <a:pt x="1023793" y="1139965"/>
                </a:lnTo>
                <a:lnTo>
                  <a:pt x="1027197" y="1139965"/>
                </a:lnTo>
                <a:lnTo>
                  <a:pt x="1027197" y="1133271"/>
                </a:lnTo>
                <a:lnTo>
                  <a:pt x="1028048" y="1133271"/>
                </a:lnTo>
                <a:cubicBezTo>
                  <a:pt x="1028899" y="1133271"/>
                  <a:pt x="1029750" y="1133510"/>
                  <a:pt x="1030358" y="1133988"/>
                </a:cubicBezTo>
                <a:cubicBezTo>
                  <a:pt x="1030965" y="1134466"/>
                  <a:pt x="1031695" y="1135542"/>
                  <a:pt x="1032667" y="1137335"/>
                </a:cubicBezTo>
                <a:lnTo>
                  <a:pt x="1034126" y="1139965"/>
                </a:lnTo>
                <a:lnTo>
                  <a:pt x="1038259" y="1139965"/>
                </a:lnTo>
                <a:lnTo>
                  <a:pt x="1036314" y="1136618"/>
                </a:lnTo>
                <a:cubicBezTo>
                  <a:pt x="1035706" y="1135422"/>
                  <a:pt x="1035220" y="1134705"/>
                  <a:pt x="1035099" y="1134586"/>
                </a:cubicBezTo>
                <a:cubicBezTo>
                  <a:pt x="1034612" y="1133869"/>
                  <a:pt x="1034248" y="1133510"/>
                  <a:pt x="1034004" y="1133271"/>
                </a:cubicBezTo>
                <a:cubicBezTo>
                  <a:pt x="1033640" y="1133032"/>
                  <a:pt x="1033275" y="1132912"/>
                  <a:pt x="1032789" y="1132673"/>
                </a:cubicBezTo>
                <a:cubicBezTo>
                  <a:pt x="1034248" y="1132434"/>
                  <a:pt x="1035342" y="1131956"/>
                  <a:pt x="1036071" y="1131119"/>
                </a:cubicBezTo>
                <a:cubicBezTo>
                  <a:pt x="1036922" y="1130283"/>
                  <a:pt x="1037287" y="1129327"/>
                  <a:pt x="1037287" y="1128131"/>
                </a:cubicBezTo>
                <a:cubicBezTo>
                  <a:pt x="1037287" y="1127175"/>
                  <a:pt x="1037044" y="1126458"/>
                  <a:pt x="1036679" y="1125741"/>
                </a:cubicBezTo>
                <a:cubicBezTo>
                  <a:pt x="1036193" y="1125024"/>
                  <a:pt x="1035706" y="1124545"/>
                  <a:pt x="1035099" y="1124187"/>
                </a:cubicBezTo>
                <a:cubicBezTo>
                  <a:pt x="1034369" y="1123948"/>
                  <a:pt x="1033518" y="1123589"/>
                  <a:pt x="1032424" y="1123589"/>
                </a:cubicBezTo>
                <a:cubicBezTo>
                  <a:pt x="1032059" y="1123589"/>
                  <a:pt x="1030236" y="1123589"/>
                  <a:pt x="1027075" y="1123589"/>
                </a:cubicBezTo>
                <a:close/>
                <a:moveTo>
                  <a:pt x="1030844" y="1119286"/>
                </a:moveTo>
                <a:cubicBezTo>
                  <a:pt x="1033032" y="1119286"/>
                  <a:pt x="1035099" y="1119764"/>
                  <a:pt x="1037044" y="1120840"/>
                </a:cubicBezTo>
                <a:cubicBezTo>
                  <a:pt x="1039110" y="1121916"/>
                  <a:pt x="1040691" y="1123350"/>
                  <a:pt x="1041785" y="1125382"/>
                </a:cubicBezTo>
                <a:cubicBezTo>
                  <a:pt x="1042879" y="1127295"/>
                  <a:pt x="1043487" y="1129446"/>
                  <a:pt x="1043487" y="1131598"/>
                </a:cubicBezTo>
                <a:cubicBezTo>
                  <a:pt x="1043487" y="1133749"/>
                  <a:pt x="1042879" y="1135901"/>
                  <a:pt x="1041785" y="1137813"/>
                </a:cubicBezTo>
                <a:cubicBezTo>
                  <a:pt x="1040691" y="1139725"/>
                  <a:pt x="1039110" y="1141279"/>
                  <a:pt x="1037165" y="1142355"/>
                </a:cubicBezTo>
                <a:cubicBezTo>
                  <a:pt x="1035099" y="1143431"/>
                  <a:pt x="1033032" y="1144028"/>
                  <a:pt x="1030844" y="1144028"/>
                </a:cubicBezTo>
                <a:cubicBezTo>
                  <a:pt x="1028656" y="1144028"/>
                  <a:pt x="1026468" y="1143431"/>
                  <a:pt x="1024522" y="1142355"/>
                </a:cubicBezTo>
                <a:cubicBezTo>
                  <a:pt x="1022577" y="1141279"/>
                  <a:pt x="1020997" y="1139725"/>
                  <a:pt x="1019903" y="1137813"/>
                </a:cubicBezTo>
                <a:cubicBezTo>
                  <a:pt x="1018809" y="1135781"/>
                  <a:pt x="1018201" y="1133749"/>
                  <a:pt x="1018201" y="1131598"/>
                </a:cubicBezTo>
                <a:cubicBezTo>
                  <a:pt x="1018201" y="1129446"/>
                  <a:pt x="1018809" y="1127414"/>
                  <a:pt x="1019903" y="1125382"/>
                </a:cubicBezTo>
                <a:cubicBezTo>
                  <a:pt x="1021119" y="1123470"/>
                  <a:pt x="1022699" y="1121916"/>
                  <a:pt x="1024644" y="1120840"/>
                </a:cubicBezTo>
                <a:cubicBezTo>
                  <a:pt x="1026589" y="1119764"/>
                  <a:pt x="1028656" y="1119286"/>
                  <a:pt x="1030844" y="1119286"/>
                </a:cubicBezTo>
                <a:close/>
                <a:moveTo>
                  <a:pt x="1030844" y="1116298"/>
                </a:moveTo>
                <a:cubicBezTo>
                  <a:pt x="1028169" y="1116298"/>
                  <a:pt x="1025495" y="1117015"/>
                  <a:pt x="1023064" y="1118330"/>
                </a:cubicBezTo>
                <a:cubicBezTo>
                  <a:pt x="1020632" y="1119764"/>
                  <a:pt x="1018687" y="1121557"/>
                  <a:pt x="1017229" y="1124067"/>
                </a:cubicBezTo>
                <a:cubicBezTo>
                  <a:pt x="1015891" y="1126577"/>
                  <a:pt x="1015162" y="1129207"/>
                  <a:pt x="1015162" y="1131837"/>
                </a:cubicBezTo>
                <a:cubicBezTo>
                  <a:pt x="1015162" y="1134466"/>
                  <a:pt x="1015891" y="1137096"/>
                  <a:pt x="1017229" y="1139486"/>
                </a:cubicBezTo>
                <a:cubicBezTo>
                  <a:pt x="1018687" y="1141996"/>
                  <a:pt x="1020632" y="1143909"/>
                  <a:pt x="1023064" y="1145224"/>
                </a:cubicBezTo>
                <a:cubicBezTo>
                  <a:pt x="1025495" y="1146539"/>
                  <a:pt x="1028169" y="1147256"/>
                  <a:pt x="1030844" y="1147256"/>
                </a:cubicBezTo>
                <a:cubicBezTo>
                  <a:pt x="1033518" y="1147256"/>
                  <a:pt x="1036193" y="1146539"/>
                  <a:pt x="1038624" y="1145224"/>
                </a:cubicBezTo>
                <a:cubicBezTo>
                  <a:pt x="1041177" y="1143789"/>
                  <a:pt x="1043122" y="1141877"/>
                  <a:pt x="1044459" y="1139486"/>
                </a:cubicBezTo>
                <a:cubicBezTo>
                  <a:pt x="1045796" y="1137096"/>
                  <a:pt x="1046526" y="1134586"/>
                  <a:pt x="1046526" y="1131837"/>
                </a:cubicBezTo>
                <a:cubicBezTo>
                  <a:pt x="1046526" y="1129087"/>
                  <a:pt x="1045918" y="1126577"/>
                  <a:pt x="1044459" y="1124067"/>
                </a:cubicBezTo>
                <a:cubicBezTo>
                  <a:pt x="1043000" y="1121557"/>
                  <a:pt x="1041055" y="1119645"/>
                  <a:pt x="1038624" y="1118330"/>
                </a:cubicBezTo>
                <a:cubicBezTo>
                  <a:pt x="1036071" y="1117015"/>
                  <a:pt x="1033518" y="1116298"/>
                  <a:pt x="1030844" y="1116298"/>
                </a:cubicBezTo>
                <a:close/>
                <a:moveTo>
                  <a:pt x="577408" y="905570"/>
                </a:moveTo>
                <a:lnTo>
                  <a:pt x="577287" y="905690"/>
                </a:lnTo>
                <a:cubicBezTo>
                  <a:pt x="509575" y="905690"/>
                  <a:pt x="454628" y="959716"/>
                  <a:pt x="454628" y="1026293"/>
                </a:cubicBezTo>
                <a:cubicBezTo>
                  <a:pt x="454628" y="1092870"/>
                  <a:pt x="509697" y="1146777"/>
                  <a:pt x="577408" y="1146777"/>
                </a:cubicBezTo>
                <a:cubicBezTo>
                  <a:pt x="645120" y="1146777"/>
                  <a:pt x="700067" y="1092751"/>
                  <a:pt x="700067" y="1026174"/>
                </a:cubicBezTo>
                <a:cubicBezTo>
                  <a:pt x="700067" y="959597"/>
                  <a:pt x="645120" y="905570"/>
                  <a:pt x="577408" y="905570"/>
                </a:cubicBezTo>
                <a:close/>
                <a:moveTo>
                  <a:pt x="3534223" y="817120"/>
                </a:moveTo>
                <a:cubicBezTo>
                  <a:pt x="3546623" y="817120"/>
                  <a:pt x="3558171" y="819630"/>
                  <a:pt x="3568869" y="824411"/>
                </a:cubicBezTo>
                <a:cubicBezTo>
                  <a:pt x="3579445" y="829192"/>
                  <a:pt x="3588805" y="836005"/>
                  <a:pt x="3596707" y="844850"/>
                </a:cubicBezTo>
                <a:cubicBezTo>
                  <a:pt x="3604609" y="853695"/>
                  <a:pt x="3610809" y="864214"/>
                  <a:pt x="3615307" y="876406"/>
                </a:cubicBezTo>
                <a:cubicBezTo>
                  <a:pt x="3619804" y="888598"/>
                  <a:pt x="3621993" y="901267"/>
                  <a:pt x="3621993" y="916089"/>
                </a:cubicBezTo>
                <a:cubicBezTo>
                  <a:pt x="3621993" y="930910"/>
                  <a:pt x="3619804" y="944298"/>
                  <a:pt x="3615307" y="956489"/>
                </a:cubicBezTo>
                <a:cubicBezTo>
                  <a:pt x="3610809" y="968681"/>
                  <a:pt x="3604609" y="979200"/>
                  <a:pt x="3596707" y="988045"/>
                </a:cubicBezTo>
                <a:cubicBezTo>
                  <a:pt x="3588805" y="996890"/>
                  <a:pt x="3579567" y="1003703"/>
                  <a:pt x="3568869" y="1008484"/>
                </a:cubicBezTo>
                <a:cubicBezTo>
                  <a:pt x="3558171" y="1013385"/>
                  <a:pt x="3546623" y="1015775"/>
                  <a:pt x="3534223" y="1015775"/>
                </a:cubicBezTo>
                <a:cubicBezTo>
                  <a:pt x="3521823" y="1015775"/>
                  <a:pt x="3510275" y="1013265"/>
                  <a:pt x="3499577" y="1008484"/>
                </a:cubicBezTo>
                <a:cubicBezTo>
                  <a:pt x="3488879" y="1003703"/>
                  <a:pt x="3479641" y="996890"/>
                  <a:pt x="3471739" y="988045"/>
                </a:cubicBezTo>
                <a:cubicBezTo>
                  <a:pt x="3463837" y="979200"/>
                  <a:pt x="3457637" y="968801"/>
                  <a:pt x="3453139" y="956848"/>
                </a:cubicBezTo>
                <a:cubicBezTo>
                  <a:pt x="3448642" y="944895"/>
                  <a:pt x="3446453" y="931508"/>
                  <a:pt x="3446453" y="916806"/>
                </a:cubicBezTo>
                <a:lnTo>
                  <a:pt x="3446453" y="916687"/>
                </a:lnTo>
                <a:cubicBezTo>
                  <a:pt x="3446453" y="902463"/>
                  <a:pt x="3448642" y="889195"/>
                  <a:pt x="3453139" y="877003"/>
                </a:cubicBezTo>
                <a:cubicBezTo>
                  <a:pt x="3457637" y="864811"/>
                  <a:pt x="3463837" y="854293"/>
                  <a:pt x="3471739" y="845448"/>
                </a:cubicBezTo>
                <a:cubicBezTo>
                  <a:pt x="3479641" y="836603"/>
                  <a:pt x="3488879" y="829670"/>
                  <a:pt x="3499577" y="824650"/>
                </a:cubicBezTo>
                <a:cubicBezTo>
                  <a:pt x="3510275" y="819630"/>
                  <a:pt x="3521823" y="817120"/>
                  <a:pt x="3534223" y="817120"/>
                </a:cubicBezTo>
                <a:close/>
                <a:moveTo>
                  <a:pt x="2694576" y="808155"/>
                </a:moveTo>
                <a:cubicBezTo>
                  <a:pt x="2717673" y="808155"/>
                  <a:pt x="2737367" y="815446"/>
                  <a:pt x="2753535" y="830148"/>
                </a:cubicBezTo>
                <a:cubicBezTo>
                  <a:pt x="2769703" y="844731"/>
                  <a:pt x="2778942" y="864333"/>
                  <a:pt x="2781009" y="888717"/>
                </a:cubicBezTo>
                <a:lnTo>
                  <a:pt x="2781130" y="888836"/>
                </a:lnTo>
                <a:lnTo>
                  <a:pt x="2609481" y="888836"/>
                </a:lnTo>
                <a:cubicBezTo>
                  <a:pt x="2610332" y="876884"/>
                  <a:pt x="2613128" y="865887"/>
                  <a:pt x="2617990" y="855966"/>
                </a:cubicBezTo>
                <a:cubicBezTo>
                  <a:pt x="2622853" y="846045"/>
                  <a:pt x="2629053" y="837559"/>
                  <a:pt x="2636590" y="830507"/>
                </a:cubicBezTo>
                <a:cubicBezTo>
                  <a:pt x="2644127" y="823455"/>
                  <a:pt x="2652879" y="817956"/>
                  <a:pt x="2662726" y="814012"/>
                </a:cubicBezTo>
                <a:cubicBezTo>
                  <a:pt x="2672573" y="810068"/>
                  <a:pt x="2683271" y="808155"/>
                  <a:pt x="2694576" y="808155"/>
                </a:cubicBezTo>
                <a:close/>
                <a:moveTo>
                  <a:pt x="1795121" y="749586"/>
                </a:moveTo>
                <a:lnTo>
                  <a:pt x="1795121" y="1085101"/>
                </a:lnTo>
                <a:lnTo>
                  <a:pt x="1881189" y="1085101"/>
                </a:lnTo>
                <a:lnTo>
                  <a:pt x="1881189" y="749586"/>
                </a:lnTo>
                <a:close/>
                <a:moveTo>
                  <a:pt x="2369878" y="748271"/>
                </a:moveTo>
                <a:cubicBezTo>
                  <a:pt x="2342890" y="748271"/>
                  <a:pt x="2318942" y="754367"/>
                  <a:pt x="2297911" y="766320"/>
                </a:cubicBezTo>
                <a:cubicBezTo>
                  <a:pt x="2276881" y="778392"/>
                  <a:pt x="2259619" y="795724"/>
                  <a:pt x="2245882" y="818434"/>
                </a:cubicBezTo>
                <a:cubicBezTo>
                  <a:pt x="2241627" y="798712"/>
                  <a:pt x="2231780" y="782097"/>
                  <a:pt x="2216341" y="768591"/>
                </a:cubicBezTo>
                <a:cubicBezTo>
                  <a:pt x="2200903" y="755084"/>
                  <a:pt x="2178657" y="748391"/>
                  <a:pt x="2150818" y="748391"/>
                </a:cubicBezTo>
                <a:cubicBezTo>
                  <a:pt x="2122980" y="748391"/>
                  <a:pt x="2098302" y="754128"/>
                  <a:pt x="2076664" y="765722"/>
                </a:cubicBezTo>
                <a:cubicBezTo>
                  <a:pt x="2055025" y="777316"/>
                  <a:pt x="2038006" y="793931"/>
                  <a:pt x="2025607" y="815326"/>
                </a:cubicBezTo>
                <a:lnTo>
                  <a:pt x="2025607" y="749466"/>
                </a:lnTo>
                <a:lnTo>
                  <a:pt x="1947927" y="749466"/>
                </a:lnTo>
                <a:lnTo>
                  <a:pt x="1947927" y="1085101"/>
                </a:lnTo>
                <a:lnTo>
                  <a:pt x="2033995" y="1085101"/>
                </a:lnTo>
                <a:lnTo>
                  <a:pt x="2033995" y="891824"/>
                </a:lnTo>
                <a:cubicBezTo>
                  <a:pt x="2040438" y="871265"/>
                  <a:pt x="2051257" y="854651"/>
                  <a:pt x="2066453" y="841981"/>
                </a:cubicBezTo>
                <a:cubicBezTo>
                  <a:pt x="2081648" y="829430"/>
                  <a:pt x="2098181" y="823096"/>
                  <a:pt x="2114349" y="823096"/>
                </a:cubicBezTo>
                <a:cubicBezTo>
                  <a:pt x="2130517" y="823096"/>
                  <a:pt x="2143281" y="829191"/>
                  <a:pt x="2152520" y="841383"/>
                </a:cubicBezTo>
                <a:cubicBezTo>
                  <a:pt x="2161759" y="853575"/>
                  <a:pt x="2166379" y="872939"/>
                  <a:pt x="2166379" y="899474"/>
                </a:cubicBezTo>
                <a:lnTo>
                  <a:pt x="2166379" y="1085101"/>
                </a:lnTo>
                <a:lnTo>
                  <a:pt x="2252446" y="1085101"/>
                </a:lnTo>
                <a:lnTo>
                  <a:pt x="2252446" y="892541"/>
                </a:lnTo>
                <a:cubicBezTo>
                  <a:pt x="2258889" y="871982"/>
                  <a:pt x="2269587" y="855129"/>
                  <a:pt x="2284539" y="842340"/>
                </a:cubicBezTo>
                <a:cubicBezTo>
                  <a:pt x="2299492" y="829550"/>
                  <a:pt x="2315538" y="823096"/>
                  <a:pt x="2332679" y="823096"/>
                </a:cubicBezTo>
                <a:cubicBezTo>
                  <a:pt x="2348968" y="823096"/>
                  <a:pt x="2361611" y="829191"/>
                  <a:pt x="2370850" y="841383"/>
                </a:cubicBezTo>
                <a:cubicBezTo>
                  <a:pt x="2380089" y="853575"/>
                  <a:pt x="2384708" y="872939"/>
                  <a:pt x="2384708" y="899474"/>
                </a:cubicBezTo>
                <a:lnTo>
                  <a:pt x="2384708" y="1085101"/>
                </a:lnTo>
                <a:lnTo>
                  <a:pt x="2470776" y="1085101"/>
                </a:lnTo>
                <a:lnTo>
                  <a:pt x="2470655" y="1084862"/>
                </a:lnTo>
                <a:lnTo>
                  <a:pt x="2470655" y="878317"/>
                </a:lnTo>
                <a:cubicBezTo>
                  <a:pt x="2470655" y="862301"/>
                  <a:pt x="2469317" y="846523"/>
                  <a:pt x="2466521" y="830984"/>
                </a:cubicBezTo>
                <a:cubicBezTo>
                  <a:pt x="2463725" y="815326"/>
                  <a:pt x="2458741" y="801461"/>
                  <a:pt x="2451447" y="789269"/>
                </a:cubicBezTo>
                <a:cubicBezTo>
                  <a:pt x="2444153" y="777077"/>
                  <a:pt x="2433821" y="767156"/>
                  <a:pt x="2420570" y="759626"/>
                </a:cubicBezTo>
                <a:cubicBezTo>
                  <a:pt x="2407319" y="752096"/>
                  <a:pt x="2390422" y="748271"/>
                  <a:pt x="2369878" y="748271"/>
                </a:cubicBezTo>
                <a:close/>
                <a:moveTo>
                  <a:pt x="2695913" y="747913"/>
                </a:moveTo>
                <a:cubicBezTo>
                  <a:pt x="2668926" y="747913"/>
                  <a:pt x="2644613" y="752455"/>
                  <a:pt x="2622975" y="761539"/>
                </a:cubicBezTo>
                <a:cubicBezTo>
                  <a:pt x="2601336" y="770623"/>
                  <a:pt x="2582858" y="782935"/>
                  <a:pt x="2567784" y="798473"/>
                </a:cubicBezTo>
                <a:cubicBezTo>
                  <a:pt x="2552589" y="814012"/>
                  <a:pt x="2541040" y="832061"/>
                  <a:pt x="2533017" y="852500"/>
                </a:cubicBezTo>
                <a:cubicBezTo>
                  <a:pt x="2524994" y="873059"/>
                  <a:pt x="2520982" y="895650"/>
                  <a:pt x="2520982" y="918001"/>
                </a:cubicBezTo>
                <a:cubicBezTo>
                  <a:pt x="2520982" y="940353"/>
                  <a:pt x="2524994" y="961749"/>
                  <a:pt x="2533260" y="981949"/>
                </a:cubicBezTo>
                <a:cubicBezTo>
                  <a:pt x="2541405" y="1002149"/>
                  <a:pt x="2553075" y="1019959"/>
                  <a:pt x="2568271" y="1035258"/>
                </a:cubicBezTo>
                <a:cubicBezTo>
                  <a:pt x="2583344" y="1050677"/>
                  <a:pt x="2601701" y="1062750"/>
                  <a:pt x="2623096" y="1071595"/>
                </a:cubicBezTo>
                <a:cubicBezTo>
                  <a:pt x="2644613" y="1080559"/>
                  <a:pt x="2668561" y="1084982"/>
                  <a:pt x="2695062" y="1084982"/>
                </a:cubicBezTo>
                <a:lnTo>
                  <a:pt x="2695184" y="1084743"/>
                </a:lnTo>
                <a:cubicBezTo>
                  <a:pt x="2732140" y="1084743"/>
                  <a:pt x="2763989" y="1076734"/>
                  <a:pt x="2790734" y="1060837"/>
                </a:cubicBezTo>
                <a:cubicBezTo>
                  <a:pt x="2817478" y="1044940"/>
                  <a:pt x="2836928" y="1024620"/>
                  <a:pt x="2849085" y="999758"/>
                </a:cubicBezTo>
                <a:lnTo>
                  <a:pt x="2776511" y="979917"/>
                </a:lnTo>
                <a:cubicBezTo>
                  <a:pt x="2771040" y="993184"/>
                  <a:pt x="2760829" y="1003822"/>
                  <a:pt x="2745876" y="1011831"/>
                </a:cubicBezTo>
                <a:cubicBezTo>
                  <a:pt x="2730924" y="1019839"/>
                  <a:pt x="2714999" y="1023903"/>
                  <a:pt x="2698223" y="1023903"/>
                </a:cubicBezTo>
                <a:cubicBezTo>
                  <a:pt x="2687404" y="1023903"/>
                  <a:pt x="2676828" y="1021991"/>
                  <a:pt x="2666738" y="1018285"/>
                </a:cubicBezTo>
                <a:cubicBezTo>
                  <a:pt x="2656648" y="1014580"/>
                  <a:pt x="2647652" y="1009201"/>
                  <a:pt x="2639629" y="1002149"/>
                </a:cubicBezTo>
                <a:cubicBezTo>
                  <a:pt x="2631606" y="995097"/>
                  <a:pt x="2625041" y="986610"/>
                  <a:pt x="2620057" y="976690"/>
                </a:cubicBezTo>
                <a:cubicBezTo>
                  <a:pt x="2614951" y="966769"/>
                  <a:pt x="2611791" y="955414"/>
                  <a:pt x="2610575" y="942624"/>
                </a:cubicBezTo>
                <a:lnTo>
                  <a:pt x="2866104" y="942624"/>
                </a:lnTo>
                <a:cubicBezTo>
                  <a:pt x="2866955" y="939277"/>
                  <a:pt x="2867441" y="935213"/>
                  <a:pt x="2867684" y="930193"/>
                </a:cubicBezTo>
                <a:cubicBezTo>
                  <a:pt x="2868049" y="925173"/>
                  <a:pt x="2868049" y="920033"/>
                  <a:pt x="2868049" y="914655"/>
                </a:cubicBezTo>
                <a:cubicBezTo>
                  <a:pt x="2868049" y="892781"/>
                  <a:pt x="2864159" y="871744"/>
                  <a:pt x="2856379" y="851424"/>
                </a:cubicBezTo>
                <a:cubicBezTo>
                  <a:pt x="2848598" y="831224"/>
                  <a:pt x="2837293" y="813414"/>
                  <a:pt x="2822340" y="798115"/>
                </a:cubicBezTo>
                <a:cubicBezTo>
                  <a:pt x="2807510" y="782815"/>
                  <a:pt x="2789397" y="770623"/>
                  <a:pt x="2768123" y="761539"/>
                </a:cubicBezTo>
                <a:cubicBezTo>
                  <a:pt x="2746849" y="752455"/>
                  <a:pt x="2722901" y="747913"/>
                  <a:pt x="2695913" y="747913"/>
                </a:cubicBezTo>
                <a:close/>
                <a:moveTo>
                  <a:pt x="3534223" y="745403"/>
                </a:moveTo>
                <a:cubicBezTo>
                  <a:pt x="3506871" y="745403"/>
                  <a:pt x="3482315" y="750065"/>
                  <a:pt x="3460555" y="759268"/>
                </a:cubicBezTo>
                <a:cubicBezTo>
                  <a:pt x="3438795" y="768591"/>
                  <a:pt x="3420317" y="781022"/>
                  <a:pt x="3405121" y="796800"/>
                </a:cubicBezTo>
                <a:cubicBezTo>
                  <a:pt x="3390047" y="812578"/>
                  <a:pt x="3378377" y="830746"/>
                  <a:pt x="3370232" y="851305"/>
                </a:cubicBezTo>
                <a:cubicBezTo>
                  <a:pt x="3362087" y="871864"/>
                  <a:pt x="3358076" y="894096"/>
                  <a:pt x="3358076" y="916806"/>
                </a:cubicBezTo>
                <a:cubicBezTo>
                  <a:pt x="3358076" y="939516"/>
                  <a:pt x="3362087" y="961151"/>
                  <a:pt x="3370232" y="981710"/>
                </a:cubicBezTo>
                <a:cubicBezTo>
                  <a:pt x="3378256" y="1002269"/>
                  <a:pt x="3389926" y="1020437"/>
                  <a:pt x="3405121" y="1036215"/>
                </a:cubicBezTo>
                <a:cubicBezTo>
                  <a:pt x="3420317" y="1051992"/>
                  <a:pt x="3438795" y="1064543"/>
                  <a:pt x="3460555" y="1073746"/>
                </a:cubicBezTo>
                <a:cubicBezTo>
                  <a:pt x="3482315" y="1082950"/>
                  <a:pt x="3506871" y="1087612"/>
                  <a:pt x="3534223" y="1087612"/>
                </a:cubicBezTo>
                <a:cubicBezTo>
                  <a:pt x="3561575" y="1087612"/>
                  <a:pt x="3586131" y="1082950"/>
                  <a:pt x="3607891" y="1073746"/>
                </a:cubicBezTo>
                <a:cubicBezTo>
                  <a:pt x="3629773" y="1064423"/>
                  <a:pt x="3648129" y="1051992"/>
                  <a:pt x="3663081" y="1036215"/>
                </a:cubicBezTo>
                <a:cubicBezTo>
                  <a:pt x="3678034" y="1020437"/>
                  <a:pt x="3689582" y="1002269"/>
                  <a:pt x="3697727" y="981710"/>
                </a:cubicBezTo>
                <a:cubicBezTo>
                  <a:pt x="3705872" y="961151"/>
                  <a:pt x="3709884" y="939875"/>
                  <a:pt x="3709884" y="916806"/>
                </a:cubicBezTo>
                <a:cubicBezTo>
                  <a:pt x="3709884" y="893737"/>
                  <a:pt x="3705872" y="871864"/>
                  <a:pt x="3697727" y="851305"/>
                </a:cubicBezTo>
                <a:cubicBezTo>
                  <a:pt x="3689704" y="830746"/>
                  <a:pt x="3678034" y="812578"/>
                  <a:pt x="3662838" y="796800"/>
                </a:cubicBezTo>
                <a:cubicBezTo>
                  <a:pt x="3647643" y="781022"/>
                  <a:pt x="3629165" y="768472"/>
                  <a:pt x="3607648" y="759268"/>
                </a:cubicBezTo>
                <a:cubicBezTo>
                  <a:pt x="3586010" y="750065"/>
                  <a:pt x="3561575" y="745403"/>
                  <a:pt x="3534223" y="745403"/>
                </a:cubicBezTo>
                <a:close/>
                <a:moveTo>
                  <a:pt x="3142420" y="630417"/>
                </a:moveTo>
                <a:cubicBezTo>
                  <a:pt x="3106801" y="630417"/>
                  <a:pt x="3075195" y="636991"/>
                  <a:pt x="3047356" y="650020"/>
                </a:cubicBezTo>
                <a:cubicBezTo>
                  <a:pt x="3019518" y="663048"/>
                  <a:pt x="2996056" y="680141"/>
                  <a:pt x="2976727" y="701178"/>
                </a:cubicBezTo>
                <a:cubicBezTo>
                  <a:pt x="2957399" y="722214"/>
                  <a:pt x="2942811" y="746120"/>
                  <a:pt x="2932721" y="772894"/>
                </a:cubicBezTo>
                <a:lnTo>
                  <a:pt x="2917659" y="853993"/>
                </a:lnTo>
                <a:lnTo>
                  <a:pt x="2917647" y="853934"/>
                </a:lnTo>
                <a:lnTo>
                  <a:pt x="2917647" y="854054"/>
                </a:lnTo>
                <a:lnTo>
                  <a:pt x="2917659" y="853993"/>
                </a:lnTo>
                <a:lnTo>
                  <a:pt x="2934058" y="938202"/>
                </a:lnTo>
                <a:cubicBezTo>
                  <a:pt x="2944999" y="965812"/>
                  <a:pt x="2960195" y="990435"/>
                  <a:pt x="2979645" y="1012070"/>
                </a:cubicBezTo>
                <a:cubicBezTo>
                  <a:pt x="2999095" y="1033704"/>
                  <a:pt x="3022314" y="1051275"/>
                  <a:pt x="3049301" y="1064782"/>
                </a:cubicBezTo>
                <a:cubicBezTo>
                  <a:pt x="3076167" y="1078288"/>
                  <a:pt x="3105951" y="1084982"/>
                  <a:pt x="3138530" y="1084982"/>
                </a:cubicBezTo>
                <a:cubicBezTo>
                  <a:pt x="3156886" y="1084982"/>
                  <a:pt x="3175729" y="1082711"/>
                  <a:pt x="3195057" y="1078049"/>
                </a:cubicBezTo>
                <a:cubicBezTo>
                  <a:pt x="3214265" y="1073388"/>
                  <a:pt x="3232378" y="1066694"/>
                  <a:pt x="3249275" y="1057849"/>
                </a:cubicBezTo>
                <a:cubicBezTo>
                  <a:pt x="3266173" y="1049004"/>
                  <a:pt x="3281368" y="1038127"/>
                  <a:pt x="3294862" y="1025337"/>
                </a:cubicBezTo>
                <a:cubicBezTo>
                  <a:pt x="3308355" y="1012548"/>
                  <a:pt x="3318688" y="997726"/>
                  <a:pt x="3325982" y="980873"/>
                </a:cubicBezTo>
                <a:lnTo>
                  <a:pt x="3253408" y="939875"/>
                </a:lnTo>
                <a:cubicBezTo>
                  <a:pt x="3248303" y="952186"/>
                  <a:pt x="3241373" y="962585"/>
                  <a:pt x="3232864" y="971191"/>
                </a:cubicBezTo>
                <a:cubicBezTo>
                  <a:pt x="3224233" y="979797"/>
                  <a:pt x="3214994" y="986849"/>
                  <a:pt x="3204904" y="992348"/>
                </a:cubicBezTo>
                <a:cubicBezTo>
                  <a:pt x="3194936" y="997726"/>
                  <a:pt x="3184360" y="1001790"/>
                  <a:pt x="3173176" y="1004300"/>
                </a:cubicBezTo>
                <a:cubicBezTo>
                  <a:pt x="3162113" y="1006811"/>
                  <a:pt x="3151416" y="1008125"/>
                  <a:pt x="3141083" y="1008125"/>
                </a:cubicBezTo>
                <a:cubicBezTo>
                  <a:pt x="3121389" y="1008125"/>
                  <a:pt x="3103276" y="1003942"/>
                  <a:pt x="3086865" y="995455"/>
                </a:cubicBezTo>
                <a:cubicBezTo>
                  <a:pt x="3070332" y="987088"/>
                  <a:pt x="3056231" y="975853"/>
                  <a:pt x="3044439" y="961988"/>
                </a:cubicBezTo>
                <a:cubicBezTo>
                  <a:pt x="3032647" y="948122"/>
                  <a:pt x="3023530" y="931986"/>
                  <a:pt x="3017087" y="913698"/>
                </a:cubicBezTo>
                <a:cubicBezTo>
                  <a:pt x="3010644" y="895411"/>
                  <a:pt x="3007483" y="876406"/>
                  <a:pt x="3007483" y="856564"/>
                </a:cubicBezTo>
                <a:cubicBezTo>
                  <a:pt x="3007483" y="838874"/>
                  <a:pt x="3010279" y="821064"/>
                  <a:pt x="3015871" y="803135"/>
                </a:cubicBezTo>
                <a:cubicBezTo>
                  <a:pt x="3021463" y="785325"/>
                  <a:pt x="3029730" y="769309"/>
                  <a:pt x="3040670" y="755204"/>
                </a:cubicBezTo>
                <a:cubicBezTo>
                  <a:pt x="3051611" y="741100"/>
                  <a:pt x="3065226" y="729625"/>
                  <a:pt x="3081759" y="720780"/>
                </a:cubicBezTo>
                <a:cubicBezTo>
                  <a:pt x="3098170" y="711935"/>
                  <a:pt x="3117621" y="707513"/>
                  <a:pt x="3139867" y="707513"/>
                </a:cubicBezTo>
                <a:cubicBezTo>
                  <a:pt x="3150200" y="707513"/>
                  <a:pt x="3160655" y="708708"/>
                  <a:pt x="3171352" y="710979"/>
                </a:cubicBezTo>
                <a:cubicBezTo>
                  <a:pt x="3182050" y="713250"/>
                  <a:pt x="3192383" y="716955"/>
                  <a:pt x="3202230" y="721975"/>
                </a:cubicBezTo>
                <a:cubicBezTo>
                  <a:pt x="3212076" y="727115"/>
                  <a:pt x="3221194" y="733928"/>
                  <a:pt x="3229825" y="742534"/>
                </a:cubicBezTo>
                <a:cubicBezTo>
                  <a:pt x="3238456" y="751140"/>
                  <a:pt x="3245750" y="761778"/>
                  <a:pt x="3251706" y="774448"/>
                </a:cubicBezTo>
                <a:lnTo>
                  <a:pt x="3319783" y="728310"/>
                </a:lnTo>
                <a:cubicBezTo>
                  <a:pt x="3304709" y="699265"/>
                  <a:pt x="3281976" y="675718"/>
                  <a:pt x="3251342" y="657550"/>
                </a:cubicBezTo>
                <a:cubicBezTo>
                  <a:pt x="3220707" y="639501"/>
                  <a:pt x="3184360" y="630417"/>
                  <a:pt x="3142420" y="630417"/>
                </a:cubicBezTo>
                <a:close/>
                <a:moveTo>
                  <a:pt x="1371711" y="630417"/>
                </a:moveTo>
                <a:cubicBezTo>
                  <a:pt x="1336092" y="630417"/>
                  <a:pt x="1304486" y="636991"/>
                  <a:pt x="1276647" y="650020"/>
                </a:cubicBezTo>
                <a:cubicBezTo>
                  <a:pt x="1248809" y="663048"/>
                  <a:pt x="1225226" y="680141"/>
                  <a:pt x="1206018" y="701178"/>
                </a:cubicBezTo>
                <a:cubicBezTo>
                  <a:pt x="1186690" y="722214"/>
                  <a:pt x="1172102" y="746120"/>
                  <a:pt x="1162012" y="772894"/>
                </a:cubicBezTo>
                <a:lnTo>
                  <a:pt x="1146950" y="853993"/>
                </a:lnTo>
                <a:lnTo>
                  <a:pt x="1146938" y="853934"/>
                </a:lnTo>
                <a:lnTo>
                  <a:pt x="1146938" y="854054"/>
                </a:lnTo>
                <a:lnTo>
                  <a:pt x="1146950" y="853993"/>
                </a:lnTo>
                <a:lnTo>
                  <a:pt x="1163349" y="938202"/>
                </a:lnTo>
                <a:cubicBezTo>
                  <a:pt x="1174290" y="965812"/>
                  <a:pt x="1189486" y="990435"/>
                  <a:pt x="1208936" y="1012070"/>
                </a:cubicBezTo>
                <a:cubicBezTo>
                  <a:pt x="1228386" y="1033704"/>
                  <a:pt x="1251605" y="1051275"/>
                  <a:pt x="1278592" y="1064782"/>
                </a:cubicBezTo>
                <a:cubicBezTo>
                  <a:pt x="1305580" y="1078288"/>
                  <a:pt x="1335241" y="1084982"/>
                  <a:pt x="1367821" y="1084982"/>
                </a:cubicBezTo>
                <a:cubicBezTo>
                  <a:pt x="1386177" y="1084982"/>
                  <a:pt x="1405141" y="1082711"/>
                  <a:pt x="1424348" y="1078049"/>
                </a:cubicBezTo>
                <a:cubicBezTo>
                  <a:pt x="1443677" y="1073388"/>
                  <a:pt x="1461790" y="1066694"/>
                  <a:pt x="1478688" y="1057849"/>
                </a:cubicBezTo>
                <a:cubicBezTo>
                  <a:pt x="1495585" y="1049004"/>
                  <a:pt x="1510781" y="1038127"/>
                  <a:pt x="1524274" y="1025337"/>
                </a:cubicBezTo>
                <a:cubicBezTo>
                  <a:pt x="1537768" y="1012548"/>
                  <a:pt x="1548101" y="997726"/>
                  <a:pt x="1555395" y="980873"/>
                </a:cubicBezTo>
                <a:lnTo>
                  <a:pt x="1482821" y="939875"/>
                </a:lnTo>
                <a:cubicBezTo>
                  <a:pt x="1477715" y="952186"/>
                  <a:pt x="1470786" y="962585"/>
                  <a:pt x="1462276" y="971191"/>
                </a:cubicBezTo>
                <a:cubicBezTo>
                  <a:pt x="1453645" y="979797"/>
                  <a:pt x="1444406" y="986849"/>
                  <a:pt x="1434317" y="992348"/>
                </a:cubicBezTo>
                <a:cubicBezTo>
                  <a:pt x="1424348" y="997726"/>
                  <a:pt x="1413772" y="1001790"/>
                  <a:pt x="1402588" y="1004300"/>
                </a:cubicBezTo>
                <a:cubicBezTo>
                  <a:pt x="1391526" y="1006811"/>
                  <a:pt x="1380828" y="1008125"/>
                  <a:pt x="1370495" y="1008125"/>
                </a:cubicBezTo>
                <a:cubicBezTo>
                  <a:pt x="1350923" y="1008125"/>
                  <a:pt x="1332810" y="1003942"/>
                  <a:pt x="1316277" y="995455"/>
                </a:cubicBezTo>
                <a:cubicBezTo>
                  <a:pt x="1299746" y="987088"/>
                  <a:pt x="1285643" y="975853"/>
                  <a:pt x="1273851" y="961988"/>
                </a:cubicBezTo>
                <a:cubicBezTo>
                  <a:pt x="1262060" y="948122"/>
                  <a:pt x="1252942" y="931986"/>
                  <a:pt x="1246499" y="913698"/>
                </a:cubicBezTo>
                <a:cubicBezTo>
                  <a:pt x="1240056" y="895411"/>
                  <a:pt x="1236896" y="876406"/>
                  <a:pt x="1236896" y="856564"/>
                </a:cubicBezTo>
                <a:cubicBezTo>
                  <a:pt x="1236896" y="838874"/>
                  <a:pt x="1239692" y="821064"/>
                  <a:pt x="1245284" y="803135"/>
                </a:cubicBezTo>
                <a:cubicBezTo>
                  <a:pt x="1250754" y="785325"/>
                  <a:pt x="1259021" y="769309"/>
                  <a:pt x="1269961" y="755204"/>
                </a:cubicBezTo>
                <a:cubicBezTo>
                  <a:pt x="1280902" y="741100"/>
                  <a:pt x="1294517" y="729625"/>
                  <a:pt x="1311050" y="720780"/>
                </a:cubicBezTo>
                <a:cubicBezTo>
                  <a:pt x="1327461" y="711935"/>
                  <a:pt x="1346912" y="707513"/>
                  <a:pt x="1369158" y="707513"/>
                </a:cubicBezTo>
                <a:cubicBezTo>
                  <a:pt x="1379491" y="707513"/>
                  <a:pt x="1389945" y="708708"/>
                  <a:pt x="1400643" y="710979"/>
                </a:cubicBezTo>
                <a:cubicBezTo>
                  <a:pt x="1411341" y="713250"/>
                  <a:pt x="1421674" y="716955"/>
                  <a:pt x="1431521" y="721975"/>
                </a:cubicBezTo>
                <a:cubicBezTo>
                  <a:pt x="1441367" y="727115"/>
                  <a:pt x="1450606" y="733928"/>
                  <a:pt x="1459116" y="742534"/>
                </a:cubicBezTo>
                <a:cubicBezTo>
                  <a:pt x="1467747" y="751140"/>
                  <a:pt x="1475041" y="761778"/>
                  <a:pt x="1480997" y="774448"/>
                </a:cubicBezTo>
                <a:lnTo>
                  <a:pt x="1549074" y="728310"/>
                </a:lnTo>
                <a:cubicBezTo>
                  <a:pt x="1534000" y="699265"/>
                  <a:pt x="1511267" y="675718"/>
                  <a:pt x="1480633" y="657550"/>
                </a:cubicBezTo>
                <a:cubicBezTo>
                  <a:pt x="1449998" y="639501"/>
                  <a:pt x="1413651" y="630417"/>
                  <a:pt x="1371711" y="630417"/>
                </a:cubicBezTo>
                <a:close/>
                <a:moveTo>
                  <a:pt x="1795121" y="624082"/>
                </a:moveTo>
                <a:lnTo>
                  <a:pt x="1795121" y="708110"/>
                </a:lnTo>
                <a:lnTo>
                  <a:pt x="1881189" y="708110"/>
                </a:lnTo>
                <a:lnTo>
                  <a:pt x="1881189" y="624082"/>
                </a:lnTo>
                <a:close/>
                <a:moveTo>
                  <a:pt x="1598186" y="619181"/>
                </a:moveTo>
                <a:lnTo>
                  <a:pt x="1598186" y="1003822"/>
                </a:lnTo>
                <a:cubicBezTo>
                  <a:pt x="1598186" y="1029879"/>
                  <a:pt x="1605601" y="1050079"/>
                  <a:pt x="1620311" y="1064184"/>
                </a:cubicBezTo>
                <a:cubicBezTo>
                  <a:pt x="1620675" y="1064423"/>
                  <a:pt x="1620919" y="1064781"/>
                  <a:pt x="1621162" y="1065020"/>
                </a:cubicBezTo>
                <a:cubicBezTo>
                  <a:pt x="1625052" y="1068606"/>
                  <a:pt x="1629428" y="1071714"/>
                  <a:pt x="1634169" y="1074343"/>
                </a:cubicBezTo>
                <a:cubicBezTo>
                  <a:pt x="1637451" y="1076136"/>
                  <a:pt x="1640977" y="1077690"/>
                  <a:pt x="1644502" y="1079005"/>
                </a:cubicBezTo>
                <a:cubicBezTo>
                  <a:pt x="1660913" y="1085101"/>
                  <a:pt x="1679270" y="1085579"/>
                  <a:pt x="1696532" y="1084981"/>
                </a:cubicBezTo>
                <a:cubicBezTo>
                  <a:pt x="1697990" y="1084981"/>
                  <a:pt x="1699571" y="1084862"/>
                  <a:pt x="1701151" y="1084742"/>
                </a:cubicBezTo>
                <a:cubicBezTo>
                  <a:pt x="1702731" y="1084742"/>
                  <a:pt x="1704433" y="1084503"/>
                  <a:pt x="1706014" y="1084384"/>
                </a:cubicBezTo>
                <a:cubicBezTo>
                  <a:pt x="1707594" y="1084384"/>
                  <a:pt x="1709174" y="1084145"/>
                  <a:pt x="1710755" y="1083906"/>
                </a:cubicBezTo>
                <a:cubicBezTo>
                  <a:pt x="1712335" y="1083786"/>
                  <a:pt x="1713915" y="1083547"/>
                  <a:pt x="1715496" y="1083308"/>
                </a:cubicBezTo>
                <a:cubicBezTo>
                  <a:pt x="1717076" y="1083069"/>
                  <a:pt x="1718656" y="1082830"/>
                  <a:pt x="1720237" y="1082591"/>
                </a:cubicBezTo>
                <a:cubicBezTo>
                  <a:pt x="1721817" y="1082352"/>
                  <a:pt x="1723397" y="1081993"/>
                  <a:pt x="1725099" y="1081635"/>
                </a:cubicBezTo>
                <a:cubicBezTo>
                  <a:pt x="1725950" y="1081396"/>
                  <a:pt x="1726801" y="1081276"/>
                  <a:pt x="1727652" y="1081037"/>
                </a:cubicBezTo>
                <a:cubicBezTo>
                  <a:pt x="1729476" y="1080559"/>
                  <a:pt x="1731178" y="1080081"/>
                  <a:pt x="1733001" y="1079483"/>
                </a:cubicBezTo>
                <a:cubicBezTo>
                  <a:pt x="1733609" y="1079244"/>
                  <a:pt x="1734217" y="1079125"/>
                  <a:pt x="1734946" y="1078886"/>
                </a:cubicBezTo>
                <a:lnTo>
                  <a:pt x="1723154" y="1005137"/>
                </a:lnTo>
                <a:cubicBezTo>
                  <a:pt x="1714159" y="1008005"/>
                  <a:pt x="1702488" y="1009320"/>
                  <a:pt x="1695194" y="1006691"/>
                </a:cubicBezTo>
                <a:lnTo>
                  <a:pt x="1695073" y="1006691"/>
                </a:lnTo>
                <a:cubicBezTo>
                  <a:pt x="1682916" y="1002388"/>
                  <a:pt x="1684254" y="989957"/>
                  <a:pt x="1684254" y="976689"/>
                </a:cubicBezTo>
                <a:lnTo>
                  <a:pt x="1684254" y="619181"/>
                </a:lnTo>
                <a:close/>
                <a:moveTo>
                  <a:pt x="576725" y="564647"/>
                </a:moveTo>
                <a:cubicBezTo>
                  <a:pt x="545346" y="564647"/>
                  <a:pt x="513952" y="576450"/>
                  <a:pt x="490003" y="600057"/>
                </a:cubicBezTo>
                <a:cubicBezTo>
                  <a:pt x="441986" y="647151"/>
                  <a:pt x="441986" y="723530"/>
                  <a:pt x="490003" y="770624"/>
                </a:cubicBezTo>
                <a:cubicBezTo>
                  <a:pt x="537900" y="817718"/>
                  <a:pt x="615580" y="817718"/>
                  <a:pt x="663476" y="770624"/>
                </a:cubicBezTo>
                <a:cubicBezTo>
                  <a:pt x="711373" y="723530"/>
                  <a:pt x="789052" y="723530"/>
                  <a:pt x="837070" y="770624"/>
                </a:cubicBezTo>
                <a:cubicBezTo>
                  <a:pt x="884967" y="817718"/>
                  <a:pt x="884967" y="894096"/>
                  <a:pt x="837070" y="941309"/>
                </a:cubicBezTo>
                <a:cubicBezTo>
                  <a:pt x="789174" y="988404"/>
                  <a:pt x="789174" y="1064782"/>
                  <a:pt x="837070" y="1111876"/>
                </a:cubicBezTo>
                <a:cubicBezTo>
                  <a:pt x="884967" y="1158970"/>
                  <a:pt x="962646" y="1158970"/>
                  <a:pt x="1010664" y="1111876"/>
                </a:cubicBezTo>
                <a:cubicBezTo>
                  <a:pt x="1058561" y="1064782"/>
                  <a:pt x="1058561" y="988404"/>
                  <a:pt x="1010664" y="941309"/>
                </a:cubicBezTo>
                <a:cubicBezTo>
                  <a:pt x="963011" y="893857"/>
                  <a:pt x="963011" y="817479"/>
                  <a:pt x="1010664" y="770624"/>
                </a:cubicBezTo>
                <a:lnTo>
                  <a:pt x="1010543" y="770624"/>
                </a:lnTo>
                <a:cubicBezTo>
                  <a:pt x="1058439" y="723530"/>
                  <a:pt x="1058439" y="647151"/>
                  <a:pt x="1010543" y="600057"/>
                </a:cubicBezTo>
                <a:cubicBezTo>
                  <a:pt x="962646" y="552963"/>
                  <a:pt x="884967" y="552963"/>
                  <a:pt x="836949" y="600057"/>
                </a:cubicBezTo>
                <a:cubicBezTo>
                  <a:pt x="789052" y="647151"/>
                  <a:pt x="711373" y="647151"/>
                  <a:pt x="663355" y="600057"/>
                </a:cubicBezTo>
                <a:cubicBezTo>
                  <a:pt x="639468" y="576450"/>
                  <a:pt x="608104" y="564647"/>
                  <a:pt x="576725" y="564647"/>
                </a:cubicBezTo>
                <a:close/>
                <a:moveTo>
                  <a:pt x="0" y="0"/>
                </a:moveTo>
                <a:lnTo>
                  <a:pt x="7880428" y="0"/>
                </a:lnTo>
                <a:cubicBezTo>
                  <a:pt x="8119218" y="0"/>
                  <a:pt x="8312795" y="123309"/>
                  <a:pt x="8312795" y="275419"/>
                </a:cubicBezTo>
                <a:lnTo>
                  <a:pt x="8312795" y="2723813"/>
                </a:lnTo>
                <a:cubicBezTo>
                  <a:pt x="8312795" y="2875923"/>
                  <a:pt x="8119218" y="2999232"/>
                  <a:pt x="7880428" y="2999232"/>
                </a:cubicBezTo>
                <a:lnTo>
                  <a:pt x="0" y="2999232"/>
                </a:lnTo>
                <a:close/>
              </a:path>
            </a:pathLst>
          </a:custGeom>
          <a:solidFill>
            <a:schemeClr val="bg1">
              <a:alpha val="8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200" tIns="1188720">
            <a:noAutofit/>
          </a:bodyPr>
          <a:lstStyle>
            <a:lvl1pPr marL="0" indent="0">
              <a:buNone/>
              <a:defRPr sz="2800" b="1">
                <a:solidFill>
                  <a:schemeClr val="tx2"/>
                </a:solidFill>
                <a:latin typeface="Raleway" panose="020B0503030101060003" pitchFamily="34" charset="77"/>
              </a:defRPr>
            </a:lvl1pPr>
            <a:lvl2pPr marL="0" indent="0">
              <a:lnSpc>
                <a:spcPct val="90000"/>
              </a:lnSpc>
              <a:spcBef>
                <a:spcPts val="0"/>
              </a:spcBef>
              <a:buNone/>
              <a:defRPr cap="all" baseline="0">
                <a:solidFill>
                  <a:schemeClr val="accent5"/>
                </a:solidFill>
              </a:defRPr>
            </a:lvl2pPr>
          </a:lstStyle>
          <a:p>
            <a:pPr lvl="0"/>
            <a:r>
              <a:rPr lang="en-US"/>
              <a:t>Click to edit Master text styles</a:t>
            </a:r>
          </a:p>
        </p:txBody>
      </p:sp>
      <p:sp>
        <p:nvSpPr>
          <p:cNvPr id="6" name="Freeform 5">
            <a:extLst>
              <a:ext uri="{FF2B5EF4-FFF2-40B4-BE49-F238E27FC236}">
                <a16:creationId xmlns:a16="http://schemas.microsoft.com/office/drawing/2014/main" id="{C6982C85-1BBF-BBC1-DE1A-64B7F1ED43C4}"/>
              </a:ext>
            </a:extLst>
          </p:cNvPr>
          <p:cNvSpPr/>
          <p:nvPr/>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8" name="Footer Placeholder 4">
            <a:extLst>
              <a:ext uri="{FF2B5EF4-FFF2-40B4-BE49-F238E27FC236}">
                <a16:creationId xmlns:a16="http://schemas.microsoft.com/office/drawing/2014/main" id="{1B398D60-C321-493C-ADE8-AC824C411BA2}"/>
              </a:ext>
            </a:extLst>
          </p:cNvPr>
          <p:cNvSpPr txBox="1">
            <a:spLocks/>
          </p:cNvSpPr>
          <p:nvPr/>
        </p:nvSpPr>
        <p:spPr>
          <a:xfrm>
            <a:off x="4038600" y="7781188"/>
            <a:ext cx="4114800" cy="222140"/>
          </a:xfrm>
          <a:prstGeom prst="rect">
            <a:avLst/>
          </a:prstGeom>
        </p:spPr>
        <p:txBody>
          <a:bodyPr vert="horz" lIns="0" tIns="0" rIns="0" bIns="0" rtlCol="0" anchor="t" anchorCtr="0"/>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bg1"/>
                </a:solidFill>
              </a:rPr>
              <a:t>Proprietary &amp; Confidential: Not For Distribution</a:t>
            </a:r>
          </a:p>
        </p:txBody>
      </p:sp>
      <p:sp>
        <p:nvSpPr>
          <p:cNvPr id="3" name="Subtitle 2">
            <a:extLst>
              <a:ext uri="{FF2B5EF4-FFF2-40B4-BE49-F238E27FC236}">
                <a16:creationId xmlns:a16="http://schemas.microsoft.com/office/drawing/2014/main" id="{3B5DCC05-4DEC-E6B4-BFB1-CEB9A74C045C}"/>
              </a:ext>
            </a:extLst>
          </p:cNvPr>
          <p:cNvSpPr>
            <a:spLocks noGrp="1"/>
          </p:cNvSpPr>
          <p:nvPr>
            <p:ph type="subTitle" idx="1"/>
          </p:nvPr>
        </p:nvSpPr>
        <p:spPr>
          <a:xfrm>
            <a:off x="445389" y="4057866"/>
            <a:ext cx="3270086" cy="870750"/>
          </a:xfrm>
        </p:spPr>
        <p:txBody>
          <a:bodyPr lIns="0" tIns="0" rIns="0" bIns="0">
            <a:noAutofit/>
          </a:bodyPr>
          <a:lstStyle>
            <a:lvl1pPr marL="0" indent="0" algn="l">
              <a:lnSpc>
                <a:spcPct val="114000"/>
              </a:lnSpc>
              <a:buNone/>
              <a:defRPr sz="1600" b="0">
                <a:solidFill>
                  <a:schemeClr val="tx2"/>
                </a:solidFill>
              </a:defRPr>
            </a:lvl1pPr>
            <a:lvl2pPr marL="0" indent="0" algn="l">
              <a:lnSpc>
                <a:spcPct val="114000"/>
              </a:lnSpc>
              <a:spcBef>
                <a:spcPts val="0"/>
              </a:spcBef>
              <a:buNone/>
              <a:defRPr sz="1400" b="0">
                <a:solidFill>
                  <a:schemeClr val="tx2"/>
                </a:solidFill>
              </a:defRPr>
            </a:lvl2pPr>
            <a:lvl3pPr marL="0" indent="0" algn="l">
              <a:lnSpc>
                <a:spcPct val="114000"/>
              </a:lnSpc>
              <a:spcBef>
                <a:spcPts val="0"/>
              </a:spcBef>
              <a:buNone/>
              <a:defRPr sz="1200" i="1">
                <a:solidFill>
                  <a:schemeClr val="tx2"/>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6" name="Picture 6">
            <a:extLst>
              <a:ext uri="{FF2B5EF4-FFF2-40B4-BE49-F238E27FC236}">
                <a16:creationId xmlns:a16="http://schemas.microsoft.com/office/drawing/2014/main" id="{0344F2D8-2682-D0C2-C65E-33E6667FBD8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45388" y="2494061"/>
            <a:ext cx="3270086" cy="585687"/>
          </a:xfrm>
          <a:prstGeom prst="rect">
            <a:avLst/>
          </a:prstGeom>
        </p:spPr>
      </p:pic>
      <p:sp>
        <p:nvSpPr>
          <p:cNvPr id="119" name="Footer Placeholder 118">
            <a:extLst>
              <a:ext uri="{FF2B5EF4-FFF2-40B4-BE49-F238E27FC236}">
                <a16:creationId xmlns:a16="http://schemas.microsoft.com/office/drawing/2014/main" id="{DAD300A3-3D1E-D54B-D069-0C48ADCB5FDA}"/>
              </a:ext>
            </a:extLst>
          </p:cNvPr>
          <p:cNvSpPr>
            <a:spLocks noGrp="1"/>
          </p:cNvSpPr>
          <p:nvPr>
            <p:ph type="ftr" sz="quarter" idx="11"/>
          </p:nvPr>
        </p:nvSpPr>
        <p:spPr>
          <a:xfrm>
            <a:off x="438912" y="6537960"/>
            <a:ext cx="4114800" cy="211606"/>
          </a:xfrm>
        </p:spPr>
        <p:txBody>
          <a:bodyPr/>
          <a:lstStyle>
            <a:lvl1pPr>
              <a:defRPr>
                <a:solidFill>
                  <a:schemeClr val="bg1"/>
                </a:solidFill>
              </a:defRPr>
            </a:lvl1pPr>
          </a:lstStyle>
          <a:p>
            <a:r>
              <a:rPr lang="en-US" dirty="0"/>
              <a:t>Proprietary &amp; Confidential: Not for Distribution.</a:t>
            </a:r>
          </a:p>
        </p:txBody>
      </p:sp>
      <p:sp>
        <p:nvSpPr>
          <p:cNvPr id="120" name="Slide Number Placeholder 119">
            <a:extLst>
              <a:ext uri="{FF2B5EF4-FFF2-40B4-BE49-F238E27FC236}">
                <a16:creationId xmlns:a16="http://schemas.microsoft.com/office/drawing/2014/main" id="{26E5CE8B-FE5C-ED2A-262A-7D52E96791D6}"/>
              </a:ext>
            </a:extLst>
          </p:cNvPr>
          <p:cNvSpPr>
            <a:spLocks noGrp="1"/>
          </p:cNvSpPr>
          <p:nvPr>
            <p:ph type="sldNum" sz="quarter" idx="12"/>
          </p:nvPr>
        </p:nvSpPr>
        <p:spPr>
          <a:xfrm>
            <a:off x="11730088" y="6990807"/>
            <a:ext cx="461912" cy="252001"/>
          </a:xfrm>
        </p:spPr>
        <p:txBody>
          <a:bodyPr/>
          <a:lstStyle/>
          <a:p>
            <a:fld id="{B42C0624-09E4-9E4F-9228-01F5B6A588DD}" type="slidenum">
              <a:rPr lang="en-US" smtClean="0"/>
              <a:pPr/>
              <a:t>‹#›</a:t>
            </a:fld>
            <a:endParaRPr lang="en-US" dirty="0"/>
          </a:p>
        </p:txBody>
      </p:sp>
      <p:sp>
        <p:nvSpPr>
          <p:cNvPr id="7" name="Text Placeholder 6">
            <a:extLst>
              <a:ext uri="{FF2B5EF4-FFF2-40B4-BE49-F238E27FC236}">
                <a16:creationId xmlns:a16="http://schemas.microsoft.com/office/drawing/2014/main" id="{40633549-A8EA-2F9A-5F92-1D325BFC5184}"/>
              </a:ext>
            </a:extLst>
          </p:cNvPr>
          <p:cNvSpPr>
            <a:spLocks noGrp="1"/>
          </p:cNvSpPr>
          <p:nvPr>
            <p:ph type="body" sz="quarter" idx="13"/>
          </p:nvPr>
        </p:nvSpPr>
        <p:spPr>
          <a:xfrm>
            <a:off x="4571916" y="4057650"/>
            <a:ext cx="3192463" cy="870966"/>
          </a:xfrm>
        </p:spPr>
        <p:txBody>
          <a:bodyPr lIns="0" tIns="0" rIns="0" bIns="0">
            <a:noAutofit/>
          </a:bodyPr>
          <a:lstStyle>
            <a:lvl1pPr marL="0" indent="0">
              <a:lnSpc>
                <a:spcPct val="114000"/>
              </a:lnSpc>
              <a:spcBef>
                <a:spcPts val="0"/>
              </a:spcBef>
              <a:buNone/>
              <a:defRPr sz="1600">
                <a:solidFill>
                  <a:schemeClr val="tx2"/>
                </a:solidFill>
              </a:defRPr>
            </a:lvl1pPr>
            <a:lvl2pPr marL="0" indent="0">
              <a:lnSpc>
                <a:spcPct val="114000"/>
              </a:lnSpc>
              <a:spcBef>
                <a:spcPts val="0"/>
              </a:spcBef>
              <a:buNone/>
              <a:defRPr sz="1400">
                <a:solidFill>
                  <a:schemeClr val="tx2"/>
                </a:solidFill>
              </a:defRPr>
            </a:lvl2pPr>
            <a:lvl3pPr marL="0" indent="0">
              <a:lnSpc>
                <a:spcPct val="114000"/>
              </a:lnSpc>
              <a:spcBef>
                <a:spcPts val="0"/>
              </a:spcBef>
              <a:buNone/>
              <a:defRPr sz="1200" i="1">
                <a:solidFill>
                  <a:schemeClr val="tx2"/>
                </a:solidFill>
              </a:defRPr>
            </a:lvl3pPr>
            <a:lvl4pPr marL="1371600" indent="0">
              <a:spcBef>
                <a:spcPts val="0"/>
              </a:spcBef>
              <a:buNone/>
              <a:defRPr sz="1600">
                <a:solidFill>
                  <a:schemeClr val="tx2"/>
                </a:solidFill>
              </a:defRPr>
            </a:lvl4pPr>
            <a:lvl5pPr marL="1828800" indent="0">
              <a:spcBef>
                <a:spcPts val="0"/>
              </a:spcBef>
              <a:buNone/>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9" name="Freeform 8">
            <a:extLst>
              <a:ext uri="{FF2B5EF4-FFF2-40B4-BE49-F238E27FC236}">
                <a16:creationId xmlns:a16="http://schemas.microsoft.com/office/drawing/2014/main" id="{48CDCFB1-CDDE-3D8F-F33D-1A77F310B42D}"/>
              </a:ext>
            </a:extLst>
          </p:cNvPr>
          <p:cNvSpPr/>
          <p:nvPr userDrawn="1"/>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Footer Placeholder 4">
            <a:extLst>
              <a:ext uri="{FF2B5EF4-FFF2-40B4-BE49-F238E27FC236}">
                <a16:creationId xmlns:a16="http://schemas.microsoft.com/office/drawing/2014/main" id="{3CCE2BF5-21B4-1B38-AC25-006AB44FBFAE}"/>
              </a:ext>
            </a:extLst>
          </p:cNvPr>
          <p:cNvSpPr txBox="1">
            <a:spLocks/>
          </p:cNvSpPr>
          <p:nvPr userDrawn="1"/>
        </p:nvSpPr>
        <p:spPr>
          <a:xfrm>
            <a:off x="4038600" y="7781188"/>
            <a:ext cx="4114800" cy="222140"/>
          </a:xfrm>
          <a:prstGeom prst="rect">
            <a:avLst/>
          </a:prstGeom>
        </p:spPr>
        <p:txBody>
          <a:bodyPr vert="horz" lIns="0" tIns="0" rIns="0" bIns="0" rtlCol="0" anchor="t" anchorCtr="0"/>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bg1"/>
                </a:solidFill>
              </a:rPr>
              <a:t>Proprietary &amp; Confidential: Not For Distribution</a:t>
            </a:r>
          </a:p>
        </p:txBody>
      </p:sp>
      <p:sp>
        <p:nvSpPr>
          <p:cNvPr id="2" name="Text Placeholder 4">
            <a:extLst>
              <a:ext uri="{FF2B5EF4-FFF2-40B4-BE49-F238E27FC236}">
                <a16:creationId xmlns:a16="http://schemas.microsoft.com/office/drawing/2014/main" id="{D463A682-AFA1-B03B-2552-2E8BE50677C6}"/>
              </a:ext>
            </a:extLst>
          </p:cNvPr>
          <p:cNvSpPr>
            <a:spLocks noGrp="1"/>
          </p:cNvSpPr>
          <p:nvPr>
            <p:ph type="body" sz="quarter" idx="18"/>
          </p:nvPr>
        </p:nvSpPr>
        <p:spPr>
          <a:xfrm>
            <a:off x="438913" y="3602736"/>
            <a:ext cx="4856358" cy="415925"/>
          </a:xfrm>
        </p:spPr>
        <p:txBody>
          <a:bodyPr/>
          <a:lstStyle>
            <a:lvl1pPr marL="0" indent="0">
              <a:lnSpc>
                <a:spcPct val="90000"/>
              </a:lnSpc>
              <a:buNone/>
              <a:defRPr cap="all" baseline="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105682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line Headline-Map">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14484358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8" name="Picture Placeholder 37">
            <a:extLst>
              <a:ext uri="{FF2B5EF4-FFF2-40B4-BE49-F238E27FC236}">
                <a16:creationId xmlns:a16="http://schemas.microsoft.com/office/drawing/2014/main" id="{AA39D4AC-2E71-6B20-690A-045D2AA2F19F}"/>
              </a:ext>
            </a:extLst>
          </p:cNvPr>
          <p:cNvSpPr>
            <a:spLocks noGrp="1"/>
          </p:cNvSpPr>
          <p:nvPr>
            <p:ph type="pic" sz="quarter" idx="34" hasCustomPrompt="1"/>
          </p:nvPr>
        </p:nvSpPr>
        <p:spPr>
          <a:xfrm>
            <a:off x="3125782" y="3100397"/>
            <a:ext cx="586512" cy="586512"/>
          </a:xfrm>
          <a:custGeom>
            <a:avLst/>
            <a:gdLst>
              <a:gd name="connsiteX0" fmla="*/ 293256 w 586512"/>
              <a:gd name="connsiteY0" fmla="*/ 0 h 586512"/>
              <a:gd name="connsiteX1" fmla="*/ 586512 w 586512"/>
              <a:gd name="connsiteY1" fmla="*/ 293256 h 586512"/>
              <a:gd name="connsiteX2" fmla="*/ 293256 w 586512"/>
              <a:gd name="connsiteY2" fmla="*/ 586512 h 586512"/>
              <a:gd name="connsiteX3" fmla="*/ 0 w 586512"/>
              <a:gd name="connsiteY3" fmla="*/ 293256 h 586512"/>
              <a:gd name="connsiteX4" fmla="*/ 293256 w 586512"/>
              <a:gd name="connsiteY4" fmla="*/ 0 h 58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12" h="586512">
                <a:moveTo>
                  <a:pt x="293256" y="0"/>
                </a:moveTo>
                <a:cubicBezTo>
                  <a:pt x="455217" y="0"/>
                  <a:pt x="586512" y="131295"/>
                  <a:pt x="586512" y="293256"/>
                </a:cubicBezTo>
                <a:cubicBezTo>
                  <a:pt x="586512" y="455217"/>
                  <a:pt x="455217" y="586512"/>
                  <a:pt x="293256" y="586512"/>
                </a:cubicBezTo>
                <a:cubicBezTo>
                  <a:pt x="131295" y="586512"/>
                  <a:pt x="0" y="455217"/>
                  <a:pt x="0" y="293256"/>
                </a:cubicBezTo>
                <a:cubicBezTo>
                  <a:pt x="0" y="131295"/>
                  <a:pt x="131295" y="0"/>
                  <a:pt x="293256" y="0"/>
                </a:cubicBezTo>
                <a:close/>
              </a:path>
            </a:pathLst>
          </a:custGeom>
          <a:solidFill>
            <a:schemeClr val="accent5"/>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chor="ctr">
            <a:noAutofit/>
          </a:bodyPr>
          <a:lstStyle>
            <a:lvl1pPr marL="0" indent="0" algn="ctr">
              <a:buNone/>
              <a:defRPr/>
            </a:lvl1pPr>
          </a:lstStyle>
          <a:p>
            <a:r>
              <a:rPr lang="en-US" dirty="0"/>
              <a:t>icon</a:t>
            </a:r>
          </a:p>
        </p:txBody>
      </p:sp>
      <p:sp>
        <p:nvSpPr>
          <p:cNvPr id="37" name="Picture Placeholder 36">
            <a:extLst>
              <a:ext uri="{FF2B5EF4-FFF2-40B4-BE49-F238E27FC236}">
                <a16:creationId xmlns:a16="http://schemas.microsoft.com/office/drawing/2014/main" id="{9A8B6C29-1135-1ED0-BD26-3ED8EF8240D2}"/>
              </a:ext>
            </a:extLst>
          </p:cNvPr>
          <p:cNvSpPr>
            <a:spLocks noGrp="1"/>
          </p:cNvSpPr>
          <p:nvPr>
            <p:ph type="pic" sz="quarter" idx="33" hasCustomPrompt="1"/>
          </p:nvPr>
        </p:nvSpPr>
        <p:spPr>
          <a:xfrm>
            <a:off x="597735" y="3100397"/>
            <a:ext cx="586512" cy="586512"/>
          </a:xfrm>
          <a:custGeom>
            <a:avLst/>
            <a:gdLst>
              <a:gd name="connsiteX0" fmla="*/ 293256 w 586512"/>
              <a:gd name="connsiteY0" fmla="*/ 0 h 586512"/>
              <a:gd name="connsiteX1" fmla="*/ 586512 w 586512"/>
              <a:gd name="connsiteY1" fmla="*/ 293256 h 586512"/>
              <a:gd name="connsiteX2" fmla="*/ 293256 w 586512"/>
              <a:gd name="connsiteY2" fmla="*/ 586512 h 586512"/>
              <a:gd name="connsiteX3" fmla="*/ 0 w 586512"/>
              <a:gd name="connsiteY3" fmla="*/ 293256 h 586512"/>
              <a:gd name="connsiteX4" fmla="*/ 293256 w 586512"/>
              <a:gd name="connsiteY4" fmla="*/ 0 h 58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12" h="586512">
                <a:moveTo>
                  <a:pt x="293256" y="0"/>
                </a:moveTo>
                <a:cubicBezTo>
                  <a:pt x="455217" y="0"/>
                  <a:pt x="586512" y="131295"/>
                  <a:pt x="586512" y="293256"/>
                </a:cubicBezTo>
                <a:cubicBezTo>
                  <a:pt x="586512" y="455217"/>
                  <a:pt x="455217" y="586512"/>
                  <a:pt x="293256" y="586512"/>
                </a:cubicBezTo>
                <a:cubicBezTo>
                  <a:pt x="131295" y="586512"/>
                  <a:pt x="0" y="455217"/>
                  <a:pt x="0" y="293256"/>
                </a:cubicBezTo>
                <a:cubicBezTo>
                  <a:pt x="0" y="131295"/>
                  <a:pt x="131295" y="0"/>
                  <a:pt x="293256" y="0"/>
                </a:cubicBezTo>
                <a:close/>
              </a:path>
            </a:pathLst>
          </a:custGeom>
          <a:solidFill>
            <a:schemeClr val="accent5"/>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chor="ctr">
            <a:noAutofit/>
          </a:bodyPr>
          <a:lstStyle>
            <a:lvl1pPr marL="0" indent="0" algn="ctr">
              <a:buNone/>
              <a:defRPr/>
            </a:lvl1pPr>
          </a:lstStyle>
          <a:p>
            <a:r>
              <a:rPr lang="en-US" dirty="0"/>
              <a:t>icon</a:t>
            </a:r>
          </a:p>
        </p:txBody>
      </p:sp>
      <p:sp>
        <p:nvSpPr>
          <p:cNvPr id="34" name="Picture Placeholder 33">
            <a:extLst>
              <a:ext uri="{FF2B5EF4-FFF2-40B4-BE49-F238E27FC236}">
                <a16:creationId xmlns:a16="http://schemas.microsoft.com/office/drawing/2014/main" id="{15699BB6-2D80-F6CD-6562-A57D8F5AFBE6}"/>
              </a:ext>
            </a:extLst>
          </p:cNvPr>
          <p:cNvSpPr>
            <a:spLocks noGrp="1"/>
          </p:cNvSpPr>
          <p:nvPr>
            <p:ph type="pic" sz="quarter" idx="32"/>
          </p:nvPr>
        </p:nvSpPr>
        <p:spPr>
          <a:xfrm>
            <a:off x="5368066" y="1327721"/>
            <a:ext cx="6823934" cy="4987354"/>
          </a:xfrm>
          <a:solidFill>
            <a:schemeClr val="bg1">
              <a:lumMod val="95000"/>
            </a:schemeClr>
          </a:solidFill>
        </p:spPr>
        <p:txBody>
          <a:bodyPr/>
          <a:lstStyle/>
          <a:p>
            <a:r>
              <a:rPr lang="en-US" dirty="0"/>
              <a:t>Click icon to add picture</a:t>
            </a:r>
          </a:p>
        </p:txBody>
      </p:sp>
      <p:sp>
        <p:nvSpPr>
          <p:cNvPr id="29" name="Text Placeholder 24">
            <a:extLst>
              <a:ext uri="{FF2B5EF4-FFF2-40B4-BE49-F238E27FC236}">
                <a16:creationId xmlns:a16="http://schemas.microsoft.com/office/drawing/2014/main" id="{F926FCCA-BA0A-B926-A1BE-B167A2BA72D3}"/>
              </a:ext>
            </a:extLst>
          </p:cNvPr>
          <p:cNvSpPr>
            <a:spLocks noGrp="1"/>
          </p:cNvSpPr>
          <p:nvPr>
            <p:ph type="body" sz="quarter" idx="28"/>
          </p:nvPr>
        </p:nvSpPr>
        <p:spPr>
          <a:xfrm>
            <a:off x="598488" y="3746483"/>
            <a:ext cx="1972590" cy="485410"/>
          </a:xfrm>
        </p:spPr>
        <p:txBody>
          <a:bodyPr anchor="b" anchorCtr="0"/>
          <a:lstStyle>
            <a:lvl1pPr marL="0" indent="0">
              <a:lnSpc>
                <a:spcPct val="105000"/>
              </a:lnSpc>
              <a:buNone/>
              <a:defRPr b="1">
                <a:solidFill>
                  <a:schemeClr val="tx2"/>
                </a:solidFill>
              </a:defRPr>
            </a:lvl1pPr>
          </a:lstStyle>
          <a:p>
            <a:pPr lvl="0"/>
            <a:r>
              <a:rPr lang="en-US"/>
              <a:t>Click to edit Master text styles</a:t>
            </a:r>
          </a:p>
        </p:txBody>
      </p:sp>
      <p:sp>
        <p:nvSpPr>
          <p:cNvPr id="30" name="Text Placeholder 24">
            <a:extLst>
              <a:ext uri="{FF2B5EF4-FFF2-40B4-BE49-F238E27FC236}">
                <a16:creationId xmlns:a16="http://schemas.microsoft.com/office/drawing/2014/main" id="{D7FC5D61-18F2-DF77-3B68-813FCFF3E620}"/>
              </a:ext>
            </a:extLst>
          </p:cNvPr>
          <p:cNvSpPr>
            <a:spLocks noGrp="1"/>
          </p:cNvSpPr>
          <p:nvPr>
            <p:ph type="body" sz="quarter" idx="29"/>
          </p:nvPr>
        </p:nvSpPr>
        <p:spPr>
          <a:xfrm>
            <a:off x="3105020" y="3746483"/>
            <a:ext cx="1972590" cy="485410"/>
          </a:xfrm>
        </p:spPr>
        <p:txBody>
          <a:bodyPr anchor="b" anchorCtr="0"/>
          <a:lstStyle>
            <a:lvl1pPr marL="0" indent="0">
              <a:lnSpc>
                <a:spcPct val="105000"/>
              </a:lnSpc>
              <a:buNone/>
              <a:defRPr b="1">
                <a:solidFill>
                  <a:schemeClr val="tx2"/>
                </a:solidFill>
              </a:defRPr>
            </a:lvl1pPr>
          </a:lstStyle>
          <a:p>
            <a:pPr lvl="0"/>
            <a:r>
              <a:rPr lang="en-US"/>
              <a:t>Click to edit Master text styles</a:t>
            </a:r>
          </a:p>
        </p:txBody>
      </p:sp>
      <p:sp>
        <p:nvSpPr>
          <p:cNvPr id="31" name="Text Placeholder 26">
            <a:extLst>
              <a:ext uri="{FF2B5EF4-FFF2-40B4-BE49-F238E27FC236}">
                <a16:creationId xmlns:a16="http://schemas.microsoft.com/office/drawing/2014/main" id="{34164ABF-E06C-64E0-C329-6CD99D97BB10}"/>
              </a:ext>
            </a:extLst>
          </p:cNvPr>
          <p:cNvSpPr>
            <a:spLocks noGrp="1"/>
          </p:cNvSpPr>
          <p:nvPr>
            <p:ph type="body" sz="quarter" idx="30"/>
          </p:nvPr>
        </p:nvSpPr>
        <p:spPr>
          <a:xfrm>
            <a:off x="598489" y="4314339"/>
            <a:ext cx="2058496" cy="1633926"/>
          </a:xfrm>
        </p:spPr>
        <p:txBody>
          <a:bodyPr/>
          <a:lstStyle>
            <a:lvl1pPr marL="182880" indent="-182880">
              <a:lnSpc>
                <a:spcPct val="120000"/>
              </a:lnSpc>
              <a:spcBef>
                <a:spcPts val="0"/>
              </a:spcBef>
              <a:buFont typeface="System Font Regular"/>
              <a:buChar char="+"/>
              <a:defRPr/>
            </a:lvl1pPr>
            <a:lvl2pPr>
              <a:lnSpc>
                <a:spcPct val="120000"/>
              </a:lnSpc>
              <a:spcBef>
                <a:spcPts val="0"/>
              </a:spcBef>
              <a:defRPr/>
            </a:lvl2pPr>
            <a:lvl3pPr>
              <a:lnSpc>
                <a:spcPct val="120000"/>
              </a:lnSpc>
              <a:spcBef>
                <a:spcPts val="0"/>
              </a:spcBef>
              <a:defRPr/>
            </a:lvl3pPr>
          </a:lstStyle>
          <a:p>
            <a:pPr lvl="0"/>
            <a:r>
              <a:rPr lang="en-US"/>
              <a:t>Click to edit Master text styles</a:t>
            </a:r>
          </a:p>
          <a:p>
            <a:pPr lvl="1"/>
            <a:r>
              <a:rPr lang="en-US"/>
              <a:t>Second level</a:t>
            </a:r>
          </a:p>
          <a:p>
            <a:pPr lvl="2"/>
            <a:r>
              <a:rPr lang="en-US"/>
              <a:t>Third level</a:t>
            </a:r>
          </a:p>
        </p:txBody>
      </p:sp>
      <p:sp>
        <p:nvSpPr>
          <p:cNvPr id="32" name="Text Placeholder 26">
            <a:extLst>
              <a:ext uri="{FF2B5EF4-FFF2-40B4-BE49-F238E27FC236}">
                <a16:creationId xmlns:a16="http://schemas.microsoft.com/office/drawing/2014/main" id="{7F6D05BC-1C88-D563-55E8-8D795A3C1A17}"/>
              </a:ext>
            </a:extLst>
          </p:cNvPr>
          <p:cNvSpPr>
            <a:spLocks noGrp="1"/>
          </p:cNvSpPr>
          <p:nvPr>
            <p:ph type="body" sz="quarter" idx="31"/>
          </p:nvPr>
        </p:nvSpPr>
        <p:spPr>
          <a:xfrm>
            <a:off x="3115778" y="4314339"/>
            <a:ext cx="2743200" cy="1633926"/>
          </a:xfrm>
        </p:spPr>
        <p:txBody>
          <a:bodyPr/>
          <a:lstStyle>
            <a:lvl1pPr marL="182880" indent="-182880">
              <a:lnSpc>
                <a:spcPct val="120000"/>
              </a:lnSpc>
              <a:spcBef>
                <a:spcPts val="0"/>
              </a:spcBef>
              <a:buFont typeface="Arial" panose="020B0604020202020204" pitchFamily="34" charset="0"/>
              <a:buChar char="•"/>
              <a:defRPr lang="en-US" sz="1400" b="0" i="0" u="none" strike="noStrike" cap="none" spc="0" baseline="0" dirty="0" smtClean="0">
                <a:solidFill>
                  <a:schemeClr val="tx1"/>
                </a:solidFill>
                <a:uFillTx/>
                <a:latin typeface="Inter" panose="02000503000000020004" pitchFamily="2" charset="0"/>
                <a:ea typeface="Inter" panose="02000503000000020004" pitchFamily="2" charset="0"/>
                <a:cs typeface="Arial"/>
                <a:sym typeface="Arial"/>
              </a:defRPr>
            </a:lvl1pPr>
            <a:lvl2pPr>
              <a:lnSpc>
                <a:spcPct val="120000"/>
              </a:lnSpc>
              <a:spcBef>
                <a:spcPts val="0"/>
              </a:spcBef>
              <a:defRPr/>
            </a:lvl2pPr>
            <a:lvl3pPr>
              <a:lnSpc>
                <a:spcPct val="120000"/>
              </a:lnSpc>
              <a:spcBef>
                <a:spcPts val="0"/>
              </a:spcBef>
              <a:defRPr/>
            </a:lvl3pPr>
          </a:lstStyle>
          <a:p>
            <a:pPr marL="182880" marR="0" lvl="0" indent="-182880" algn="l" defTabSz="914400" rtl="0" eaLnBrk="1" latinLnBrk="0" hangingPunct="1">
              <a:lnSpc>
                <a:spcPct val="120000"/>
              </a:lnSpc>
              <a:spcBef>
                <a:spcPts val="1000"/>
              </a:spcBef>
              <a:spcAft>
                <a:spcPts val="0"/>
              </a:spcAft>
              <a:buClr>
                <a:schemeClr val="tx1"/>
              </a:buClr>
              <a:buSzPct val="100000"/>
              <a:buFont typeface="System Font Regular"/>
              <a:buChar char="+"/>
              <a:tabLst/>
            </a:pPr>
            <a:r>
              <a:rPr lang="en-US"/>
              <a:t>Click to edit Master text styles</a:t>
            </a:r>
          </a:p>
          <a:p>
            <a:pPr marL="182880" marR="0" lvl="1" indent="-182880" algn="l" defTabSz="914400" rtl="0" eaLnBrk="1" latinLnBrk="0" hangingPunct="1">
              <a:lnSpc>
                <a:spcPct val="120000"/>
              </a:lnSpc>
              <a:spcBef>
                <a:spcPts val="1000"/>
              </a:spcBef>
              <a:spcAft>
                <a:spcPts val="0"/>
              </a:spcAft>
              <a:buClr>
                <a:schemeClr val="tx1"/>
              </a:buClr>
              <a:buSzPct val="100000"/>
              <a:buFont typeface="System Font Regular"/>
              <a:buChar char="+"/>
              <a:tabLst/>
            </a:pPr>
            <a:r>
              <a:rPr lang="en-US"/>
              <a:t>Second level</a:t>
            </a:r>
          </a:p>
          <a:p>
            <a:pPr marL="182880" marR="0" lvl="2" indent="-182880" algn="l" defTabSz="914400" rtl="0" eaLnBrk="1" latinLnBrk="0" hangingPunct="1">
              <a:lnSpc>
                <a:spcPct val="120000"/>
              </a:lnSpc>
              <a:spcBef>
                <a:spcPts val="1000"/>
              </a:spcBef>
              <a:spcAft>
                <a:spcPts val="0"/>
              </a:spcAft>
              <a:buClr>
                <a:schemeClr val="tx1"/>
              </a:buClr>
              <a:buSzPct val="100000"/>
              <a:buFont typeface="System Font Regular"/>
              <a:buChar char="+"/>
              <a:tabLst/>
            </a:pPr>
            <a:r>
              <a:rPr lang="en-US"/>
              <a:t>Third level</a:t>
            </a:r>
          </a:p>
        </p:txBody>
      </p:sp>
      <p:sp>
        <p:nvSpPr>
          <p:cNvPr id="25" name="Text Placeholder 24">
            <a:extLst>
              <a:ext uri="{FF2B5EF4-FFF2-40B4-BE49-F238E27FC236}">
                <a16:creationId xmlns:a16="http://schemas.microsoft.com/office/drawing/2014/main" id="{E22EEBE6-C3B0-A0CF-AA29-030A9B66600E}"/>
              </a:ext>
            </a:extLst>
          </p:cNvPr>
          <p:cNvSpPr>
            <a:spLocks noGrp="1"/>
          </p:cNvSpPr>
          <p:nvPr>
            <p:ph type="body" sz="quarter" idx="26"/>
          </p:nvPr>
        </p:nvSpPr>
        <p:spPr>
          <a:xfrm>
            <a:off x="598488" y="1412072"/>
            <a:ext cx="4873625" cy="311259"/>
          </a:xfrm>
        </p:spPr>
        <p:txBody>
          <a:bodyPr anchor="b" anchorCtr="0"/>
          <a:lstStyle>
            <a:lvl1pPr marL="0" indent="0">
              <a:lnSpc>
                <a:spcPct val="105000"/>
              </a:lnSpc>
              <a:buNone/>
              <a:defRPr b="1">
                <a:solidFill>
                  <a:schemeClr val="tx2"/>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cxnSp>
        <p:nvCxnSpPr>
          <p:cNvPr id="9" name="Straight Connector 8">
            <a:extLst>
              <a:ext uri="{FF2B5EF4-FFF2-40B4-BE49-F238E27FC236}">
                <a16:creationId xmlns:a16="http://schemas.microsoft.com/office/drawing/2014/main" id="{0F27028B-EEB2-4373-CE8D-DC408865C04B}"/>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27" name="Text Placeholder 26">
            <a:extLst>
              <a:ext uri="{FF2B5EF4-FFF2-40B4-BE49-F238E27FC236}">
                <a16:creationId xmlns:a16="http://schemas.microsoft.com/office/drawing/2014/main" id="{B6768BF0-9FBB-A28F-53ED-0AF989EEC3B5}"/>
              </a:ext>
            </a:extLst>
          </p:cNvPr>
          <p:cNvSpPr>
            <a:spLocks noGrp="1"/>
          </p:cNvSpPr>
          <p:nvPr>
            <p:ph type="body" sz="quarter" idx="27"/>
          </p:nvPr>
        </p:nvSpPr>
        <p:spPr>
          <a:xfrm>
            <a:off x="598488" y="1797050"/>
            <a:ext cx="4873625" cy="1300163"/>
          </a:xfrm>
        </p:spPr>
        <p:txBody>
          <a:bodyPr/>
          <a:lstStyle>
            <a:lvl1pPr marL="182880" indent="-182880">
              <a:buFont typeface="System Font Regular"/>
              <a:buChar char="+"/>
              <a:defRPr/>
            </a:lvl1pPr>
          </a:lstStyle>
          <a:p>
            <a:pPr lvl="0"/>
            <a:r>
              <a:rPr lang="en-US"/>
              <a:t>Click to edit Master text styles</a:t>
            </a:r>
          </a:p>
          <a:p>
            <a:pPr lvl="1"/>
            <a:r>
              <a:rPr lang="en-US"/>
              <a:t>Second level</a:t>
            </a:r>
          </a:p>
          <a:p>
            <a:pPr lvl="2"/>
            <a:r>
              <a:rPr lang="en-US"/>
              <a:t>Third level</a:t>
            </a:r>
          </a:p>
        </p:txBody>
      </p:sp>
      <p:sp>
        <p:nvSpPr>
          <p:cNvPr id="4" name="Text Placeholder 6">
            <a:extLst>
              <a:ext uri="{FF2B5EF4-FFF2-40B4-BE49-F238E27FC236}">
                <a16:creationId xmlns:a16="http://schemas.microsoft.com/office/drawing/2014/main" id="{9AB29E7A-2072-E751-CA13-C50F2D08A798}"/>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427691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1-line Headline-Map">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40063281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4" name="Picture Placeholder 33">
            <a:extLst>
              <a:ext uri="{FF2B5EF4-FFF2-40B4-BE49-F238E27FC236}">
                <a16:creationId xmlns:a16="http://schemas.microsoft.com/office/drawing/2014/main" id="{15699BB6-2D80-F6CD-6562-A57D8F5AFBE6}"/>
              </a:ext>
            </a:extLst>
          </p:cNvPr>
          <p:cNvSpPr>
            <a:spLocks noGrp="1"/>
          </p:cNvSpPr>
          <p:nvPr>
            <p:ph type="pic" sz="quarter" idx="32"/>
          </p:nvPr>
        </p:nvSpPr>
        <p:spPr>
          <a:xfrm>
            <a:off x="5368066" y="1729404"/>
            <a:ext cx="6823934" cy="4620544"/>
          </a:xfrm>
          <a:solidFill>
            <a:schemeClr val="bg1">
              <a:lumMod val="95000"/>
            </a:schemeClr>
          </a:solidFill>
        </p:spPr>
        <p:txBody>
          <a:bodyPr/>
          <a:lstStyle/>
          <a:p>
            <a:r>
              <a:rPr lang="en-US" dirty="0"/>
              <a:t>Click icon to add picture</a:t>
            </a:r>
          </a:p>
        </p:txBody>
      </p:sp>
      <p:sp>
        <p:nvSpPr>
          <p:cNvPr id="38" name="Picture Placeholder 37">
            <a:extLst>
              <a:ext uri="{FF2B5EF4-FFF2-40B4-BE49-F238E27FC236}">
                <a16:creationId xmlns:a16="http://schemas.microsoft.com/office/drawing/2014/main" id="{AA39D4AC-2E71-6B20-690A-045D2AA2F19F}"/>
              </a:ext>
            </a:extLst>
          </p:cNvPr>
          <p:cNvSpPr>
            <a:spLocks noGrp="1"/>
          </p:cNvSpPr>
          <p:nvPr>
            <p:ph type="pic" sz="quarter" idx="34" hasCustomPrompt="1"/>
          </p:nvPr>
        </p:nvSpPr>
        <p:spPr>
          <a:xfrm>
            <a:off x="3125782" y="3502080"/>
            <a:ext cx="586512" cy="586512"/>
          </a:xfrm>
          <a:custGeom>
            <a:avLst/>
            <a:gdLst>
              <a:gd name="connsiteX0" fmla="*/ 293256 w 586512"/>
              <a:gd name="connsiteY0" fmla="*/ 0 h 586512"/>
              <a:gd name="connsiteX1" fmla="*/ 586512 w 586512"/>
              <a:gd name="connsiteY1" fmla="*/ 293256 h 586512"/>
              <a:gd name="connsiteX2" fmla="*/ 293256 w 586512"/>
              <a:gd name="connsiteY2" fmla="*/ 586512 h 586512"/>
              <a:gd name="connsiteX3" fmla="*/ 0 w 586512"/>
              <a:gd name="connsiteY3" fmla="*/ 293256 h 586512"/>
              <a:gd name="connsiteX4" fmla="*/ 293256 w 586512"/>
              <a:gd name="connsiteY4" fmla="*/ 0 h 58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12" h="586512">
                <a:moveTo>
                  <a:pt x="293256" y="0"/>
                </a:moveTo>
                <a:cubicBezTo>
                  <a:pt x="455217" y="0"/>
                  <a:pt x="586512" y="131295"/>
                  <a:pt x="586512" y="293256"/>
                </a:cubicBezTo>
                <a:cubicBezTo>
                  <a:pt x="586512" y="455217"/>
                  <a:pt x="455217" y="586512"/>
                  <a:pt x="293256" y="586512"/>
                </a:cubicBezTo>
                <a:cubicBezTo>
                  <a:pt x="131295" y="586512"/>
                  <a:pt x="0" y="455217"/>
                  <a:pt x="0" y="293256"/>
                </a:cubicBezTo>
                <a:cubicBezTo>
                  <a:pt x="0" y="131295"/>
                  <a:pt x="131295" y="0"/>
                  <a:pt x="293256" y="0"/>
                </a:cubicBezTo>
                <a:close/>
              </a:path>
            </a:pathLst>
          </a:custGeom>
          <a:solidFill>
            <a:schemeClr val="accent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oAutofit/>
          </a:bodyPr>
          <a:lstStyle>
            <a:lvl1pPr marL="0" indent="0" algn="ctr">
              <a:buNone/>
              <a:defRPr/>
            </a:lvl1pPr>
          </a:lstStyle>
          <a:p>
            <a:r>
              <a:rPr lang="en-US" dirty="0"/>
              <a:t>icon</a:t>
            </a:r>
          </a:p>
        </p:txBody>
      </p:sp>
      <p:sp>
        <p:nvSpPr>
          <p:cNvPr id="37" name="Picture Placeholder 36">
            <a:extLst>
              <a:ext uri="{FF2B5EF4-FFF2-40B4-BE49-F238E27FC236}">
                <a16:creationId xmlns:a16="http://schemas.microsoft.com/office/drawing/2014/main" id="{9A8B6C29-1135-1ED0-BD26-3ED8EF8240D2}"/>
              </a:ext>
            </a:extLst>
          </p:cNvPr>
          <p:cNvSpPr>
            <a:spLocks noGrp="1"/>
          </p:cNvSpPr>
          <p:nvPr>
            <p:ph type="pic" sz="quarter" idx="33" hasCustomPrompt="1"/>
          </p:nvPr>
        </p:nvSpPr>
        <p:spPr>
          <a:xfrm>
            <a:off x="597735" y="3502080"/>
            <a:ext cx="586512" cy="586512"/>
          </a:xfrm>
          <a:custGeom>
            <a:avLst/>
            <a:gdLst>
              <a:gd name="connsiteX0" fmla="*/ 293256 w 586512"/>
              <a:gd name="connsiteY0" fmla="*/ 0 h 586512"/>
              <a:gd name="connsiteX1" fmla="*/ 586512 w 586512"/>
              <a:gd name="connsiteY1" fmla="*/ 293256 h 586512"/>
              <a:gd name="connsiteX2" fmla="*/ 293256 w 586512"/>
              <a:gd name="connsiteY2" fmla="*/ 586512 h 586512"/>
              <a:gd name="connsiteX3" fmla="*/ 0 w 586512"/>
              <a:gd name="connsiteY3" fmla="*/ 293256 h 586512"/>
              <a:gd name="connsiteX4" fmla="*/ 293256 w 586512"/>
              <a:gd name="connsiteY4" fmla="*/ 0 h 58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12" h="586512">
                <a:moveTo>
                  <a:pt x="293256" y="0"/>
                </a:moveTo>
                <a:cubicBezTo>
                  <a:pt x="455217" y="0"/>
                  <a:pt x="586512" y="131295"/>
                  <a:pt x="586512" y="293256"/>
                </a:cubicBezTo>
                <a:cubicBezTo>
                  <a:pt x="586512" y="455217"/>
                  <a:pt x="455217" y="586512"/>
                  <a:pt x="293256" y="586512"/>
                </a:cubicBezTo>
                <a:cubicBezTo>
                  <a:pt x="131295" y="586512"/>
                  <a:pt x="0" y="455217"/>
                  <a:pt x="0" y="293256"/>
                </a:cubicBezTo>
                <a:cubicBezTo>
                  <a:pt x="0" y="131295"/>
                  <a:pt x="131295" y="0"/>
                  <a:pt x="293256" y="0"/>
                </a:cubicBezTo>
                <a:close/>
              </a:path>
            </a:pathLst>
          </a:custGeom>
          <a:solidFill>
            <a:schemeClr val="accent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oAutofit/>
          </a:bodyPr>
          <a:lstStyle>
            <a:lvl1pPr marL="0" indent="0" algn="ctr">
              <a:buNone/>
              <a:defRPr/>
            </a:lvl1pPr>
          </a:lstStyle>
          <a:p>
            <a:r>
              <a:rPr lang="en-US" dirty="0"/>
              <a:t>icon</a:t>
            </a:r>
          </a:p>
        </p:txBody>
      </p:sp>
      <p:sp>
        <p:nvSpPr>
          <p:cNvPr id="29" name="Text Placeholder 24">
            <a:extLst>
              <a:ext uri="{FF2B5EF4-FFF2-40B4-BE49-F238E27FC236}">
                <a16:creationId xmlns:a16="http://schemas.microsoft.com/office/drawing/2014/main" id="{F926FCCA-BA0A-B926-A1BE-B167A2BA72D3}"/>
              </a:ext>
            </a:extLst>
          </p:cNvPr>
          <p:cNvSpPr>
            <a:spLocks noGrp="1"/>
          </p:cNvSpPr>
          <p:nvPr>
            <p:ph type="body" sz="quarter" idx="28"/>
          </p:nvPr>
        </p:nvSpPr>
        <p:spPr>
          <a:xfrm>
            <a:off x="598488" y="4148166"/>
            <a:ext cx="1972590" cy="485410"/>
          </a:xfrm>
        </p:spPr>
        <p:txBody>
          <a:bodyPr anchor="b" anchorCtr="0"/>
          <a:lstStyle>
            <a:lvl1pPr marL="0" indent="0">
              <a:lnSpc>
                <a:spcPct val="105000"/>
              </a:lnSpc>
              <a:buNone/>
              <a:defRPr b="1">
                <a:solidFill>
                  <a:schemeClr val="tx2"/>
                </a:solidFill>
              </a:defRPr>
            </a:lvl1pPr>
          </a:lstStyle>
          <a:p>
            <a:pPr lvl="0"/>
            <a:r>
              <a:rPr lang="en-US"/>
              <a:t>Click to edit Master text styles</a:t>
            </a:r>
          </a:p>
        </p:txBody>
      </p:sp>
      <p:sp>
        <p:nvSpPr>
          <p:cNvPr id="30" name="Text Placeholder 24">
            <a:extLst>
              <a:ext uri="{FF2B5EF4-FFF2-40B4-BE49-F238E27FC236}">
                <a16:creationId xmlns:a16="http://schemas.microsoft.com/office/drawing/2014/main" id="{D7FC5D61-18F2-DF77-3B68-813FCFF3E620}"/>
              </a:ext>
            </a:extLst>
          </p:cNvPr>
          <p:cNvSpPr>
            <a:spLocks noGrp="1"/>
          </p:cNvSpPr>
          <p:nvPr>
            <p:ph type="body" sz="quarter" idx="29"/>
          </p:nvPr>
        </p:nvSpPr>
        <p:spPr>
          <a:xfrm>
            <a:off x="3105020" y="4148166"/>
            <a:ext cx="1972590" cy="485410"/>
          </a:xfrm>
        </p:spPr>
        <p:txBody>
          <a:bodyPr anchor="b" anchorCtr="0"/>
          <a:lstStyle>
            <a:lvl1pPr marL="0" indent="0">
              <a:lnSpc>
                <a:spcPct val="105000"/>
              </a:lnSpc>
              <a:buNone/>
              <a:defRPr b="1">
                <a:solidFill>
                  <a:schemeClr val="tx2"/>
                </a:solidFill>
              </a:defRPr>
            </a:lvl1pPr>
          </a:lstStyle>
          <a:p>
            <a:pPr lvl="0"/>
            <a:r>
              <a:rPr lang="en-US"/>
              <a:t>Click to edit Master text styles</a:t>
            </a:r>
          </a:p>
        </p:txBody>
      </p:sp>
      <p:sp>
        <p:nvSpPr>
          <p:cNvPr id="31" name="Text Placeholder 26">
            <a:extLst>
              <a:ext uri="{FF2B5EF4-FFF2-40B4-BE49-F238E27FC236}">
                <a16:creationId xmlns:a16="http://schemas.microsoft.com/office/drawing/2014/main" id="{34164ABF-E06C-64E0-C329-6CD99D97BB10}"/>
              </a:ext>
            </a:extLst>
          </p:cNvPr>
          <p:cNvSpPr>
            <a:spLocks noGrp="1"/>
          </p:cNvSpPr>
          <p:nvPr>
            <p:ph type="body" sz="quarter" idx="30"/>
          </p:nvPr>
        </p:nvSpPr>
        <p:spPr>
          <a:xfrm>
            <a:off x="598489" y="4716022"/>
            <a:ext cx="2058496" cy="1633926"/>
          </a:xfrm>
        </p:spPr>
        <p:txBody>
          <a:bodyPr/>
          <a:lstStyle>
            <a:lvl1pPr marL="182880" indent="-182880">
              <a:lnSpc>
                <a:spcPct val="120000"/>
              </a:lnSpc>
              <a:spcBef>
                <a:spcPts val="0"/>
              </a:spcBef>
              <a:buFont typeface="System Font Regular"/>
              <a:buChar char="+"/>
              <a:defRPr/>
            </a:lvl1pPr>
            <a:lvl2pPr>
              <a:lnSpc>
                <a:spcPct val="120000"/>
              </a:lnSpc>
              <a:spcBef>
                <a:spcPts val="0"/>
              </a:spcBef>
              <a:defRPr/>
            </a:lvl2pPr>
            <a:lvl3pPr>
              <a:lnSpc>
                <a:spcPct val="120000"/>
              </a:lnSpc>
              <a:spcBef>
                <a:spcPts val="0"/>
              </a:spcBef>
              <a:defRPr/>
            </a:lvl3pPr>
          </a:lstStyle>
          <a:p>
            <a:pPr lvl="0"/>
            <a:r>
              <a:rPr lang="en-US"/>
              <a:t>Click to edit Master text styles</a:t>
            </a:r>
          </a:p>
          <a:p>
            <a:pPr lvl="1"/>
            <a:r>
              <a:rPr lang="en-US"/>
              <a:t>Second level</a:t>
            </a:r>
          </a:p>
          <a:p>
            <a:pPr lvl="2"/>
            <a:r>
              <a:rPr lang="en-US"/>
              <a:t>Third level</a:t>
            </a:r>
          </a:p>
        </p:txBody>
      </p:sp>
      <p:sp>
        <p:nvSpPr>
          <p:cNvPr id="32" name="Text Placeholder 26">
            <a:extLst>
              <a:ext uri="{FF2B5EF4-FFF2-40B4-BE49-F238E27FC236}">
                <a16:creationId xmlns:a16="http://schemas.microsoft.com/office/drawing/2014/main" id="{7F6D05BC-1C88-D563-55E8-8D795A3C1A17}"/>
              </a:ext>
            </a:extLst>
          </p:cNvPr>
          <p:cNvSpPr>
            <a:spLocks noGrp="1"/>
          </p:cNvSpPr>
          <p:nvPr>
            <p:ph type="body" sz="quarter" idx="31"/>
          </p:nvPr>
        </p:nvSpPr>
        <p:spPr>
          <a:xfrm>
            <a:off x="3115778" y="4716022"/>
            <a:ext cx="2743200" cy="1633926"/>
          </a:xfrm>
        </p:spPr>
        <p:txBody>
          <a:bodyPr/>
          <a:lstStyle>
            <a:lvl1pPr marL="182880" indent="-182880">
              <a:lnSpc>
                <a:spcPct val="120000"/>
              </a:lnSpc>
              <a:spcBef>
                <a:spcPts val="0"/>
              </a:spcBef>
              <a:buFont typeface="Arial" panose="020B0604020202020204" pitchFamily="34" charset="0"/>
              <a:buChar char="•"/>
              <a:defRPr lang="en-US" sz="1400" b="0" i="0" u="none" strike="noStrike" cap="none" spc="0" baseline="0" dirty="0" smtClean="0">
                <a:solidFill>
                  <a:schemeClr val="tx1"/>
                </a:solidFill>
                <a:uFillTx/>
                <a:latin typeface="Inter" panose="02000503000000020004" pitchFamily="2" charset="0"/>
                <a:ea typeface="Inter" panose="02000503000000020004" pitchFamily="2" charset="0"/>
                <a:cs typeface="Arial"/>
                <a:sym typeface="Arial"/>
              </a:defRPr>
            </a:lvl1pPr>
            <a:lvl2pPr>
              <a:lnSpc>
                <a:spcPct val="120000"/>
              </a:lnSpc>
              <a:spcBef>
                <a:spcPts val="0"/>
              </a:spcBef>
              <a:defRPr/>
            </a:lvl2pPr>
            <a:lvl3pPr>
              <a:lnSpc>
                <a:spcPct val="120000"/>
              </a:lnSpc>
              <a:spcBef>
                <a:spcPts val="0"/>
              </a:spcBef>
              <a:defRPr/>
            </a:lvl3pPr>
          </a:lstStyle>
          <a:p>
            <a:pPr marL="182880" marR="0" lvl="0" indent="-182880" algn="l" defTabSz="914400" rtl="0" eaLnBrk="1" latinLnBrk="0" hangingPunct="1">
              <a:lnSpc>
                <a:spcPct val="120000"/>
              </a:lnSpc>
              <a:spcBef>
                <a:spcPts val="1000"/>
              </a:spcBef>
              <a:spcAft>
                <a:spcPts val="0"/>
              </a:spcAft>
              <a:buClr>
                <a:schemeClr val="tx1"/>
              </a:buClr>
              <a:buSzPct val="100000"/>
              <a:buFont typeface="System Font Regular"/>
              <a:buChar char="+"/>
              <a:tabLst/>
            </a:pPr>
            <a:r>
              <a:rPr lang="en-US"/>
              <a:t>Click to edit Master text styles</a:t>
            </a:r>
          </a:p>
          <a:p>
            <a:pPr marL="182880" marR="0" lvl="1" indent="-182880" algn="l" defTabSz="914400" rtl="0" eaLnBrk="1" latinLnBrk="0" hangingPunct="1">
              <a:lnSpc>
                <a:spcPct val="120000"/>
              </a:lnSpc>
              <a:spcBef>
                <a:spcPts val="1000"/>
              </a:spcBef>
              <a:spcAft>
                <a:spcPts val="0"/>
              </a:spcAft>
              <a:buClr>
                <a:schemeClr val="tx1"/>
              </a:buClr>
              <a:buSzPct val="100000"/>
              <a:buFont typeface="System Font Regular"/>
              <a:buChar char="+"/>
              <a:tabLst/>
            </a:pPr>
            <a:r>
              <a:rPr lang="en-US"/>
              <a:t>Second level</a:t>
            </a:r>
          </a:p>
          <a:p>
            <a:pPr marL="182880" marR="0" lvl="2" indent="-182880" algn="l" defTabSz="914400" rtl="0" eaLnBrk="1" latinLnBrk="0" hangingPunct="1">
              <a:lnSpc>
                <a:spcPct val="120000"/>
              </a:lnSpc>
              <a:spcBef>
                <a:spcPts val="1000"/>
              </a:spcBef>
              <a:spcAft>
                <a:spcPts val="0"/>
              </a:spcAft>
              <a:buClr>
                <a:schemeClr val="tx1"/>
              </a:buClr>
              <a:buSzPct val="100000"/>
              <a:buFont typeface="System Font Regular"/>
              <a:buChar char="+"/>
              <a:tabLst/>
            </a:pPr>
            <a:r>
              <a:rPr lang="en-US"/>
              <a:t>Third level</a:t>
            </a:r>
          </a:p>
        </p:txBody>
      </p:sp>
      <p:sp>
        <p:nvSpPr>
          <p:cNvPr id="25" name="Text Placeholder 24">
            <a:extLst>
              <a:ext uri="{FF2B5EF4-FFF2-40B4-BE49-F238E27FC236}">
                <a16:creationId xmlns:a16="http://schemas.microsoft.com/office/drawing/2014/main" id="{E22EEBE6-C3B0-A0CF-AA29-030A9B66600E}"/>
              </a:ext>
            </a:extLst>
          </p:cNvPr>
          <p:cNvSpPr>
            <a:spLocks noGrp="1"/>
          </p:cNvSpPr>
          <p:nvPr>
            <p:ph type="body" sz="quarter" idx="26"/>
          </p:nvPr>
        </p:nvSpPr>
        <p:spPr>
          <a:xfrm>
            <a:off x="598489" y="1716933"/>
            <a:ext cx="4479122" cy="311259"/>
          </a:xfrm>
        </p:spPr>
        <p:txBody>
          <a:bodyPr anchor="b" anchorCtr="0"/>
          <a:lstStyle>
            <a:lvl1pPr marL="0" indent="0">
              <a:lnSpc>
                <a:spcPct val="105000"/>
              </a:lnSpc>
              <a:buNone/>
              <a:defRPr b="1">
                <a:solidFill>
                  <a:schemeClr val="tx2"/>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hasCustomPrompt="1"/>
          </p:nvPr>
        </p:nvSpPr>
        <p:spPr>
          <a:xfrm>
            <a:off x="612648" y="651567"/>
            <a:ext cx="10972800" cy="731520"/>
          </a:xfrm>
        </p:spPr>
        <p:txBody>
          <a:bodyPr vert="horz"/>
          <a:lstStyle/>
          <a:p>
            <a:r>
              <a:rPr lang="en-US"/>
              <a:t>Click to edit Master title style </a:t>
            </a:r>
            <a:br>
              <a:rPr lang="en-US"/>
            </a:br>
            <a:r>
              <a:rPr lang="en-US"/>
              <a:t>for 2-line title</a:t>
            </a:r>
          </a:p>
        </p:txBody>
      </p:sp>
      <p:cxnSp>
        <p:nvCxnSpPr>
          <p:cNvPr id="9" name="Straight Connector 8">
            <a:extLst>
              <a:ext uri="{FF2B5EF4-FFF2-40B4-BE49-F238E27FC236}">
                <a16:creationId xmlns:a16="http://schemas.microsoft.com/office/drawing/2014/main" id="{0F27028B-EEB2-4373-CE8D-DC408865C04B}"/>
              </a:ext>
            </a:extLst>
          </p:cNvPr>
          <p:cNvCxnSpPr/>
          <p:nvPr userDrawn="1"/>
        </p:nvCxnSpPr>
        <p:spPr>
          <a:xfrm>
            <a:off x="609600" y="1451544"/>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27" name="Text Placeholder 26">
            <a:extLst>
              <a:ext uri="{FF2B5EF4-FFF2-40B4-BE49-F238E27FC236}">
                <a16:creationId xmlns:a16="http://schemas.microsoft.com/office/drawing/2014/main" id="{B6768BF0-9FBB-A28F-53ED-0AF989EEC3B5}"/>
              </a:ext>
            </a:extLst>
          </p:cNvPr>
          <p:cNvSpPr>
            <a:spLocks noGrp="1"/>
          </p:cNvSpPr>
          <p:nvPr>
            <p:ph type="body" sz="quarter" idx="27"/>
          </p:nvPr>
        </p:nvSpPr>
        <p:spPr>
          <a:xfrm>
            <a:off x="598489" y="2101911"/>
            <a:ext cx="4479122" cy="1300163"/>
          </a:xfrm>
        </p:spPr>
        <p:txBody>
          <a:bodyPr/>
          <a:lstStyle>
            <a:lvl1pPr marL="182880" indent="-182880">
              <a:buFont typeface="System Font Regular"/>
              <a:buChar char="+"/>
              <a:defRPr/>
            </a:lvl1pPr>
          </a:lstStyle>
          <a:p>
            <a:pPr lvl="0"/>
            <a:r>
              <a:rPr lang="en-US"/>
              <a:t>Click to edit Master text styles</a:t>
            </a:r>
          </a:p>
          <a:p>
            <a:pPr lvl="1"/>
            <a:r>
              <a:rPr lang="en-US"/>
              <a:t>Second level</a:t>
            </a:r>
          </a:p>
          <a:p>
            <a:pPr lvl="2"/>
            <a:r>
              <a:rPr lang="en-US"/>
              <a:t>Third level</a:t>
            </a:r>
          </a:p>
        </p:txBody>
      </p:sp>
      <p:sp>
        <p:nvSpPr>
          <p:cNvPr id="3" name="Text Placeholder 6">
            <a:extLst>
              <a:ext uri="{FF2B5EF4-FFF2-40B4-BE49-F238E27FC236}">
                <a16:creationId xmlns:a16="http://schemas.microsoft.com/office/drawing/2014/main" id="{F185944D-F9DE-BA0D-2D17-2F2487F8B1A7}"/>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820632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line Headlin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1A0504-302B-FE71-274C-C0705AE3211A}"/>
              </a:ext>
            </a:extLst>
          </p:cNvPr>
          <p:cNvGraphicFramePr>
            <a:graphicFrameLocks noChangeAspect="1"/>
          </p:cNvGraphicFramePr>
          <p:nvPr userDrawn="1">
            <p:custDataLst>
              <p:tags r:id="rId1"/>
            </p:custDataLst>
            <p:extLst>
              <p:ext uri="{D42A27DB-BD31-4B8C-83A1-F6EECF244321}">
                <p14:modId xmlns:p14="http://schemas.microsoft.com/office/powerpoint/2010/main" val="490163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91A0504-302B-FE71-274C-C0705AE321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hasCustomPrompt="1"/>
          </p:nvPr>
        </p:nvSpPr>
        <p:spPr>
          <a:xfrm>
            <a:off x="609600" y="649224"/>
            <a:ext cx="10972800" cy="731520"/>
          </a:xfrm>
        </p:spPr>
        <p:txBody>
          <a:bodyPr vert="horz"/>
          <a:lstStyle/>
          <a:p>
            <a:r>
              <a:rPr lang="en-US"/>
              <a:t>Click to edit Master title style </a:t>
            </a:r>
            <a:br>
              <a:rPr lang="en-US"/>
            </a:br>
            <a:r>
              <a:rPr lang="en-US"/>
              <a:t>for 2-line title</a:t>
            </a:r>
          </a:p>
        </p:txBody>
      </p:sp>
      <p:sp>
        <p:nvSpPr>
          <p:cNvPr id="9" name="Text Placeholder 6">
            <a:extLst>
              <a:ext uri="{FF2B5EF4-FFF2-40B4-BE49-F238E27FC236}">
                <a16:creationId xmlns:a16="http://schemas.microsoft.com/office/drawing/2014/main" id="{3B5B673E-BEAA-2060-F204-31A16A8DA6DB}"/>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92699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line Headline-short-text-box">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614369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9" name="Text Placeholder 8">
            <a:extLst>
              <a:ext uri="{FF2B5EF4-FFF2-40B4-BE49-F238E27FC236}">
                <a16:creationId xmlns:a16="http://schemas.microsoft.com/office/drawing/2014/main" id="{4AF2EC42-41E0-F845-A032-332FB6CB293B}"/>
              </a:ext>
            </a:extLst>
          </p:cNvPr>
          <p:cNvSpPr>
            <a:spLocks noGrp="1"/>
          </p:cNvSpPr>
          <p:nvPr>
            <p:ph type="body" sz="quarter" idx="26"/>
          </p:nvPr>
        </p:nvSpPr>
        <p:spPr>
          <a:xfrm>
            <a:off x="609600" y="1362074"/>
            <a:ext cx="10972800" cy="1079900"/>
          </a:xfrm>
        </p:spPr>
        <p:txBody>
          <a:bodyPr>
            <a:noAutofit/>
          </a:bodyPr>
          <a:lstStyle>
            <a:lvl1pPr marL="0" indent="0">
              <a:lnSpc>
                <a:spcPct val="120000"/>
              </a:lnSpc>
              <a:buNone/>
              <a:defRPr/>
            </a:lvl1pPr>
            <a:lvl2pPr marL="182880" indent="-182880">
              <a:lnSpc>
                <a:spcPct val="120000"/>
              </a:lnSpc>
              <a:buFont typeface="System Font Regular"/>
              <a:buChar char="+"/>
              <a:defRPr/>
            </a:lvl2pPr>
          </a:lstStyle>
          <a:p>
            <a:pPr lvl="0"/>
            <a:r>
              <a:rPr lang="en-US"/>
              <a:t>Click to edit Master text styles</a:t>
            </a:r>
          </a:p>
          <a:p>
            <a:pPr lvl="1"/>
            <a:r>
              <a:rPr lang="en-US"/>
              <a:t>Second level</a:t>
            </a:r>
          </a:p>
        </p:txBody>
      </p:sp>
      <p:cxnSp>
        <p:nvCxnSpPr>
          <p:cNvPr id="10" name="Straight Connector 9">
            <a:extLst>
              <a:ext uri="{FF2B5EF4-FFF2-40B4-BE49-F238E27FC236}">
                <a16:creationId xmlns:a16="http://schemas.microsoft.com/office/drawing/2014/main" id="{2C62AB3C-9025-6B54-232F-A22C0F9783C6}"/>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A8483C87-109C-9D7E-CB44-B919C333D69B}"/>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53797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line Headline-short-text-box-ORG-CHART">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614369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8" name="Rectangle 77">
            <a:extLst>
              <a:ext uri="{FF2B5EF4-FFF2-40B4-BE49-F238E27FC236}">
                <a16:creationId xmlns:a16="http://schemas.microsoft.com/office/drawing/2014/main" id="{B18C3BAB-A834-3A98-572E-F56987F18E70}"/>
              </a:ext>
            </a:extLst>
          </p:cNvPr>
          <p:cNvSpPr/>
          <p:nvPr/>
        </p:nvSpPr>
        <p:spPr>
          <a:xfrm>
            <a:off x="-10757" y="2488436"/>
            <a:ext cx="12192000" cy="3770722"/>
          </a:xfrm>
          <a:prstGeom prst="rect">
            <a:avLst/>
          </a:prstGeom>
          <a:solidFill>
            <a:schemeClr val="bg1">
              <a:lumMod val="9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52" name="Rectangle 51">
            <a:extLst>
              <a:ext uri="{FF2B5EF4-FFF2-40B4-BE49-F238E27FC236}">
                <a16:creationId xmlns:a16="http://schemas.microsoft.com/office/drawing/2014/main" id="{CCBD6CC0-2FAD-B78C-F4E7-95104B48340F}"/>
              </a:ext>
            </a:extLst>
          </p:cNvPr>
          <p:cNvSpPr/>
          <p:nvPr/>
        </p:nvSpPr>
        <p:spPr>
          <a:xfrm>
            <a:off x="0" y="2477678"/>
            <a:ext cx="12192000" cy="3770722"/>
          </a:xfrm>
          <a:prstGeom prst="rect">
            <a:avLst/>
          </a:prstGeom>
          <a:solidFill>
            <a:schemeClr val="bg1">
              <a:lumMod val="9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82" name="Rounded Rectangle 81">
            <a:extLst>
              <a:ext uri="{FF2B5EF4-FFF2-40B4-BE49-F238E27FC236}">
                <a16:creationId xmlns:a16="http://schemas.microsoft.com/office/drawing/2014/main" id="{61B01D78-A14D-3375-EFE0-8B497350D36B}"/>
              </a:ext>
            </a:extLst>
          </p:cNvPr>
          <p:cNvSpPr/>
          <p:nvPr/>
        </p:nvSpPr>
        <p:spPr>
          <a:xfrm>
            <a:off x="7656388" y="3465031"/>
            <a:ext cx="3667518" cy="2091666"/>
          </a:xfrm>
          <a:prstGeom prst="roundRect">
            <a:avLst>
              <a:gd name="adj" fmla="val 8198"/>
            </a:avLst>
          </a:prstGeom>
          <a:solidFill>
            <a:srgbClr val="FFFFFF"/>
          </a:solidFill>
          <a:ln w="12700" cap="flat">
            <a:solidFill>
              <a:schemeClr val="tx1">
                <a:lumMod val="50000"/>
                <a:lumOff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30" name="Text Placeholder 129">
            <a:extLst>
              <a:ext uri="{FF2B5EF4-FFF2-40B4-BE49-F238E27FC236}">
                <a16:creationId xmlns:a16="http://schemas.microsoft.com/office/drawing/2014/main" id="{25B903F9-CE03-EA01-E431-8555A25F4932}"/>
              </a:ext>
            </a:extLst>
          </p:cNvPr>
          <p:cNvSpPr>
            <a:spLocks noGrp="1"/>
          </p:cNvSpPr>
          <p:nvPr>
            <p:ph type="body" sz="quarter" idx="37"/>
          </p:nvPr>
        </p:nvSpPr>
        <p:spPr>
          <a:xfrm>
            <a:off x="8158163" y="3753545"/>
            <a:ext cx="2682875" cy="195690"/>
          </a:xfrm>
        </p:spPr>
        <p:txBody>
          <a:bodyPr/>
          <a:lstStyle>
            <a:lvl1pPr marL="0" indent="0" algn="ctr">
              <a:buNone/>
              <a:defRPr sz="1000" b="1" cap="all" baseline="0">
                <a:solidFill>
                  <a:schemeClr val="accent3"/>
                </a:solidFill>
              </a:defRPr>
            </a:lvl1pPr>
          </a:lstStyle>
          <a:p>
            <a:pPr lvl="0"/>
            <a:r>
              <a:rPr lang="en-US"/>
              <a:t>Click to edit Master text styles</a:t>
            </a:r>
          </a:p>
        </p:txBody>
      </p:sp>
      <p:sp>
        <p:nvSpPr>
          <p:cNvPr id="126" name="Text Placeholder 125">
            <a:extLst>
              <a:ext uri="{FF2B5EF4-FFF2-40B4-BE49-F238E27FC236}">
                <a16:creationId xmlns:a16="http://schemas.microsoft.com/office/drawing/2014/main" id="{943D22DC-FA0C-904D-27B0-0AF59351DFC1}"/>
              </a:ext>
            </a:extLst>
          </p:cNvPr>
          <p:cNvSpPr>
            <a:spLocks noGrp="1"/>
          </p:cNvSpPr>
          <p:nvPr>
            <p:ph type="body" sz="quarter" idx="35"/>
          </p:nvPr>
        </p:nvSpPr>
        <p:spPr>
          <a:xfrm>
            <a:off x="7991652" y="4007216"/>
            <a:ext cx="3024783" cy="551174"/>
          </a:xfrm>
          <a:custGeom>
            <a:avLst/>
            <a:gdLst>
              <a:gd name="connsiteX0" fmla="*/ 275587 w 3024783"/>
              <a:gd name="connsiteY0" fmla="*/ 0 h 551174"/>
              <a:gd name="connsiteX1" fmla="*/ 2749196 w 3024783"/>
              <a:gd name="connsiteY1" fmla="*/ 0 h 551174"/>
              <a:gd name="connsiteX2" fmla="*/ 3024783 w 3024783"/>
              <a:gd name="connsiteY2" fmla="*/ 275587 h 551174"/>
              <a:gd name="connsiteX3" fmla="*/ 2749196 w 3024783"/>
              <a:gd name="connsiteY3" fmla="*/ 551174 h 551174"/>
              <a:gd name="connsiteX4" fmla="*/ 275587 w 3024783"/>
              <a:gd name="connsiteY4" fmla="*/ 551174 h 551174"/>
              <a:gd name="connsiteX5" fmla="*/ 0 w 3024783"/>
              <a:gd name="connsiteY5" fmla="*/ 275587 h 551174"/>
              <a:gd name="connsiteX6" fmla="*/ 275587 w 3024783"/>
              <a:gd name="connsiteY6" fmla="*/ 0 h 55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4783" h="551174">
                <a:moveTo>
                  <a:pt x="275587" y="0"/>
                </a:moveTo>
                <a:lnTo>
                  <a:pt x="2749196" y="0"/>
                </a:lnTo>
                <a:cubicBezTo>
                  <a:pt x="2901398" y="0"/>
                  <a:pt x="3024783" y="123385"/>
                  <a:pt x="3024783" y="275587"/>
                </a:cubicBezTo>
                <a:cubicBezTo>
                  <a:pt x="3024783" y="427789"/>
                  <a:pt x="2901398" y="551174"/>
                  <a:pt x="2749196" y="551174"/>
                </a:cubicBezTo>
                <a:lnTo>
                  <a:pt x="275587" y="551174"/>
                </a:lnTo>
                <a:cubicBezTo>
                  <a:pt x="123385" y="551174"/>
                  <a:pt x="0" y="427789"/>
                  <a:pt x="0" y="275587"/>
                </a:cubicBezTo>
                <a:cubicBezTo>
                  <a:pt x="0" y="123385"/>
                  <a:pt x="123385" y="0"/>
                  <a:pt x="275587" y="0"/>
                </a:cubicBezTo>
                <a:close/>
              </a:path>
            </a:pathLst>
          </a:custGeom>
          <a:solidFill>
            <a:schemeClr val="accent4"/>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oAutofit/>
          </a:bodyPr>
          <a:lstStyle>
            <a:lvl1pPr marL="0" indent="0" algn="ctr">
              <a:lnSpc>
                <a:spcPct val="105000"/>
              </a:lnSpc>
              <a:spcBef>
                <a:spcPts val="0"/>
              </a:spcBef>
              <a:buNone/>
              <a:defRPr kumimoji="0" lang="en-US" sz="1400" b="1"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1pPr>
            <a:lvl2pPr marL="0" indent="0" algn="ctr">
              <a:lnSpc>
                <a:spcPct val="105000"/>
              </a:lnSpc>
              <a:spcBef>
                <a:spcPts val="0"/>
              </a:spcBef>
              <a:buNone/>
              <a:defRPr kumimoji="0" lang="en-US" sz="1100" b="0"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2pPr>
          </a:lstStyle>
          <a:p>
            <a:pPr lvl="0"/>
            <a:r>
              <a:rPr lang="en-US"/>
              <a:t>Click to edit Master text styles</a:t>
            </a:r>
          </a:p>
          <a:p>
            <a:pPr lvl="1"/>
            <a:r>
              <a:rPr lang="en-US"/>
              <a:t>Second level</a:t>
            </a:r>
          </a:p>
        </p:txBody>
      </p:sp>
      <p:sp>
        <p:nvSpPr>
          <p:cNvPr id="127" name="Text Placeholder 126">
            <a:extLst>
              <a:ext uri="{FF2B5EF4-FFF2-40B4-BE49-F238E27FC236}">
                <a16:creationId xmlns:a16="http://schemas.microsoft.com/office/drawing/2014/main" id="{7F28890D-A72A-FF26-B884-EDC3FCC2AE01}"/>
              </a:ext>
            </a:extLst>
          </p:cNvPr>
          <p:cNvSpPr>
            <a:spLocks noGrp="1"/>
          </p:cNvSpPr>
          <p:nvPr>
            <p:ph type="body" sz="quarter" idx="36"/>
          </p:nvPr>
        </p:nvSpPr>
        <p:spPr>
          <a:xfrm>
            <a:off x="7991652" y="4695705"/>
            <a:ext cx="3024783" cy="551174"/>
          </a:xfrm>
          <a:custGeom>
            <a:avLst/>
            <a:gdLst>
              <a:gd name="connsiteX0" fmla="*/ 275587 w 3024783"/>
              <a:gd name="connsiteY0" fmla="*/ 0 h 551174"/>
              <a:gd name="connsiteX1" fmla="*/ 2749196 w 3024783"/>
              <a:gd name="connsiteY1" fmla="*/ 0 h 551174"/>
              <a:gd name="connsiteX2" fmla="*/ 3024783 w 3024783"/>
              <a:gd name="connsiteY2" fmla="*/ 275587 h 551174"/>
              <a:gd name="connsiteX3" fmla="*/ 2749196 w 3024783"/>
              <a:gd name="connsiteY3" fmla="*/ 551174 h 551174"/>
              <a:gd name="connsiteX4" fmla="*/ 275587 w 3024783"/>
              <a:gd name="connsiteY4" fmla="*/ 551174 h 551174"/>
              <a:gd name="connsiteX5" fmla="*/ 0 w 3024783"/>
              <a:gd name="connsiteY5" fmla="*/ 275587 h 551174"/>
              <a:gd name="connsiteX6" fmla="*/ 275587 w 3024783"/>
              <a:gd name="connsiteY6" fmla="*/ 0 h 55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4783" h="551174">
                <a:moveTo>
                  <a:pt x="275587" y="0"/>
                </a:moveTo>
                <a:lnTo>
                  <a:pt x="2749196" y="0"/>
                </a:lnTo>
                <a:cubicBezTo>
                  <a:pt x="2901398" y="0"/>
                  <a:pt x="3024783" y="123385"/>
                  <a:pt x="3024783" y="275587"/>
                </a:cubicBezTo>
                <a:cubicBezTo>
                  <a:pt x="3024783" y="427789"/>
                  <a:pt x="2901398" y="551174"/>
                  <a:pt x="2749196" y="551174"/>
                </a:cubicBezTo>
                <a:lnTo>
                  <a:pt x="275587" y="551174"/>
                </a:lnTo>
                <a:cubicBezTo>
                  <a:pt x="123385" y="551174"/>
                  <a:pt x="0" y="427789"/>
                  <a:pt x="0" y="275587"/>
                </a:cubicBezTo>
                <a:cubicBezTo>
                  <a:pt x="0" y="123385"/>
                  <a:pt x="123385" y="0"/>
                  <a:pt x="275587" y="0"/>
                </a:cubicBezTo>
                <a:close/>
              </a:path>
            </a:pathLst>
          </a:custGeom>
          <a:solidFill>
            <a:schemeClr val="accent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oAutofit/>
          </a:bodyPr>
          <a:lstStyle>
            <a:lvl1pPr marL="0" indent="0" algn="ctr">
              <a:lnSpc>
                <a:spcPct val="105000"/>
              </a:lnSpc>
              <a:spcBef>
                <a:spcPts val="0"/>
              </a:spcBef>
              <a:buNone/>
              <a:defRPr kumimoji="0" lang="en-US" sz="1400" b="1"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1pPr>
            <a:lvl2pPr marL="0" indent="0" algn="ctr">
              <a:lnSpc>
                <a:spcPct val="105000"/>
              </a:lnSpc>
              <a:spcBef>
                <a:spcPts val="0"/>
              </a:spcBef>
              <a:buNone/>
              <a:defRPr kumimoji="0" lang="en-US" sz="1100" b="0"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2pPr>
          </a:lstStyle>
          <a:p>
            <a:pPr lvl="0"/>
            <a:r>
              <a:rPr lang="en-US"/>
              <a:t>Click to edit Master text styles</a:t>
            </a:r>
          </a:p>
          <a:p>
            <a:pPr lvl="1"/>
            <a:r>
              <a:rPr lang="en-US"/>
              <a:t>Second level</a:t>
            </a:r>
          </a:p>
        </p:txBody>
      </p:sp>
      <p:sp>
        <p:nvSpPr>
          <p:cNvPr id="83" name="TextBox 82">
            <a:extLst>
              <a:ext uri="{FF2B5EF4-FFF2-40B4-BE49-F238E27FC236}">
                <a16:creationId xmlns:a16="http://schemas.microsoft.com/office/drawing/2014/main" id="{9BDBC350-05E2-6F7B-9F83-5346CF159E73}"/>
              </a:ext>
            </a:extLst>
          </p:cNvPr>
          <p:cNvSpPr txBox="1"/>
          <p:nvPr userDrawn="1"/>
        </p:nvSpPr>
        <p:spPr>
          <a:xfrm>
            <a:off x="8667880" y="3346944"/>
            <a:ext cx="1619022" cy="223844"/>
          </a:xfrm>
          <a:prstGeom prst="roundRect">
            <a:avLst>
              <a:gd name="adj" fmla="val 50000"/>
            </a:avLst>
          </a:prstGeom>
          <a:solidFill>
            <a:schemeClr val="tx1">
              <a:lumMod val="50000"/>
              <a:lumOff val="50000"/>
            </a:schemeClr>
          </a:solidFill>
          <a:ln>
            <a:solidFill>
              <a:schemeClr val="bg1"/>
            </a:solidFill>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noProof="0" dirty="0">
                <a:ln>
                  <a:noFill/>
                </a:ln>
                <a:solidFill>
                  <a:schemeClr val="bg1"/>
                </a:solidFill>
                <a:effectLst/>
                <a:uLnTx/>
                <a:uFillTx/>
                <a:latin typeface="Inter" panose="02000503000000020004" pitchFamily="2" charset="0"/>
                <a:ea typeface="Inter" panose="02000503000000020004" pitchFamily="2" charset="0"/>
              </a:rPr>
              <a:t>EXTENDED Team</a:t>
            </a:r>
          </a:p>
        </p:txBody>
      </p:sp>
      <p:sp>
        <p:nvSpPr>
          <p:cNvPr id="86" name="Rectangle: Diagonal Corners Rounded 20">
            <a:extLst>
              <a:ext uri="{FF2B5EF4-FFF2-40B4-BE49-F238E27FC236}">
                <a16:creationId xmlns:a16="http://schemas.microsoft.com/office/drawing/2014/main" id="{0F51BA41-1908-9C5A-88EC-A28CE35FFFEC}"/>
              </a:ext>
            </a:extLst>
          </p:cNvPr>
          <p:cNvSpPr/>
          <p:nvPr userDrawn="1"/>
        </p:nvSpPr>
        <p:spPr>
          <a:xfrm>
            <a:off x="7991652" y="4695259"/>
            <a:ext cx="3024783" cy="551174"/>
          </a:xfrm>
          <a:prstGeom prst="roundRect">
            <a:avLst>
              <a:gd name="adj" fmla="val 50000"/>
            </a:avLst>
          </a:prstGeom>
          <a:solidFill>
            <a:schemeClr val="accent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en-US" sz="1400" b="1" kern="1200" dirty="0">
                <a:solidFill>
                  <a:schemeClr val="bg1"/>
                </a:solidFill>
                <a:latin typeface="Inter" panose="02000503000000020004" pitchFamily="2" charset="0"/>
                <a:ea typeface="Inter" panose="02000503000000020004" pitchFamily="2" charset="0"/>
              </a:rPr>
              <a:t>Firstname Lastnam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Inter" panose="02000503000000020004" pitchFamily="2" charset="0"/>
                <a:ea typeface="Inter" panose="02000503000000020004" pitchFamily="2" charset="0"/>
              </a:rPr>
              <a:t>Role</a:t>
            </a:r>
          </a:p>
        </p:txBody>
      </p:sp>
      <p:sp>
        <p:nvSpPr>
          <p:cNvPr id="87" name="Rounded Rectangle 86">
            <a:extLst>
              <a:ext uri="{FF2B5EF4-FFF2-40B4-BE49-F238E27FC236}">
                <a16:creationId xmlns:a16="http://schemas.microsoft.com/office/drawing/2014/main" id="{E784BE8E-0863-603B-4452-1666CFC7C29C}"/>
              </a:ext>
            </a:extLst>
          </p:cNvPr>
          <p:cNvSpPr/>
          <p:nvPr/>
        </p:nvSpPr>
        <p:spPr>
          <a:xfrm>
            <a:off x="846579" y="2939486"/>
            <a:ext cx="6651350" cy="3016577"/>
          </a:xfrm>
          <a:prstGeom prst="roundRect">
            <a:avLst>
              <a:gd name="adj" fmla="val 8198"/>
            </a:avLst>
          </a:prstGeom>
          <a:solidFill>
            <a:srgbClr val="FFFFFF"/>
          </a:solidFill>
          <a:ln w="12700" cap="flat">
            <a:solidFill>
              <a:schemeClr val="tx1">
                <a:lumMod val="50000"/>
                <a:lumOff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01" name="Text Placeholder 100">
            <a:extLst>
              <a:ext uri="{FF2B5EF4-FFF2-40B4-BE49-F238E27FC236}">
                <a16:creationId xmlns:a16="http://schemas.microsoft.com/office/drawing/2014/main" id="{9D36C938-8D37-66BE-164C-A3245B64C51D}"/>
              </a:ext>
            </a:extLst>
          </p:cNvPr>
          <p:cNvSpPr>
            <a:spLocks noGrp="1"/>
          </p:cNvSpPr>
          <p:nvPr>
            <p:ph type="body" sz="quarter" idx="27"/>
          </p:nvPr>
        </p:nvSpPr>
        <p:spPr>
          <a:xfrm>
            <a:off x="3350974" y="2828784"/>
            <a:ext cx="1616305" cy="236672"/>
          </a:xfrm>
          <a:custGeom>
            <a:avLst/>
            <a:gdLst>
              <a:gd name="connsiteX0" fmla="*/ 118336 w 1616305"/>
              <a:gd name="connsiteY0" fmla="*/ 0 h 236672"/>
              <a:gd name="connsiteX1" fmla="*/ 1497969 w 1616305"/>
              <a:gd name="connsiteY1" fmla="*/ 0 h 236672"/>
              <a:gd name="connsiteX2" fmla="*/ 1616305 w 1616305"/>
              <a:gd name="connsiteY2" fmla="*/ 118336 h 236672"/>
              <a:gd name="connsiteX3" fmla="*/ 1497969 w 1616305"/>
              <a:gd name="connsiteY3" fmla="*/ 236672 h 236672"/>
              <a:gd name="connsiteX4" fmla="*/ 118336 w 1616305"/>
              <a:gd name="connsiteY4" fmla="*/ 236672 h 236672"/>
              <a:gd name="connsiteX5" fmla="*/ 0 w 1616305"/>
              <a:gd name="connsiteY5" fmla="*/ 118336 h 236672"/>
              <a:gd name="connsiteX6" fmla="*/ 118336 w 1616305"/>
              <a:gd name="connsiteY6" fmla="*/ 0 h 23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6305" h="236672">
                <a:moveTo>
                  <a:pt x="118336" y="0"/>
                </a:moveTo>
                <a:lnTo>
                  <a:pt x="1497969" y="0"/>
                </a:lnTo>
                <a:cubicBezTo>
                  <a:pt x="1563324" y="0"/>
                  <a:pt x="1616305" y="52981"/>
                  <a:pt x="1616305" y="118336"/>
                </a:cubicBezTo>
                <a:cubicBezTo>
                  <a:pt x="1616305" y="183691"/>
                  <a:pt x="1563324" y="236672"/>
                  <a:pt x="1497969" y="236672"/>
                </a:cubicBezTo>
                <a:lnTo>
                  <a:pt x="118336" y="236672"/>
                </a:lnTo>
                <a:cubicBezTo>
                  <a:pt x="52981" y="236672"/>
                  <a:pt x="0" y="183691"/>
                  <a:pt x="0" y="118336"/>
                </a:cubicBezTo>
                <a:cubicBezTo>
                  <a:pt x="0" y="52981"/>
                  <a:pt x="52981" y="0"/>
                  <a:pt x="118336" y="0"/>
                </a:cubicBezTo>
                <a:close/>
              </a:path>
            </a:pathLst>
          </a:custGeom>
          <a:solidFill>
            <a:schemeClr val="tx1">
              <a:lumMod val="50000"/>
              <a:lumOff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chorCtr="0">
            <a:noAutofit/>
          </a:bodyPr>
          <a:lstStyle>
            <a:lvl1pPr marL="0" indent="0" algn="ctr">
              <a:buFont typeface="Arial" panose="020B0604020202020204" pitchFamily="34" charset="0"/>
              <a:buNone/>
              <a:defRPr sz="1100" b="1" cap="all" baseline="0">
                <a:solidFill>
                  <a:schemeClr val="bg1"/>
                </a:solidFill>
              </a:defRPr>
            </a:lvl1pPr>
            <a:lvl2pPr marL="182880" indent="0">
              <a:buNone/>
              <a:defRPr/>
            </a:lvl2pPr>
            <a:lvl3pPr marL="365760" indent="0">
              <a:buNone/>
              <a:defRPr/>
            </a:lvl3pPr>
            <a:lvl4pPr marL="548640" indent="0">
              <a:buNone/>
              <a:defRPr/>
            </a:lvl4pPr>
            <a:lvl5pPr marL="731520" indent="0">
              <a:buNone/>
              <a:defRPr/>
            </a:lvl5pPr>
          </a:lstStyle>
          <a:p>
            <a:pPr lvl="0"/>
            <a:r>
              <a:rPr lang="en-US"/>
              <a:t>Click to edit Master text styles</a:t>
            </a:r>
          </a:p>
        </p:txBody>
      </p:sp>
      <p:sp>
        <p:nvSpPr>
          <p:cNvPr id="107" name="Text Placeholder 106">
            <a:extLst>
              <a:ext uri="{FF2B5EF4-FFF2-40B4-BE49-F238E27FC236}">
                <a16:creationId xmlns:a16="http://schemas.microsoft.com/office/drawing/2014/main" id="{439E93B5-DAE4-AF36-05A6-3C3D8602F9E3}"/>
              </a:ext>
            </a:extLst>
          </p:cNvPr>
          <p:cNvSpPr>
            <a:spLocks noGrp="1"/>
          </p:cNvSpPr>
          <p:nvPr>
            <p:ph type="body" sz="quarter" idx="28"/>
          </p:nvPr>
        </p:nvSpPr>
        <p:spPr>
          <a:xfrm>
            <a:off x="3134742" y="3355015"/>
            <a:ext cx="2048768" cy="612932"/>
          </a:xfrm>
          <a:custGeom>
            <a:avLst/>
            <a:gdLst>
              <a:gd name="connsiteX0" fmla="*/ 306466 w 2048768"/>
              <a:gd name="connsiteY0" fmla="*/ 0 h 612932"/>
              <a:gd name="connsiteX1" fmla="*/ 1742302 w 2048768"/>
              <a:gd name="connsiteY1" fmla="*/ 0 h 612932"/>
              <a:gd name="connsiteX2" fmla="*/ 2048768 w 2048768"/>
              <a:gd name="connsiteY2" fmla="*/ 306466 h 612932"/>
              <a:gd name="connsiteX3" fmla="*/ 1742302 w 2048768"/>
              <a:gd name="connsiteY3" fmla="*/ 612932 h 612932"/>
              <a:gd name="connsiteX4" fmla="*/ 306466 w 2048768"/>
              <a:gd name="connsiteY4" fmla="*/ 612932 h 612932"/>
              <a:gd name="connsiteX5" fmla="*/ 0 w 2048768"/>
              <a:gd name="connsiteY5" fmla="*/ 306466 h 612932"/>
              <a:gd name="connsiteX6" fmla="*/ 306466 w 2048768"/>
              <a:gd name="connsiteY6" fmla="*/ 0 h 61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8768" h="612932">
                <a:moveTo>
                  <a:pt x="306466" y="0"/>
                </a:moveTo>
                <a:lnTo>
                  <a:pt x="1742302" y="0"/>
                </a:lnTo>
                <a:cubicBezTo>
                  <a:pt x="1911558" y="0"/>
                  <a:pt x="2048768" y="137210"/>
                  <a:pt x="2048768" y="306466"/>
                </a:cubicBezTo>
                <a:cubicBezTo>
                  <a:pt x="2048768" y="475722"/>
                  <a:pt x="1911558" y="612932"/>
                  <a:pt x="1742302" y="612932"/>
                </a:cubicBezTo>
                <a:lnTo>
                  <a:pt x="306466" y="612932"/>
                </a:lnTo>
                <a:cubicBezTo>
                  <a:pt x="137210" y="612932"/>
                  <a:pt x="0" y="475722"/>
                  <a:pt x="0" y="306466"/>
                </a:cubicBezTo>
                <a:cubicBezTo>
                  <a:pt x="0" y="137210"/>
                  <a:pt x="137210" y="0"/>
                  <a:pt x="306466" y="0"/>
                </a:cubicBez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oAutofit/>
          </a:bodyPr>
          <a:lstStyle>
            <a:lvl1pPr marL="0" indent="0" algn="ctr">
              <a:lnSpc>
                <a:spcPct val="105000"/>
              </a:lnSpc>
              <a:spcBef>
                <a:spcPts val="0"/>
              </a:spcBef>
              <a:buNone/>
              <a:defRPr kumimoji="0" lang="en-US" sz="1400" b="1"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1pPr>
            <a:lvl2pPr marL="0" indent="0" algn="ctr">
              <a:lnSpc>
                <a:spcPct val="105000"/>
              </a:lnSpc>
              <a:spcBef>
                <a:spcPts val="0"/>
              </a:spcBef>
              <a:buNone/>
              <a:defRPr kumimoji="0" lang="en-US" sz="1100" b="0"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2pPr>
          </a:lstStyle>
          <a:p>
            <a:pPr lvl="0"/>
            <a:r>
              <a:rPr lang="en-US"/>
              <a:t>Click to edit Master text styles</a:t>
            </a:r>
          </a:p>
          <a:p>
            <a:pPr lvl="1"/>
            <a:r>
              <a:rPr lang="en-US"/>
              <a:t>Second level</a:t>
            </a:r>
          </a:p>
        </p:txBody>
      </p:sp>
      <p:sp>
        <p:nvSpPr>
          <p:cNvPr id="108" name="Text Placeholder 107">
            <a:extLst>
              <a:ext uri="{FF2B5EF4-FFF2-40B4-BE49-F238E27FC236}">
                <a16:creationId xmlns:a16="http://schemas.microsoft.com/office/drawing/2014/main" id="{238F6580-46F7-45BF-DFDC-92388098ED0A}"/>
              </a:ext>
            </a:extLst>
          </p:cNvPr>
          <p:cNvSpPr>
            <a:spLocks noGrp="1"/>
          </p:cNvSpPr>
          <p:nvPr>
            <p:ph type="body" sz="quarter" idx="29"/>
          </p:nvPr>
        </p:nvSpPr>
        <p:spPr>
          <a:xfrm>
            <a:off x="3134742" y="4151081"/>
            <a:ext cx="2048768" cy="612932"/>
          </a:xfrm>
          <a:custGeom>
            <a:avLst/>
            <a:gdLst>
              <a:gd name="connsiteX0" fmla="*/ 306466 w 2048768"/>
              <a:gd name="connsiteY0" fmla="*/ 0 h 612932"/>
              <a:gd name="connsiteX1" fmla="*/ 1742302 w 2048768"/>
              <a:gd name="connsiteY1" fmla="*/ 0 h 612932"/>
              <a:gd name="connsiteX2" fmla="*/ 2048768 w 2048768"/>
              <a:gd name="connsiteY2" fmla="*/ 306466 h 612932"/>
              <a:gd name="connsiteX3" fmla="*/ 1742302 w 2048768"/>
              <a:gd name="connsiteY3" fmla="*/ 612932 h 612932"/>
              <a:gd name="connsiteX4" fmla="*/ 306466 w 2048768"/>
              <a:gd name="connsiteY4" fmla="*/ 612932 h 612932"/>
              <a:gd name="connsiteX5" fmla="*/ 0 w 2048768"/>
              <a:gd name="connsiteY5" fmla="*/ 306466 h 612932"/>
              <a:gd name="connsiteX6" fmla="*/ 306466 w 2048768"/>
              <a:gd name="connsiteY6" fmla="*/ 0 h 61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8768" h="612932">
                <a:moveTo>
                  <a:pt x="306466" y="0"/>
                </a:moveTo>
                <a:lnTo>
                  <a:pt x="1742302" y="0"/>
                </a:lnTo>
                <a:cubicBezTo>
                  <a:pt x="1911558" y="0"/>
                  <a:pt x="2048768" y="137210"/>
                  <a:pt x="2048768" y="306466"/>
                </a:cubicBezTo>
                <a:cubicBezTo>
                  <a:pt x="2048768" y="475722"/>
                  <a:pt x="1911558" y="612932"/>
                  <a:pt x="1742302" y="612932"/>
                </a:cubicBezTo>
                <a:lnTo>
                  <a:pt x="306466" y="612932"/>
                </a:lnTo>
                <a:cubicBezTo>
                  <a:pt x="137210" y="612932"/>
                  <a:pt x="0" y="475722"/>
                  <a:pt x="0" y="306466"/>
                </a:cubicBezTo>
                <a:cubicBezTo>
                  <a:pt x="0" y="137210"/>
                  <a:pt x="137210" y="0"/>
                  <a:pt x="306466" y="0"/>
                </a:cubicBezTo>
                <a:close/>
              </a:path>
            </a:pathLst>
          </a:custGeom>
          <a:solidFill>
            <a:schemeClr val="accent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oAutofit/>
          </a:bodyPr>
          <a:lstStyle>
            <a:lvl1pPr marL="0" indent="0" algn="ctr">
              <a:lnSpc>
                <a:spcPct val="105000"/>
              </a:lnSpc>
              <a:spcBef>
                <a:spcPts val="0"/>
              </a:spcBef>
              <a:buNone/>
              <a:defRPr kumimoji="0" lang="en-US" sz="1400" b="1"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1pPr>
            <a:lvl2pPr marL="0" indent="0" algn="ctr">
              <a:lnSpc>
                <a:spcPct val="105000"/>
              </a:lnSpc>
              <a:spcBef>
                <a:spcPts val="0"/>
              </a:spcBef>
              <a:buNone/>
              <a:defRPr kumimoji="0" lang="en-US" sz="1100" b="0"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2pPr>
          </a:lstStyle>
          <a:p>
            <a:pPr lvl="0"/>
            <a:r>
              <a:rPr lang="en-US"/>
              <a:t>Click to edit Master text styles</a:t>
            </a:r>
          </a:p>
          <a:p>
            <a:pPr lvl="1"/>
            <a:r>
              <a:rPr lang="en-US"/>
              <a:t>Second level</a:t>
            </a:r>
          </a:p>
        </p:txBody>
      </p:sp>
      <p:sp>
        <p:nvSpPr>
          <p:cNvPr id="109" name="Text Placeholder 108">
            <a:extLst>
              <a:ext uri="{FF2B5EF4-FFF2-40B4-BE49-F238E27FC236}">
                <a16:creationId xmlns:a16="http://schemas.microsoft.com/office/drawing/2014/main" id="{201BDFC2-1814-C4A3-3BC0-B01D2B0F8888}"/>
              </a:ext>
            </a:extLst>
          </p:cNvPr>
          <p:cNvSpPr>
            <a:spLocks noGrp="1"/>
          </p:cNvSpPr>
          <p:nvPr>
            <p:ph type="body" sz="quarter" idx="30"/>
          </p:nvPr>
        </p:nvSpPr>
        <p:spPr>
          <a:xfrm>
            <a:off x="1020865" y="4936389"/>
            <a:ext cx="2048768" cy="612932"/>
          </a:xfrm>
          <a:custGeom>
            <a:avLst/>
            <a:gdLst>
              <a:gd name="connsiteX0" fmla="*/ 306466 w 2048768"/>
              <a:gd name="connsiteY0" fmla="*/ 0 h 612932"/>
              <a:gd name="connsiteX1" fmla="*/ 1742302 w 2048768"/>
              <a:gd name="connsiteY1" fmla="*/ 0 h 612932"/>
              <a:gd name="connsiteX2" fmla="*/ 2048768 w 2048768"/>
              <a:gd name="connsiteY2" fmla="*/ 306466 h 612932"/>
              <a:gd name="connsiteX3" fmla="*/ 1742302 w 2048768"/>
              <a:gd name="connsiteY3" fmla="*/ 612932 h 612932"/>
              <a:gd name="connsiteX4" fmla="*/ 306466 w 2048768"/>
              <a:gd name="connsiteY4" fmla="*/ 612932 h 612932"/>
              <a:gd name="connsiteX5" fmla="*/ 0 w 2048768"/>
              <a:gd name="connsiteY5" fmla="*/ 306466 h 612932"/>
              <a:gd name="connsiteX6" fmla="*/ 306466 w 2048768"/>
              <a:gd name="connsiteY6" fmla="*/ 0 h 61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8768" h="612932">
                <a:moveTo>
                  <a:pt x="306466" y="0"/>
                </a:moveTo>
                <a:lnTo>
                  <a:pt x="1742302" y="0"/>
                </a:lnTo>
                <a:cubicBezTo>
                  <a:pt x="1911558" y="0"/>
                  <a:pt x="2048768" y="137210"/>
                  <a:pt x="2048768" y="306466"/>
                </a:cubicBezTo>
                <a:cubicBezTo>
                  <a:pt x="2048768" y="475722"/>
                  <a:pt x="1911558" y="612932"/>
                  <a:pt x="1742302" y="612932"/>
                </a:cubicBezTo>
                <a:lnTo>
                  <a:pt x="306466" y="612932"/>
                </a:lnTo>
                <a:cubicBezTo>
                  <a:pt x="137210" y="612932"/>
                  <a:pt x="0" y="475722"/>
                  <a:pt x="0" y="306466"/>
                </a:cubicBezTo>
                <a:cubicBezTo>
                  <a:pt x="0" y="137210"/>
                  <a:pt x="137210" y="0"/>
                  <a:pt x="306466" y="0"/>
                </a:cubicBezTo>
                <a:close/>
              </a:path>
            </a:pathLst>
          </a:custGeom>
          <a:solidFill>
            <a:schemeClr val="accent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oAutofit/>
          </a:bodyPr>
          <a:lstStyle>
            <a:lvl1pPr marL="0" indent="0" algn="ctr">
              <a:lnSpc>
                <a:spcPct val="105000"/>
              </a:lnSpc>
              <a:spcBef>
                <a:spcPts val="0"/>
              </a:spcBef>
              <a:buNone/>
              <a:defRPr kumimoji="0" lang="en-US" sz="1400" b="1"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1pPr>
            <a:lvl2pPr marL="0" indent="0" algn="ctr">
              <a:lnSpc>
                <a:spcPct val="105000"/>
              </a:lnSpc>
              <a:spcBef>
                <a:spcPts val="0"/>
              </a:spcBef>
              <a:buNone/>
              <a:defRPr kumimoji="0" lang="en-US" sz="1100" b="0"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2pPr>
          </a:lstStyle>
          <a:p>
            <a:pPr lvl="0"/>
            <a:r>
              <a:rPr lang="en-US"/>
              <a:t>Click to edit Master text styles</a:t>
            </a:r>
          </a:p>
          <a:p>
            <a:pPr lvl="1"/>
            <a:r>
              <a:rPr lang="en-US"/>
              <a:t>Second level</a:t>
            </a:r>
          </a:p>
        </p:txBody>
      </p:sp>
      <p:sp>
        <p:nvSpPr>
          <p:cNvPr id="110" name="Text Placeholder 109">
            <a:extLst>
              <a:ext uri="{FF2B5EF4-FFF2-40B4-BE49-F238E27FC236}">
                <a16:creationId xmlns:a16="http://schemas.microsoft.com/office/drawing/2014/main" id="{E6BA7CB1-96F8-B88B-B3CC-E8577E02B9E1}"/>
              </a:ext>
            </a:extLst>
          </p:cNvPr>
          <p:cNvSpPr>
            <a:spLocks noGrp="1"/>
          </p:cNvSpPr>
          <p:nvPr>
            <p:ph type="body" sz="quarter" idx="31"/>
          </p:nvPr>
        </p:nvSpPr>
        <p:spPr>
          <a:xfrm>
            <a:off x="3134742" y="4936389"/>
            <a:ext cx="2048768" cy="612932"/>
          </a:xfrm>
          <a:custGeom>
            <a:avLst/>
            <a:gdLst>
              <a:gd name="connsiteX0" fmla="*/ 306466 w 2048768"/>
              <a:gd name="connsiteY0" fmla="*/ 0 h 612932"/>
              <a:gd name="connsiteX1" fmla="*/ 1742302 w 2048768"/>
              <a:gd name="connsiteY1" fmla="*/ 0 h 612932"/>
              <a:gd name="connsiteX2" fmla="*/ 2048768 w 2048768"/>
              <a:gd name="connsiteY2" fmla="*/ 306466 h 612932"/>
              <a:gd name="connsiteX3" fmla="*/ 1742302 w 2048768"/>
              <a:gd name="connsiteY3" fmla="*/ 612932 h 612932"/>
              <a:gd name="connsiteX4" fmla="*/ 306466 w 2048768"/>
              <a:gd name="connsiteY4" fmla="*/ 612932 h 612932"/>
              <a:gd name="connsiteX5" fmla="*/ 0 w 2048768"/>
              <a:gd name="connsiteY5" fmla="*/ 306466 h 612932"/>
              <a:gd name="connsiteX6" fmla="*/ 306466 w 2048768"/>
              <a:gd name="connsiteY6" fmla="*/ 0 h 61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8768" h="612932">
                <a:moveTo>
                  <a:pt x="306466" y="0"/>
                </a:moveTo>
                <a:lnTo>
                  <a:pt x="1742302" y="0"/>
                </a:lnTo>
                <a:cubicBezTo>
                  <a:pt x="1911558" y="0"/>
                  <a:pt x="2048768" y="137210"/>
                  <a:pt x="2048768" y="306466"/>
                </a:cubicBezTo>
                <a:cubicBezTo>
                  <a:pt x="2048768" y="475722"/>
                  <a:pt x="1911558" y="612932"/>
                  <a:pt x="1742302" y="612932"/>
                </a:cubicBezTo>
                <a:lnTo>
                  <a:pt x="306466" y="612932"/>
                </a:lnTo>
                <a:cubicBezTo>
                  <a:pt x="137210" y="612932"/>
                  <a:pt x="0" y="475722"/>
                  <a:pt x="0" y="306466"/>
                </a:cubicBezTo>
                <a:cubicBezTo>
                  <a:pt x="0" y="137210"/>
                  <a:pt x="137210" y="0"/>
                  <a:pt x="306466" y="0"/>
                </a:cubicBezTo>
                <a:close/>
              </a:path>
            </a:pathLst>
          </a:custGeom>
          <a:solidFill>
            <a:schemeClr val="accent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oAutofit/>
          </a:bodyPr>
          <a:lstStyle>
            <a:lvl1pPr marL="0" indent="0" algn="ctr">
              <a:lnSpc>
                <a:spcPct val="105000"/>
              </a:lnSpc>
              <a:spcBef>
                <a:spcPts val="0"/>
              </a:spcBef>
              <a:buNone/>
              <a:defRPr kumimoji="0" lang="en-US" sz="1400" b="1"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1pPr>
            <a:lvl2pPr marL="0" indent="0" algn="ctr">
              <a:lnSpc>
                <a:spcPct val="105000"/>
              </a:lnSpc>
              <a:spcBef>
                <a:spcPts val="0"/>
              </a:spcBef>
              <a:buNone/>
              <a:defRPr kumimoji="0" lang="en-US" sz="1100" b="0"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2pPr>
          </a:lstStyle>
          <a:p>
            <a:pPr lvl="0"/>
            <a:r>
              <a:rPr lang="en-US"/>
              <a:t>Click to edit Master text styles</a:t>
            </a:r>
          </a:p>
          <a:p>
            <a:pPr lvl="1"/>
            <a:r>
              <a:rPr lang="en-US"/>
              <a:t>Second level</a:t>
            </a:r>
          </a:p>
        </p:txBody>
      </p:sp>
      <p:sp>
        <p:nvSpPr>
          <p:cNvPr id="111" name="Text Placeholder 110">
            <a:extLst>
              <a:ext uri="{FF2B5EF4-FFF2-40B4-BE49-F238E27FC236}">
                <a16:creationId xmlns:a16="http://schemas.microsoft.com/office/drawing/2014/main" id="{A206CE0A-C338-EE45-D424-5EB38D8D870A}"/>
              </a:ext>
            </a:extLst>
          </p:cNvPr>
          <p:cNvSpPr>
            <a:spLocks noGrp="1"/>
          </p:cNvSpPr>
          <p:nvPr>
            <p:ph type="body" sz="quarter" idx="32"/>
          </p:nvPr>
        </p:nvSpPr>
        <p:spPr>
          <a:xfrm>
            <a:off x="5259379" y="4936389"/>
            <a:ext cx="2048768" cy="612932"/>
          </a:xfrm>
          <a:custGeom>
            <a:avLst/>
            <a:gdLst>
              <a:gd name="connsiteX0" fmla="*/ 306466 w 2048768"/>
              <a:gd name="connsiteY0" fmla="*/ 0 h 612932"/>
              <a:gd name="connsiteX1" fmla="*/ 1742302 w 2048768"/>
              <a:gd name="connsiteY1" fmla="*/ 0 h 612932"/>
              <a:gd name="connsiteX2" fmla="*/ 2048768 w 2048768"/>
              <a:gd name="connsiteY2" fmla="*/ 306466 h 612932"/>
              <a:gd name="connsiteX3" fmla="*/ 1742302 w 2048768"/>
              <a:gd name="connsiteY3" fmla="*/ 612932 h 612932"/>
              <a:gd name="connsiteX4" fmla="*/ 306466 w 2048768"/>
              <a:gd name="connsiteY4" fmla="*/ 612932 h 612932"/>
              <a:gd name="connsiteX5" fmla="*/ 0 w 2048768"/>
              <a:gd name="connsiteY5" fmla="*/ 306466 h 612932"/>
              <a:gd name="connsiteX6" fmla="*/ 306466 w 2048768"/>
              <a:gd name="connsiteY6" fmla="*/ 0 h 61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8768" h="612932">
                <a:moveTo>
                  <a:pt x="306466" y="0"/>
                </a:moveTo>
                <a:lnTo>
                  <a:pt x="1742302" y="0"/>
                </a:lnTo>
                <a:cubicBezTo>
                  <a:pt x="1911558" y="0"/>
                  <a:pt x="2048768" y="137210"/>
                  <a:pt x="2048768" y="306466"/>
                </a:cubicBezTo>
                <a:cubicBezTo>
                  <a:pt x="2048768" y="475722"/>
                  <a:pt x="1911558" y="612932"/>
                  <a:pt x="1742302" y="612932"/>
                </a:cubicBezTo>
                <a:lnTo>
                  <a:pt x="306466" y="612932"/>
                </a:lnTo>
                <a:cubicBezTo>
                  <a:pt x="137210" y="612932"/>
                  <a:pt x="0" y="475722"/>
                  <a:pt x="0" y="306466"/>
                </a:cubicBezTo>
                <a:cubicBezTo>
                  <a:pt x="0" y="137210"/>
                  <a:pt x="137210" y="0"/>
                  <a:pt x="306466" y="0"/>
                </a:cubicBezTo>
                <a:close/>
              </a:path>
            </a:pathLst>
          </a:custGeom>
          <a:solidFill>
            <a:schemeClr val="accent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oAutofit/>
          </a:bodyPr>
          <a:lstStyle>
            <a:lvl1pPr marL="0" indent="0" algn="ctr">
              <a:lnSpc>
                <a:spcPct val="105000"/>
              </a:lnSpc>
              <a:spcBef>
                <a:spcPts val="0"/>
              </a:spcBef>
              <a:buNone/>
              <a:defRPr kumimoji="0" lang="en-US" sz="1400" b="1"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1pPr>
            <a:lvl2pPr marL="0" indent="0" algn="ctr">
              <a:lnSpc>
                <a:spcPct val="105000"/>
              </a:lnSpc>
              <a:spcBef>
                <a:spcPts val="0"/>
              </a:spcBef>
              <a:buNone/>
              <a:defRPr kumimoji="0" lang="en-US" sz="1100" b="0" i="0" u="none" strike="noStrike" kern="1200" cap="none" spc="0" normalizeH="0" baseline="0" dirty="0" smtClean="0">
                <a:ln>
                  <a:noFill/>
                </a:ln>
                <a:solidFill>
                  <a:schemeClr val="bg1"/>
                </a:solidFill>
                <a:effectLst/>
                <a:uFillTx/>
                <a:latin typeface="Inter" panose="02000503000000020004" pitchFamily="2" charset="0"/>
                <a:ea typeface="Inter" panose="02000503000000020004" pitchFamily="2" charset="0"/>
                <a:cs typeface="Calibri"/>
                <a:sym typeface="Calibri"/>
              </a:defRPr>
            </a:lvl2pPr>
          </a:lstStyle>
          <a:p>
            <a:pPr lvl="0"/>
            <a:r>
              <a:rPr lang="en-US"/>
              <a:t>Click to edit Master text styles</a:t>
            </a:r>
          </a:p>
          <a:p>
            <a:pPr lvl="1"/>
            <a:r>
              <a:rPr lang="en-US"/>
              <a:t>Second level</a:t>
            </a:r>
          </a:p>
        </p:txBody>
      </p:sp>
      <p:sp>
        <p:nvSpPr>
          <p:cNvPr id="58" name="TextBox 57">
            <a:extLst>
              <a:ext uri="{FF2B5EF4-FFF2-40B4-BE49-F238E27FC236}">
                <a16:creationId xmlns:a16="http://schemas.microsoft.com/office/drawing/2014/main" id="{1EB4EB9A-D58B-072D-4D06-8A2F6C0733EA}"/>
              </a:ext>
            </a:extLst>
          </p:cNvPr>
          <p:cNvSpPr txBox="1"/>
          <p:nvPr/>
        </p:nvSpPr>
        <p:spPr>
          <a:xfrm>
            <a:off x="8678635" y="3336186"/>
            <a:ext cx="1619022" cy="223844"/>
          </a:xfrm>
          <a:prstGeom prst="roundRect">
            <a:avLst>
              <a:gd name="adj" fmla="val 50000"/>
            </a:avLst>
          </a:prstGeom>
          <a:solidFill>
            <a:schemeClr val="tx1">
              <a:lumMod val="50000"/>
              <a:lumOff val="50000"/>
            </a:schemeClr>
          </a:solidFill>
          <a:ln>
            <a:solidFill>
              <a:schemeClr val="bg1"/>
            </a:solidFill>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noProof="0" dirty="0">
                <a:ln>
                  <a:noFill/>
                </a:ln>
                <a:solidFill>
                  <a:schemeClr val="bg1"/>
                </a:solidFill>
                <a:effectLst/>
                <a:uLnTx/>
                <a:uFillTx/>
                <a:latin typeface="Inter" panose="02000503000000020004" pitchFamily="2" charset="0"/>
                <a:ea typeface="Inter" panose="02000503000000020004" pitchFamily="2" charset="0"/>
              </a:rPr>
              <a:t>EXTENDED Team</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9" name="Text Placeholder 8">
            <a:extLst>
              <a:ext uri="{FF2B5EF4-FFF2-40B4-BE49-F238E27FC236}">
                <a16:creationId xmlns:a16="http://schemas.microsoft.com/office/drawing/2014/main" id="{4AF2EC42-41E0-F845-A032-332FB6CB293B}"/>
              </a:ext>
            </a:extLst>
          </p:cNvPr>
          <p:cNvSpPr>
            <a:spLocks noGrp="1"/>
          </p:cNvSpPr>
          <p:nvPr>
            <p:ph type="body" sz="quarter" idx="26"/>
          </p:nvPr>
        </p:nvSpPr>
        <p:spPr>
          <a:xfrm>
            <a:off x="609600" y="1362074"/>
            <a:ext cx="10972800" cy="1079900"/>
          </a:xfrm>
        </p:spPr>
        <p:txBody>
          <a:bodyPr>
            <a:noAutofit/>
          </a:bodyPr>
          <a:lstStyle>
            <a:lvl1pPr marL="0" indent="0">
              <a:lnSpc>
                <a:spcPct val="120000"/>
              </a:lnSpc>
              <a:buNone/>
              <a:defRPr/>
            </a:lvl1pPr>
            <a:lvl2pPr marL="182880" indent="-182880">
              <a:lnSpc>
                <a:spcPct val="120000"/>
              </a:lnSpc>
              <a:buFont typeface="System Font Regular"/>
              <a:buChar char="+"/>
              <a:defRPr/>
            </a:lvl2pPr>
          </a:lstStyle>
          <a:p>
            <a:pPr lvl="0"/>
            <a:r>
              <a:rPr lang="en-US"/>
              <a:t>Click to edit Master text styles</a:t>
            </a:r>
          </a:p>
          <a:p>
            <a:pPr lvl="1"/>
            <a:r>
              <a:rPr lang="en-US"/>
              <a:t>Second level</a:t>
            </a:r>
          </a:p>
        </p:txBody>
      </p:sp>
      <p:cxnSp>
        <p:nvCxnSpPr>
          <p:cNvPr id="10" name="Straight Connector 9">
            <a:extLst>
              <a:ext uri="{FF2B5EF4-FFF2-40B4-BE49-F238E27FC236}">
                <a16:creationId xmlns:a16="http://schemas.microsoft.com/office/drawing/2014/main" id="{2C62AB3C-9025-6B54-232F-A22C0F9783C6}"/>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cxnSp>
        <p:nvCxnSpPr>
          <p:cNvPr id="95" name="Straight Connector 94">
            <a:extLst>
              <a:ext uri="{FF2B5EF4-FFF2-40B4-BE49-F238E27FC236}">
                <a16:creationId xmlns:a16="http://schemas.microsoft.com/office/drawing/2014/main" id="{BE150506-77A2-EAB7-12D7-FBE24C2B4678}"/>
              </a:ext>
            </a:extLst>
          </p:cNvPr>
          <p:cNvCxnSpPr>
            <a:cxnSpLocks/>
          </p:cNvCxnSpPr>
          <p:nvPr/>
        </p:nvCxnSpPr>
        <p:spPr>
          <a:xfrm>
            <a:off x="4159126" y="3967947"/>
            <a:ext cx="0" cy="18313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96" name="Straight Connector 95">
            <a:extLst>
              <a:ext uri="{FF2B5EF4-FFF2-40B4-BE49-F238E27FC236}">
                <a16:creationId xmlns:a16="http://schemas.microsoft.com/office/drawing/2014/main" id="{BB3860E9-4656-FE5D-52C4-4795237AAC1A}"/>
              </a:ext>
            </a:extLst>
          </p:cNvPr>
          <p:cNvCxnSpPr>
            <a:cxnSpLocks/>
          </p:cNvCxnSpPr>
          <p:nvPr/>
        </p:nvCxnSpPr>
        <p:spPr>
          <a:xfrm>
            <a:off x="4159126" y="4764013"/>
            <a:ext cx="0" cy="172376"/>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97" name="Elbow Connector 96">
            <a:extLst>
              <a:ext uri="{FF2B5EF4-FFF2-40B4-BE49-F238E27FC236}">
                <a16:creationId xmlns:a16="http://schemas.microsoft.com/office/drawing/2014/main" id="{52E2EC18-09E5-CBDD-D539-461903410E08}"/>
              </a:ext>
            </a:extLst>
          </p:cNvPr>
          <p:cNvCxnSpPr>
            <a:cxnSpLocks/>
          </p:cNvCxnSpPr>
          <p:nvPr/>
        </p:nvCxnSpPr>
        <p:spPr>
          <a:xfrm rot="5400000">
            <a:off x="2990746" y="3776841"/>
            <a:ext cx="179273" cy="2154574"/>
          </a:xfrm>
          <a:prstGeom prst="bentConnector3">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98" name="Elbow Connector 97">
            <a:extLst>
              <a:ext uri="{FF2B5EF4-FFF2-40B4-BE49-F238E27FC236}">
                <a16:creationId xmlns:a16="http://schemas.microsoft.com/office/drawing/2014/main" id="{F5AC05FF-F1FB-25B4-8194-8A19EB2EDF95}"/>
              </a:ext>
            </a:extLst>
          </p:cNvPr>
          <p:cNvCxnSpPr>
            <a:cxnSpLocks/>
          </p:cNvCxnSpPr>
          <p:nvPr/>
        </p:nvCxnSpPr>
        <p:spPr>
          <a:xfrm rot="16200000" flipH="1">
            <a:off x="5145320" y="3776840"/>
            <a:ext cx="179273" cy="2154575"/>
          </a:xfrm>
          <a:prstGeom prst="bentConnector3">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22" name="Text Placeholder 121">
            <a:extLst>
              <a:ext uri="{FF2B5EF4-FFF2-40B4-BE49-F238E27FC236}">
                <a16:creationId xmlns:a16="http://schemas.microsoft.com/office/drawing/2014/main" id="{91BEEF08-7244-EC32-23D0-8B0F72EE44E5}"/>
              </a:ext>
            </a:extLst>
          </p:cNvPr>
          <p:cNvSpPr>
            <a:spLocks noGrp="1"/>
          </p:cNvSpPr>
          <p:nvPr>
            <p:ph type="body" sz="quarter" idx="33"/>
          </p:nvPr>
        </p:nvSpPr>
        <p:spPr>
          <a:xfrm>
            <a:off x="8683226" y="3334394"/>
            <a:ext cx="1616305" cy="236672"/>
          </a:xfrm>
          <a:custGeom>
            <a:avLst/>
            <a:gdLst>
              <a:gd name="connsiteX0" fmla="*/ 118336 w 1616305"/>
              <a:gd name="connsiteY0" fmla="*/ 0 h 236672"/>
              <a:gd name="connsiteX1" fmla="*/ 1497969 w 1616305"/>
              <a:gd name="connsiteY1" fmla="*/ 0 h 236672"/>
              <a:gd name="connsiteX2" fmla="*/ 1616305 w 1616305"/>
              <a:gd name="connsiteY2" fmla="*/ 118336 h 236672"/>
              <a:gd name="connsiteX3" fmla="*/ 1497969 w 1616305"/>
              <a:gd name="connsiteY3" fmla="*/ 236672 h 236672"/>
              <a:gd name="connsiteX4" fmla="*/ 118336 w 1616305"/>
              <a:gd name="connsiteY4" fmla="*/ 236672 h 236672"/>
              <a:gd name="connsiteX5" fmla="*/ 0 w 1616305"/>
              <a:gd name="connsiteY5" fmla="*/ 118336 h 236672"/>
              <a:gd name="connsiteX6" fmla="*/ 118336 w 1616305"/>
              <a:gd name="connsiteY6" fmla="*/ 0 h 23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6305" h="236672">
                <a:moveTo>
                  <a:pt x="118336" y="0"/>
                </a:moveTo>
                <a:lnTo>
                  <a:pt x="1497969" y="0"/>
                </a:lnTo>
                <a:cubicBezTo>
                  <a:pt x="1563324" y="0"/>
                  <a:pt x="1616305" y="52981"/>
                  <a:pt x="1616305" y="118336"/>
                </a:cubicBezTo>
                <a:cubicBezTo>
                  <a:pt x="1616305" y="183691"/>
                  <a:pt x="1563324" y="236672"/>
                  <a:pt x="1497969" y="236672"/>
                </a:cubicBezTo>
                <a:lnTo>
                  <a:pt x="118336" y="236672"/>
                </a:lnTo>
                <a:cubicBezTo>
                  <a:pt x="52981" y="236672"/>
                  <a:pt x="0" y="183691"/>
                  <a:pt x="0" y="118336"/>
                </a:cubicBezTo>
                <a:cubicBezTo>
                  <a:pt x="0" y="52981"/>
                  <a:pt x="52981" y="0"/>
                  <a:pt x="118336" y="0"/>
                </a:cubicBezTo>
                <a:close/>
              </a:path>
            </a:pathLst>
          </a:custGeom>
          <a:solidFill>
            <a:schemeClr val="tx1">
              <a:lumMod val="50000"/>
              <a:lumOff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chor="ctr" anchorCtr="0">
            <a:noAutofit/>
          </a:bodyPr>
          <a:lstStyle>
            <a:lvl1pPr marL="0" indent="0" algn="ctr">
              <a:buFont typeface="Arial" panose="020B0604020202020204" pitchFamily="34" charset="0"/>
              <a:buNone/>
              <a:defRPr sz="1100" b="1" cap="all" baseline="0">
                <a:solidFill>
                  <a:schemeClr val="bg1"/>
                </a:solidFill>
              </a:defRPr>
            </a:lvl1pPr>
            <a:lvl2pPr marL="182880" indent="0">
              <a:buNone/>
              <a:defRPr/>
            </a:lvl2pPr>
            <a:lvl3pPr marL="365760" indent="0">
              <a:buNone/>
              <a:defRPr/>
            </a:lvl3pPr>
            <a:lvl4pPr marL="548640" indent="0">
              <a:buNone/>
              <a:defRPr/>
            </a:lvl4pPr>
            <a:lvl5pPr marL="731520" indent="0">
              <a:buNone/>
              <a:defRPr/>
            </a:lvl5pPr>
          </a:lstStyle>
          <a:p>
            <a:pPr lvl="0"/>
            <a:r>
              <a:rPr lang="en-US"/>
              <a:t>Click to edit Master text styles</a:t>
            </a:r>
          </a:p>
        </p:txBody>
      </p:sp>
      <p:sp>
        <p:nvSpPr>
          <p:cNvPr id="4" name="Text Placeholder 6">
            <a:extLst>
              <a:ext uri="{FF2B5EF4-FFF2-40B4-BE49-F238E27FC236}">
                <a16:creationId xmlns:a16="http://schemas.microsoft.com/office/drawing/2014/main" id="{BAE8DA70-09F8-6A2A-D67E-0EC28EFFC966}"/>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42394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line Headline-short-text-box-table">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3873565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9" name="Text Placeholder 8">
            <a:extLst>
              <a:ext uri="{FF2B5EF4-FFF2-40B4-BE49-F238E27FC236}">
                <a16:creationId xmlns:a16="http://schemas.microsoft.com/office/drawing/2014/main" id="{4AF2EC42-41E0-F845-A032-332FB6CB293B}"/>
              </a:ext>
            </a:extLst>
          </p:cNvPr>
          <p:cNvSpPr>
            <a:spLocks noGrp="1"/>
          </p:cNvSpPr>
          <p:nvPr>
            <p:ph type="body" sz="quarter" idx="26"/>
          </p:nvPr>
        </p:nvSpPr>
        <p:spPr>
          <a:xfrm>
            <a:off x="609600" y="1362074"/>
            <a:ext cx="10972800" cy="1155216"/>
          </a:xfrm>
        </p:spPr>
        <p:txBody>
          <a:bodyPr>
            <a:noAutofit/>
          </a:bodyPr>
          <a:lstStyle>
            <a:lvl1pPr marL="0" indent="0">
              <a:lnSpc>
                <a:spcPct val="120000"/>
              </a:lnSpc>
              <a:buNone/>
              <a:defRPr/>
            </a:lvl1pPr>
            <a:lvl2pPr marL="182880" indent="-182880">
              <a:lnSpc>
                <a:spcPct val="120000"/>
              </a:lnSpc>
              <a:buFont typeface="System Font Regular"/>
              <a:buChar char="+"/>
              <a:defRPr/>
            </a:lvl2pPr>
          </a:lstStyle>
          <a:p>
            <a:pPr lvl="0"/>
            <a:r>
              <a:rPr lang="en-US"/>
              <a:t>Click to edit Master text styles</a:t>
            </a:r>
          </a:p>
          <a:p>
            <a:pPr lvl="1"/>
            <a:r>
              <a:rPr lang="en-US"/>
              <a:t>Second level</a:t>
            </a:r>
          </a:p>
        </p:txBody>
      </p:sp>
      <p:graphicFrame>
        <p:nvGraphicFramePr>
          <p:cNvPr id="7" name="think-cell data - do not delete" hidden="1">
            <a:extLst>
              <a:ext uri="{FF2B5EF4-FFF2-40B4-BE49-F238E27FC236}">
                <a16:creationId xmlns:a16="http://schemas.microsoft.com/office/drawing/2014/main" id="{59FAF820-D628-3D39-EA88-44504C5DEBFF}"/>
              </a:ext>
            </a:extLst>
          </p:cNvPr>
          <p:cNvGraphicFramePr>
            <a:graphicFrameLocks noChangeAspect="1"/>
          </p:cNvGraphicFramePr>
          <p:nvPr userDrawn="1">
            <p:custDataLst>
              <p:tags r:id="rId2"/>
            </p:custDataLst>
            <p:extLst>
              <p:ext uri="{D42A27DB-BD31-4B8C-83A1-F6EECF244321}">
                <p14:modId xmlns:p14="http://schemas.microsoft.com/office/powerpoint/2010/main" val="3873565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think-cell data - do not delete" hidden="1">
                        <a:extLst>
                          <a:ext uri="{FF2B5EF4-FFF2-40B4-BE49-F238E27FC236}">
                            <a16:creationId xmlns:a16="http://schemas.microsoft.com/office/drawing/2014/main" id="{59FAF820-D628-3D39-EA88-44504C5DEB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2C62AB3C-9025-6B54-232F-A22C0F9783C6}"/>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12" name="Content Placeholder 11">
            <a:extLst>
              <a:ext uri="{FF2B5EF4-FFF2-40B4-BE49-F238E27FC236}">
                <a16:creationId xmlns:a16="http://schemas.microsoft.com/office/drawing/2014/main" id="{2734282D-1AAF-1426-64D0-7668A843C3D7}"/>
              </a:ext>
            </a:extLst>
          </p:cNvPr>
          <p:cNvSpPr>
            <a:spLocks noGrp="1"/>
          </p:cNvSpPr>
          <p:nvPr>
            <p:ph sz="quarter" idx="27"/>
          </p:nvPr>
        </p:nvSpPr>
        <p:spPr>
          <a:xfrm>
            <a:off x="609600" y="2617611"/>
            <a:ext cx="10972800" cy="36337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94B5D5CB-C005-0C9B-7F67-98E2243DD25F}"/>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04481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line Headline-short-text-box-Process-flow">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2212258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AA8B1666-CA45-7758-7E5E-BF4301C6DCF5}"/>
              </a:ext>
            </a:extLst>
          </p:cNvPr>
          <p:cNvSpPr/>
          <p:nvPr/>
        </p:nvSpPr>
        <p:spPr>
          <a:xfrm>
            <a:off x="0" y="2590799"/>
            <a:ext cx="12192000" cy="3408677"/>
          </a:xfrm>
          <a:prstGeom prst="rect">
            <a:avLst/>
          </a:prstGeom>
          <a:solidFill>
            <a:schemeClr val="bg1">
              <a:lumMod val="9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nvGrpSpPr>
          <p:cNvPr id="15" name="Group 14">
            <a:extLst>
              <a:ext uri="{FF2B5EF4-FFF2-40B4-BE49-F238E27FC236}">
                <a16:creationId xmlns:a16="http://schemas.microsoft.com/office/drawing/2014/main" id="{65D5F7F3-55E0-CBD0-E5E7-D068F43A4BC4}"/>
              </a:ext>
            </a:extLst>
          </p:cNvPr>
          <p:cNvGrpSpPr/>
          <p:nvPr/>
        </p:nvGrpSpPr>
        <p:grpSpPr>
          <a:xfrm>
            <a:off x="483957" y="3212230"/>
            <a:ext cx="10713824" cy="2021482"/>
            <a:chOff x="483957" y="3212230"/>
            <a:chExt cx="10713824" cy="2021482"/>
          </a:xfrm>
        </p:grpSpPr>
        <p:grpSp>
          <p:nvGrpSpPr>
            <p:cNvPr id="45" name="Group 44">
              <a:extLst>
                <a:ext uri="{FF2B5EF4-FFF2-40B4-BE49-F238E27FC236}">
                  <a16:creationId xmlns:a16="http://schemas.microsoft.com/office/drawing/2014/main" id="{C48AEA7F-CCB7-C1DF-61DF-97FD0BFB7A2A}"/>
                </a:ext>
              </a:extLst>
            </p:cNvPr>
            <p:cNvGrpSpPr/>
            <p:nvPr/>
          </p:nvGrpSpPr>
          <p:grpSpPr>
            <a:xfrm>
              <a:off x="9157856" y="3212230"/>
              <a:ext cx="2039925" cy="2021482"/>
              <a:chOff x="8587440" y="3159918"/>
              <a:chExt cx="1837342" cy="1820730"/>
            </a:xfrm>
          </p:grpSpPr>
          <p:sp>
            <p:nvSpPr>
              <p:cNvPr id="49" name="Teardrop 48">
                <a:extLst>
                  <a:ext uri="{FF2B5EF4-FFF2-40B4-BE49-F238E27FC236}">
                    <a16:creationId xmlns:a16="http://schemas.microsoft.com/office/drawing/2014/main" id="{56B3C449-4E12-0310-251F-0522AD802743}"/>
                  </a:ext>
                </a:extLst>
              </p:cNvPr>
              <p:cNvSpPr/>
              <p:nvPr/>
            </p:nvSpPr>
            <p:spPr>
              <a:xfrm rot="2700000">
                <a:off x="8604052" y="3159918"/>
                <a:ext cx="1820730" cy="1820730"/>
              </a:xfrm>
              <a:prstGeom prst="teardrop">
                <a:avLst/>
              </a:prstGeom>
              <a:solidFill>
                <a:schemeClr val="accent6">
                  <a:lumMod val="75000"/>
                </a:schemeClr>
              </a:solidFill>
              <a:ln w="12700" cap="flat">
                <a:solidFill>
                  <a:schemeClr val="accent6">
                    <a:lumMod val="75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sp>
            <p:nvSpPr>
              <p:cNvPr id="50" name="Block Arc 49">
                <a:extLst>
                  <a:ext uri="{FF2B5EF4-FFF2-40B4-BE49-F238E27FC236}">
                    <a16:creationId xmlns:a16="http://schemas.microsoft.com/office/drawing/2014/main" id="{013CCC4C-A4A8-123F-8EE7-63C33AA96D0A}"/>
                  </a:ext>
                </a:extLst>
              </p:cNvPr>
              <p:cNvSpPr/>
              <p:nvPr/>
            </p:nvSpPr>
            <p:spPr>
              <a:xfrm rot="16200000">
                <a:off x="8575459" y="3175648"/>
                <a:ext cx="1813232" cy="1789269"/>
              </a:xfrm>
              <a:prstGeom prst="blockArc">
                <a:avLst>
                  <a:gd name="adj1" fmla="val 10830229"/>
                  <a:gd name="adj2" fmla="val 40749"/>
                  <a:gd name="adj3" fmla="val 13230"/>
                </a:avLst>
              </a:prstGeom>
              <a:solidFill>
                <a:schemeClr val="bg1">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grpSp>
        <p:grpSp>
          <p:nvGrpSpPr>
            <p:cNvPr id="39" name="Group 38">
              <a:extLst>
                <a:ext uri="{FF2B5EF4-FFF2-40B4-BE49-F238E27FC236}">
                  <a16:creationId xmlns:a16="http://schemas.microsoft.com/office/drawing/2014/main" id="{D6153DBD-D429-8846-C377-5450B730B318}"/>
                </a:ext>
              </a:extLst>
            </p:cNvPr>
            <p:cNvGrpSpPr/>
            <p:nvPr/>
          </p:nvGrpSpPr>
          <p:grpSpPr>
            <a:xfrm>
              <a:off x="6985530" y="3212230"/>
              <a:ext cx="2043407" cy="2021482"/>
              <a:chOff x="6558117" y="3159918"/>
              <a:chExt cx="1840478" cy="1820730"/>
            </a:xfrm>
          </p:grpSpPr>
          <p:sp>
            <p:nvSpPr>
              <p:cNvPr id="43" name="Teardrop 42">
                <a:extLst>
                  <a:ext uri="{FF2B5EF4-FFF2-40B4-BE49-F238E27FC236}">
                    <a16:creationId xmlns:a16="http://schemas.microsoft.com/office/drawing/2014/main" id="{9BA5A53F-37BF-CA15-02B3-B5F9B8606632}"/>
                  </a:ext>
                </a:extLst>
              </p:cNvPr>
              <p:cNvSpPr/>
              <p:nvPr/>
            </p:nvSpPr>
            <p:spPr>
              <a:xfrm rot="2700000">
                <a:off x="6577865" y="3159918"/>
                <a:ext cx="1820730" cy="1820730"/>
              </a:xfrm>
              <a:prstGeom prst="teardrop">
                <a:avLst/>
              </a:prstGeom>
              <a:solidFill>
                <a:schemeClr val="accent4"/>
              </a:solidFill>
              <a:ln w="12700" cap="flat">
                <a:solidFill>
                  <a:schemeClr val="accent4"/>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sp>
            <p:nvSpPr>
              <p:cNvPr id="44" name="Block Arc 43">
                <a:extLst>
                  <a:ext uri="{FF2B5EF4-FFF2-40B4-BE49-F238E27FC236}">
                    <a16:creationId xmlns:a16="http://schemas.microsoft.com/office/drawing/2014/main" id="{29AC22B8-819A-F4CA-9BC7-914DB2BBD96E}"/>
                  </a:ext>
                </a:extLst>
              </p:cNvPr>
              <p:cNvSpPr/>
              <p:nvPr/>
            </p:nvSpPr>
            <p:spPr>
              <a:xfrm rot="16200000">
                <a:off x="6546133" y="3175649"/>
                <a:ext cx="1813232" cy="1789268"/>
              </a:xfrm>
              <a:prstGeom prst="blockArc">
                <a:avLst>
                  <a:gd name="adj1" fmla="val 10830229"/>
                  <a:gd name="adj2" fmla="val 40749"/>
                  <a:gd name="adj3" fmla="val 13230"/>
                </a:avLst>
              </a:prstGeom>
              <a:solidFill>
                <a:schemeClr val="bg1">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grpSp>
        <p:grpSp>
          <p:nvGrpSpPr>
            <p:cNvPr id="33" name="Group 32">
              <a:extLst>
                <a:ext uri="{FF2B5EF4-FFF2-40B4-BE49-F238E27FC236}">
                  <a16:creationId xmlns:a16="http://schemas.microsoft.com/office/drawing/2014/main" id="{FC181A0B-B851-5721-E1F0-87E646C4D555}"/>
                </a:ext>
              </a:extLst>
            </p:cNvPr>
            <p:cNvGrpSpPr/>
            <p:nvPr/>
          </p:nvGrpSpPr>
          <p:grpSpPr>
            <a:xfrm>
              <a:off x="4822228" y="3212230"/>
              <a:ext cx="2034382" cy="2021482"/>
              <a:chOff x="4713273" y="3159917"/>
              <a:chExt cx="1832349" cy="1820730"/>
            </a:xfrm>
          </p:grpSpPr>
          <p:sp>
            <p:nvSpPr>
              <p:cNvPr id="37" name="Teardrop 36">
                <a:extLst>
                  <a:ext uri="{FF2B5EF4-FFF2-40B4-BE49-F238E27FC236}">
                    <a16:creationId xmlns:a16="http://schemas.microsoft.com/office/drawing/2014/main" id="{9C961FB4-E11F-F1F4-C0CB-8F7370F98F7C}"/>
                  </a:ext>
                </a:extLst>
              </p:cNvPr>
              <p:cNvSpPr/>
              <p:nvPr/>
            </p:nvSpPr>
            <p:spPr>
              <a:xfrm rot="2700000">
                <a:off x="4724892" y="3159917"/>
                <a:ext cx="1820730" cy="1820730"/>
              </a:xfrm>
              <a:prstGeom prst="teardrop">
                <a:avLst/>
              </a:prstGeom>
              <a:solidFill>
                <a:schemeClr val="accent3"/>
              </a:solidFill>
              <a:ln w="12700"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sp>
            <p:nvSpPr>
              <p:cNvPr id="38" name="Block Arc 37">
                <a:extLst>
                  <a:ext uri="{FF2B5EF4-FFF2-40B4-BE49-F238E27FC236}">
                    <a16:creationId xmlns:a16="http://schemas.microsoft.com/office/drawing/2014/main" id="{9076D018-2931-C6E0-2993-D23F6E608851}"/>
                  </a:ext>
                </a:extLst>
              </p:cNvPr>
              <p:cNvSpPr/>
              <p:nvPr/>
            </p:nvSpPr>
            <p:spPr>
              <a:xfrm rot="16200000">
                <a:off x="4701291" y="3175649"/>
                <a:ext cx="1813232" cy="1789268"/>
              </a:xfrm>
              <a:prstGeom prst="blockArc">
                <a:avLst>
                  <a:gd name="adj1" fmla="val 10830229"/>
                  <a:gd name="adj2" fmla="val 40749"/>
                  <a:gd name="adj3" fmla="val 13230"/>
                </a:avLst>
              </a:prstGeom>
              <a:solidFill>
                <a:schemeClr val="bg1">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grpSp>
        <p:grpSp>
          <p:nvGrpSpPr>
            <p:cNvPr id="27" name="Group 26">
              <a:extLst>
                <a:ext uri="{FF2B5EF4-FFF2-40B4-BE49-F238E27FC236}">
                  <a16:creationId xmlns:a16="http://schemas.microsoft.com/office/drawing/2014/main" id="{1F472278-F51A-945C-4827-9D2935A3381E}"/>
                </a:ext>
              </a:extLst>
            </p:cNvPr>
            <p:cNvGrpSpPr/>
            <p:nvPr/>
          </p:nvGrpSpPr>
          <p:grpSpPr>
            <a:xfrm>
              <a:off x="2654957" y="3212230"/>
              <a:ext cx="2038350" cy="2021482"/>
              <a:chOff x="2764157" y="3159918"/>
              <a:chExt cx="1835923" cy="1820730"/>
            </a:xfrm>
          </p:grpSpPr>
          <p:sp>
            <p:nvSpPr>
              <p:cNvPr id="31" name="Teardrop 30">
                <a:extLst>
                  <a:ext uri="{FF2B5EF4-FFF2-40B4-BE49-F238E27FC236}">
                    <a16:creationId xmlns:a16="http://schemas.microsoft.com/office/drawing/2014/main" id="{469B308C-F5A7-9641-B791-6EAADB04E9BD}"/>
                  </a:ext>
                </a:extLst>
              </p:cNvPr>
              <p:cNvSpPr/>
              <p:nvPr/>
            </p:nvSpPr>
            <p:spPr>
              <a:xfrm rot="2700000">
                <a:off x="2779350" y="3159918"/>
                <a:ext cx="1820730" cy="1820730"/>
              </a:xfrm>
              <a:prstGeom prst="teardrop">
                <a:avLst/>
              </a:prstGeom>
              <a:solidFill>
                <a:schemeClr val="accent5"/>
              </a:solid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sp>
            <p:nvSpPr>
              <p:cNvPr id="32" name="Block Arc 31">
                <a:extLst>
                  <a:ext uri="{FF2B5EF4-FFF2-40B4-BE49-F238E27FC236}">
                    <a16:creationId xmlns:a16="http://schemas.microsoft.com/office/drawing/2014/main" id="{5DA46B0D-D1A7-9E0C-E273-7E95A90EA371}"/>
                  </a:ext>
                </a:extLst>
              </p:cNvPr>
              <p:cNvSpPr/>
              <p:nvPr/>
            </p:nvSpPr>
            <p:spPr>
              <a:xfrm rot="16200000">
                <a:off x="2752175" y="3175649"/>
                <a:ext cx="1813232" cy="1789268"/>
              </a:xfrm>
              <a:prstGeom prst="blockArc">
                <a:avLst>
                  <a:gd name="adj1" fmla="val 10830229"/>
                  <a:gd name="adj2" fmla="val 40749"/>
                  <a:gd name="adj3" fmla="val 13230"/>
                </a:avLst>
              </a:prstGeom>
              <a:solidFill>
                <a:schemeClr val="bg1">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grpSp>
        <p:grpSp>
          <p:nvGrpSpPr>
            <p:cNvPr id="21" name="Group 20">
              <a:extLst>
                <a:ext uri="{FF2B5EF4-FFF2-40B4-BE49-F238E27FC236}">
                  <a16:creationId xmlns:a16="http://schemas.microsoft.com/office/drawing/2014/main" id="{F66DBF91-A94F-1612-67EA-CAC9A2019F6E}"/>
                </a:ext>
              </a:extLst>
            </p:cNvPr>
            <p:cNvGrpSpPr/>
            <p:nvPr/>
          </p:nvGrpSpPr>
          <p:grpSpPr>
            <a:xfrm>
              <a:off x="483957" y="3212230"/>
              <a:ext cx="2042079" cy="2021482"/>
              <a:chOff x="774936" y="3159918"/>
              <a:chExt cx="1839282" cy="1820730"/>
            </a:xfrm>
          </p:grpSpPr>
          <p:sp>
            <p:nvSpPr>
              <p:cNvPr id="25" name="Teardrop 24">
                <a:extLst>
                  <a:ext uri="{FF2B5EF4-FFF2-40B4-BE49-F238E27FC236}">
                    <a16:creationId xmlns:a16="http://schemas.microsoft.com/office/drawing/2014/main" id="{53B4619F-D0AF-D703-D60B-B300993B2B76}"/>
                  </a:ext>
                </a:extLst>
              </p:cNvPr>
              <p:cNvSpPr/>
              <p:nvPr/>
            </p:nvSpPr>
            <p:spPr>
              <a:xfrm rot="2700000">
                <a:off x="793488" y="3159918"/>
                <a:ext cx="1820730" cy="1820730"/>
              </a:xfrm>
              <a:prstGeom prst="teardrop">
                <a:avLst/>
              </a:prstGeom>
              <a:solidFill>
                <a:schemeClr val="tx2"/>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sp>
            <p:nvSpPr>
              <p:cNvPr id="26" name="Block Arc 25">
                <a:extLst>
                  <a:ext uri="{FF2B5EF4-FFF2-40B4-BE49-F238E27FC236}">
                    <a16:creationId xmlns:a16="http://schemas.microsoft.com/office/drawing/2014/main" id="{265EC3A4-3282-D416-0236-DCA8B46047AB}"/>
                  </a:ext>
                </a:extLst>
              </p:cNvPr>
              <p:cNvSpPr/>
              <p:nvPr/>
            </p:nvSpPr>
            <p:spPr>
              <a:xfrm rot="16200000">
                <a:off x="762954" y="3175647"/>
                <a:ext cx="1813232" cy="1789268"/>
              </a:xfrm>
              <a:prstGeom prst="blockArc">
                <a:avLst>
                  <a:gd name="adj1" fmla="val 10830229"/>
                  <a:gd name="adj2" fmla="val 40749"/>
                  <a:gd name="adj3" fmla="val 13230"/>
                </a:avLst>
              </a:prstGeom>
              <a:solidFill>
                <a:schemeClr val="bg1">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000000"/>
                  </a:solidFill>
                  <a:effectLst/>
                  <a:uFillTx/>
                  <a:latin typeface="+mn-lt"/>
                  <a:ea typeface="+mn-ea"/>
                  <a:cs typeface="+mn-cs"/>
                  <a:sym typeface="Calibri"/>
                </a:endParaRPr>
              </a:p>
            </p:txBody>
          </p:sp>
        </p:grpSp>
      </p:gr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9" name="Text Placeholder 8">
            <a:extLst>
              <a:ext uri="{FF2B5EF4-FFF2-40B4-BE49-F238E27FC236}">
                <a16:creationId xmlns:a16="http://schemas.microsoft.com/office/drawing/2014/main" id="{4AF2EC42-41E0-F845-A032-332FB6CB293B}"/>
              </a:ext>
            </a:extLst>
          </p:cNvPr>
          <p:cNvSpPr>
            <a:spLocks noGrp="1"/>
          </p:cNvSpPr>
          <p:nvPr>
            <p:ph type="body" sz="quarter" idx="26"/>
          </p:nvPr>
        </p:nvSpPr>
        <p:spPr>
          <a:xfrm>
            <a:off x="609600" y="1362073"/>
            <a:ext cx="10972800" cy="1574761"/>
          </a:xfrm>
        </p:spPr>
        <p:txBody>
          <a:bodyPr>
            <a:noAutofit/>
          </a:bodyPr>
          <a:lstStyle>
            <a:lvl1pPr marL="0" indent="0">
              <a:lnSpc>
                <a:spcPct val="120000"/>
              </a:lnSpc>
              <a:buNone/>
              <a:defRPr/>
            </a:lvl1pPr>
            <a:lvl2pPr marL="182880" indent="-182880">
              <a:lnSpc>
                <a:spcPct val="120000"/>
              </a:lnSpc>
              <a:buFont typeface="System Font Regular"/>
              <a:buChar char="+"/>
              <a:defRPr/>
            </a:lvl2pPr>
          </a:lstStyle>
          <a:p>
            <a:pPr lvl="0"/>
            <a:r>
              <a:rPr lang="en-US"/>
              <a:t>Click to edit Master text styles</a:t>
            </a:r>
          </a:p>
          <a:p>
            <a:pPr lvl="1"/>
            <a:r>
              <a:rPr lang="en-US"/>
              <a:t>Second level</a:t>
            </a:r>
          </a:p>
        </p:txBody>
      </p:sp>
      <p:cxnSp>
        <p:nvCxnSpPr>
          <p:cNvPr id="10" name="Straight Connector 9">
            <a:extLst>
              <a:ext uri="{FF2B5EF4-FFF2-40B4-BE49-F238E27FC236}">
                <a16:creationId xmlns:a16="http://schemas.microsoft.com/office/drawing/2014/main" id="{2C62AB3C-9025-6B54-232F-A22C0F9783C6}"/>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12" name="Text Placeholder 11">
            <a:extLst>
              <a:ext uri="{FF2B5EF4-FFF2-40B4-BE49-F238E27FC236}">
                <a16:creationId xmlns:a16="http://schemas.microsoft.com/office/drawing/2014/main" id="{3579139E-9D66-8402-6523-D48906D5FC4D}"/>
              </a:ext>
            </a:extLst>
          </p:cNvPr>
          <p:cNvSpPr>
            <a:spLocks noGrp="1"/>
          </p:cNvSpPr>
          <p:nvPr>
            <p:ph type="body" sz="quarter" idx="27"/>
          </p:nvPr>
        </p:nvSpPr>
        <p:spPr>
          <a:xfrm>
            <a:off x="785813" y="3905250"/>
            <a:ext cx="1868487" cy="935038"/>
          </a:xfrm>
        </p:spPr>
        <p:txBody>
          <a:bodyPr/>
          <a:lstStyle>
            <a:lvl1pPr marL="0" indent="0" algn="ctr">
              <a:spcBef>
                <a:spcPts val="0"/>
              </a:spcBef>
              <a:buNone/>
              <a:defRPr kumimoji="0" lang="en-US" sz="1400" b="1"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1pPr>
            <a:lvl2pPr marL="0" indent="0" algn="ctr">
              <a:spcBef>
                <a:spcPts val="30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a:p>
            <a:pPr lvl="1"/>
            <a:r>
              <a:rPr lang="en-US"/>
              <a:t>Second level</a:t>
            </a:r>
          </a:p>
          <a:p>
            <a:pPr lvl="2"/>
            <a:r>
              <a:rPr lang="en-US"/>
              <a:t>Third level</a:t>
            </a:r>
          </a:p>
        </p:txBody>
      </p:sp>
      <p:sp>
        <p:nvSpPr>
          <p:cNvPr id="52" name="Text Placeholder 11">
            <a:extLst>
              <a:ext uri="{FF2B5EF4-FFF2-40B4-BE49-F238E27FC236}">
                <a16:creationId xmlns:a16="http://schemas.microsoft.com/office/drawing/2014/main" id="{276D83EF-794B-CE96-1D3B-8524FA331916}"/>
              </a:ext>
            </a:extLst>
          </p:cNvPr>
          <p:cNvSpPr>
            <a:spLocks noGrp="1"/>
          </p:cNvSpPr>
          <p:nvPr>
            <p:ph type="body" sz="quarter" idx="28"/>
          </p:nvPr>
        </p:nvSpPr>
        <p:spPr>
          <a:xfrm>
            <a:off x="2915828" y="3905250"/>
            <a:ext cx="1868487" cy="935038"/>
          </a:xfrm>
        </p:spPr>
        <p:txBody>
          <a:bodyPr/>
          <a:lstStyle>
            <a:lvl1pPr marL="0" indent="0" algn="ctr">
              <a:spcBef>
                <a:spcPts val="0"/>
              </a:spcBef>
              <a:buNone/>
              <a:defRPr kumimoji="0" lang="en-US" sz="1400" b="1"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1pPr>
            <a:lvl2pPr marL="0" indent="0" algn="ctr">
              <a:spcBef>
                <a:spcPts val="30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a:p>
            <a:pPr lvl="1"/>
            <a:r>
              <a:rPr lang="en-US"/>
              <a:t>Second level</a:t>
            </a:r>
          </a:p>
          <a:p>
            <a:pPr lvl="2"/>
            <a:r>
              <a:rPr lang="en-US"/>
              <a:t>Third level</a:t>
            </a:r>
          </a:p>
        </p:txBody>
      </p:sp>
      <p:sp>
        <p:nvSpPr>
          <p:cNvPr id="54" name="Text Placeholder 11">
            <a:extLst>
              <a:ext uri="{FF2B5EF4-FFF2-40B4-BE49-F238E27FC236}">
                <a16:creationId xmlns:a16="http://schemas.microsoft.com/office/drawing/2014/main" id="{D223F41F-6243-93BB-E1FA-4642E7006AB9}"/>
              </a:ext>
            </a:extLst>
          </p:cNvPr>
          <p:cNvSpPr>
            <a:spLocks noGrp="1"/>
          </p:cNvSpPr>
          <p:nvPr>
            <p:ph type="body" sz="quarter" idx="29"/>
          </p:nvPr>
        </p:nvSpPr>
        <p:spPr>
          <a:xfrm>
            <a:off x="5078115" y="3905250"/>
            <a:ext cx="1868487" cy="935038"/>
          </a:xfrm>
        </p:spPr>
        <p:txBody>
          <a:bodyPr/>
          <a:lstStyle>
            <a:lvl1pPr marL="0" indent="0" algn="ctr">
              <a:spcBef>
                <a:spcPts val="0"/>
              </a:spcBef>
              <a:buNone/>
              <a:defRPr kumimoji="0" lang="en-US" sz="1400" b="1"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1pPr>
            <a:lvl2pPr marL="0" indent="0" algn="ctr">
              <a:spcBef>
                <a:spcPts val="30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a:p>
            <a:pPr lvl="1"/>
            <a:r>
              <a:rPr lang="en-US"/>
              <a:t>Second level</a:t>
            </a:r>
          </a:p>
          <a:p>
            <a:pPr lvl="2"/>
            <a:r>
              <a:rPr lang="en-US"/>
              <a:t>Third level</a:t>
            </a:r>
          </a:p>
        </p:txBody>
      </p:sp>
      <p:sp>
        <p:nvSpPr>
          <p:cNvPr id="56" name="Text Placeholder 11">
            <a:extLst>
              <a:ext uri="{FF2B5EF4-FFF2-40B4-BE49-F238E27FC236}">
                <a16:creationId xmlns:a16="http://schemas.microsoft.com/office/drawing/2014/main" id="{80F96349-582C-DC4D-AF04-F4F608EC9A1C}"/>
              </a:ext>
            </a:extLst>
          </p:cNvPr>
          <p:cNvSpPr>
            <a:spLocks noGrp="1"/>
          </p:cNvSpPr>
          <p:nvPr>
            <p:ph type="body" sz="quarter" idx="30"/>
          </p:nvPr>
        </p:nvSpPr>
        <p:spPr>
          <a:xfrm>
            <a:off x="7261918" y="3905250"/>
            <a:ext cx="1868487" cy="935038"/>
          </a:xfrm>
        </p:spPr>
        <p:txBody>
          <a:bodyPr/>
          <a:lstStyle>
            <a:lvl1pPr marL="0" indent="0" algn="ctr">
              <a:spcBef>
                <a:spcPts val="0"/>
              </a:spcBef>
              <a:buNone/>
              <a:defRPr kumimoji="0" lang="en-US" sz="1400" b="1"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1pPr>
            <a:lvl2pPr marL="0" indent="0" algn="ctr">
              <a:spcBef>
                <a:spcPts val="30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a:p>
            <a:pPr lvl="1"/>
            <a:r>
              <a:rPr lang="en-US"/>
              <a:t>Second level</a:t>
            </a:r>
          </a:p>
          <a:p>
            <a:pPr lvl="2"/>
            <a:r>
              <a:rPr lang="en-US"/>
              <a:t>Third level</a:t>
            </a:r>
          </a:p>
        </p:txBody>
      </p:sp>
      <p:sp>
        <p:nvSpPr>
          <p:cNvPr id="57" name="Text Placeholder 11">
            <a:extLst>
              <a:ext uri="{FF2B5EF4-FFF2-40B4-BE49-F238E27FC236}">
                <a16:creationId xmlns:a16="http://schemas.microsoft.com/office/drawing/2014/main" id="{FF87A25B-E5EC-54A0-DA52-398EC863BFAF}"/>
              </a:ext>
            </a:extLst>
          </p:cNvPr>
          <p:cNvSpPr>
            <a:spLocks noGrp="1"/>
          </p:cNvSpPr>
          <p:nvPr>
            <p:ph type="body" sz="quarter" idx="31"/>
          </p:nvPr>
        </p:nvSpPr>
        <p:spPr>
          <a:xfrm>
            <a:off x="9434963" y="3905250"/>
            <a:ext cx="1868487" cy="935038"/>
          </a:xfrm>
        </p:spPr>
        <p:txBody>
          <a:bodyPr/>
          <a:lstStyle>
            <a:lvl1pPr marL="0" indent="0" algn="ctr">
              <a:spcBef>
                <a:spcPts val="0"/>
              </a:spcBef>
              <a:buNone/>
              <a:defRPr kumimoji="0" lang="en-US" sz="1400" b="1"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1pPr>
            <a:lvl2pPr marL="0" indent="0" algn="ctr">
              <a:spcBef>
                <a:spcPts val="30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a:p>
            <a:pPr lvl="1"/>
            <a:r>
              <a:rPr lang="en-US"/>
              <a:t>Second level</a:t>
            </a:r>
          </a:p>
          <a:p>
            <a:pPr lvl="2"/>
            <a:r>
              <a:rPr lang="en-US"/>
              <a:t>Third level</a:t>
            </a:r>
          </a:p>
        </p:txBody>
      </p:sp>
      <p:sp>
        <p:nvSpPr>
          <p:cNvPr id="4" name="Text Placeholder 6">
            <a:extLst>
              <a:ext uri="{FF2B5EF4-FFF2-40B4-BE49-F238E27FC236}">
                <a16:creationId xmlns:a16="http://schemas.microsoft.com/office/drawing/2014/main" id="{658CD254-03FE-5027-37E9-AFAE4E481060}"/>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046736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line Headline-short-text-box-Process-flow-alt">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14477751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4" name="Text Placeholder 11">
            <a:extLst>
              <a:ext uri="{FF2B5EF4-FFF2-40B4-BE49-F238E27FC236}">
                <a16:creationId xmlns:a16="http://schemas.microsoft.com/office/drawing/2014/main" id="{D35B7C7C-C033-6C39-EA2D-5D6667DD016B}"/>
              </a:ext>
            </a:extLst>
          </p:cNvPr>
          <p:cNvSpPr>
            <a:spLocks noGrp="1"/>
          </p:cNvSpPr>
          <p:nvPr>
            <p:ph type="body" sz="quarter" idx="49" hasCustomPrompt="1"/>
          </p:nvPr>
        </p:nvSpPr>
        <p:spPr>
          <a:xfrm>
            <a:off x="9904903" y="4215664"/>
            <a:ext cx="1868487" cy="1711793"/>
          </a:xfrm>
        </p:spPr>
        <p:txBody>
          <a:bodyPr/>
          <a:lstStyle>
            <a:lvl1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1pPr>
            <a:lvl2pPr marL="0" indent="0" algn="ctr">
              <a:spcBef>
                <a:spcPts val="0"/>
              </a:spcBef>
              <a:buNone/>
              <a:defRPr kumimoji="0" lang="en-US" sz="1200" b="0" i="0" u="none" strike="noStrike" cap="none" spc="0" normalizeH="0" baseline="0" dirty="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marL="0" marR="0" lvl="0" indent="0" algn="ctr" defTabSz="914400" rtl="0" eaLnBrk="1" latinLnBrk="0" hangingPunct="1">
              <a:lnSpc>
                <a:spcPct val="120000"/>
              </a:lnSpc>
              <a:spcBef>
                <a:spcPts val="600"/>
              </a:spcBef>
              <a:spcAft>
                <a:spcPts val="0"/>
              </a:spcAft>
              <a:buClr>
                <a:schemeClr val="tx1"/>
              </a:buClr>
              <a:buSzPct val="100000"/>
              <a:buFont typeface="Arial" panose="020B0604020202020204" pitchFamily="34" charset="0"/>
              <a:buNone/>
              <a:tabLst/>
            </a:pPr>
            <a:r>
              <a:rPr lang="en-US"/>
              <a:t>First level</a:t>
            </a:r>
          </a:p>
          <a:p>
            <a:pPr lvl="1"/>
            <a:r>
              <a:rPr lang="en-US"/>
              <a:t>Second level</a:t>
            </a:r>
          </a:p>
        </p:txBody>
      </p:sp>
      <p:sp>
        <p:nvSpPr>
          <p:cNvPr id="173" name="Text Placeholder 11">
            <a:extLst>
              <a:ext uri="{FF2B5EF4-FFF2-40B4-BE49-F238E27FC236}">
                <a16:creationId xmlns:a16="http://schemas.microsoft.com/office/drawing/2014/main" id="{30C512E6-A748-3E68-02DC-D518AF89F94F}"/>
              </a:ext>
            </a:extLst>
          </p:cNvPr>
          <p:cNvSpPr>
            <a:spLocks noGrp="1"/>
          </p:cNvSpPr>
          <p:nvPr>
            <p:ph type="body" sz="quarter" idx="48" hasCustomPrompt="1"/>
          </p:nvPr>
        </p:nvSpPr>
        <p:spPr>
          <a:xfrm>
            <a:off x="8012095" y="4215664"/>
            <a:ext cx="1868487" cy="1711793"/>
          </a:xfrm>
        </p:spPr>
        <p:txBody>
          <a:bodyPr/>
          <a:lstStyle>
            <a:lvl1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1pPr>
            <a:lvl2pPr marL="0" indent="0" algn="ctr">
              <a:spcBef>
                <a:spcPts val="0"/>
              </a:spcBef>
              <a:buNone/>
              <a:defRPr kumimoji="0" lang="en-US" sz="1200" b="0" i="0" u="none" strike="noStrike" cap="none" spc="0" normalizeH="0" baseline="0" dirty="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marL="0" marR="0" lvl="0" indent="0" algn="ctr" defTabSz="914400" rtl="0" eaLnBrk="1" latinLnBrk="0" hangingPunct="1">
              <a:lnSpc>
                <a:spcPct val="120000"/>
              </a:lnSpc>
              <a:spcBef>
                <a:spcPts val="600"/>
              </a:spcBef>
              <a:spcAft>
                <a:spcPts val="0"/>
              </a:spcAft>
              <a:buClr>
                <a:schemeClr val="tx1"/>
              </a:buClr>
              <a:buSzPct val="100000"/>
              <a:buFont typeface="Arial" panose="020B0604020202020204" pitchFamily="34" charset="0"/>
              <a:buNone/>
              <a:tabLst/>
            </a:pPr>
            <a:r>
              <a:rPr lang="en-US"/>
              <a:t>First level</a:t>
            </a:r>
          </a:p>
          <a:p>
            <a:pPr lvl="1"/>
            <a:r>
              <a:rPr lang="en-US"/>
              <a:t>Second level</a:t>
            </a:r>
          </a:p>
        </p:txBody>
      </p:sp>
      <p:sp>
        <p:nvSpPr>
          <p:cNvPr id="172" name="Text Placeholder 11">
            <a:extLst>
              <a:ext uri="{FF2B5EF4-FFF2-40B4-BE49-F238E27FC236}">
                <a16:creationId xmlns:a16="http://schemas.microsoft.com/office/drawing/2014/main" id="{B8E3773B-3FEA-B3D7-CD08-6C40044DE887}"/>
              </a:ext>
            </a:extLst>
          </p:cNvPr>
          <p:cNvSpPr>
            <a:spLocks noGrp="1"/>
          </p:cNvSpPr>
          <p:nvPr>
            <p:ph type="body" sz="quarter" idx="47" hasCustomPrompt="1"/>
          </p:nvPr>
        </p:nvSpPr>
        <p:spPr>
          <a:xfrm>
            <a:off x="6096427" y="4215664"/>
            <a:ext cx="1868487" cy="1711793"/>
          </a:xfrm>
        </p:spPr>
        <p:txBody>
          <a:bodyPr/>
          <a:lstStyle>
            <a:lvl1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1pPr>
            <a:lvl2pPr marL="0" indent="0" algn="ctr">
              <a:spcBef>
                <a:spcPts val="0"/>
              </a:spcBef>
              <a:buNone/>
              <a:defRPr kumimoji="0" lang="en-US" sz="1200" b="0" i="0" u="none" strike="noStrike" cap="none" spc="0" normalizeH="0" baseline="0" dirty="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marL="0" marR="0" lvl="0" indent="0" algn="ctr" defTabSz="914400" rtl="0" eaLnBrk="1" latinLnBrk="0" hangingPunct="1">
              <a:lnSpc>
                <a:spcPct val="120000"/>
              </a:lnSpc>
              <a:spcBef>
                <a:spcPts val="600"/>
              </a:spcBef>
              <a:spcAft>
                <a:spcPts val="0"/>
              </a:spcAft>
              <a:buClr>
                <a:schemeClr val="tx1"/>
              </a:buClr>
              <a:buSzPct val="100000"/>
              <a:buFont typeface="Arial" panose="020B0604020202020204" pitchFamily="34" charset="0"/>
              <a:buNone/>
              <a:tabLst/>
            </a:pPr>
            <a:r>
              <a:rPr lang="en-US"/>
              <a:t>First level</a:t>
            </a:r>
          </a:p>
          <a:p>
            <a:pPr lvl="1"/>
            <a:r>
              <a:rPr lang="en-US"/>
              <a:t>Second level</a:t>
            </a:r>
          </a:p>
        </p:txBody>
      </p:sp>
      <p:sp>
        <p:nvSpPr>
          <p:cNvPr id="171" name="Text Placeholder 11">
            <a:extLst>
              <a:ext uri="{FF2B5EF4-FFF2-40B4-BE49-F238E27FC236}">
                <a16:creationId xmlns:a16="http://schemas.microsoft.com/office/drawing/2014/main" id="{CF1327F0-5A77-4C6B-1438-A1F1915EDA32}"/>
              </a:ext>
            </a:extLst>
          </p:cNvPr>
          <p:cNvSpPr>
            <a:spLocks noGrp="1"/>
          </p:cNvSpPr>
          <p:nvPr>
            <p:ph type="body" sz="quarter" idx="46" hasCustomPrompt="1"/>
          </p:nvPr>
        </p:nvSpPr>
        <p:spPr>
          <a:xfrm>
            <a:off x="4199047" y="4215664"/>
            <a:ext cx="1868487" cy="1711793"/>
          </a:xfrm>
        </p:spPr>
        <p:txBody>
          <a:bodyPr/>
          <a:lstStyle>
            <a:lvl1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1pPr>
            <a:lvl2pPr marL="0" indent="0" algn="ctr">
              <a:spcBef>
                <a:spcPts val="0"/>
              </a:spcBef>
              <a:buNone/>
              <a:defRPr kumimoji="0" lang="en-US" sz="1200" b="0" i="0" u="none" strike="noStrike" cap="none" spc="0" normalizeH="0" baseline="0" dirty="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marL="0" marR="0" lvl="0" indent="0" algn="ctr" defTabSz="914400" rtl="0" eaLnBrk="1" latinLnBrk="0" hangingPunct="1">
              <a:lnSpc>
                <a:spcPct val="120000"/>
              </a:lnSpc>
              <a:spcBef>
                <a:spcPts val="600"/>
              </a:spcBef>
              <a:spcAft>
                <a:spcPts val="0"/>
              </a:spcAft>
              <a:buClr>
                <a:schemeClr val="tx1"/>
              </a:buClr>
              <a:buSzPct val="100000"/>
              <a:buFont typeface="Arial" panose="020B0604020202020204" pitchFamily="34" charset="0"/>
              <a:buNone/>
              <a:tabLst/>
            </a:pPr>
            <a:r>
              <a:rPr lang="en-US"/>
              <a:t>First level</a:t>
            </a:r>
          </a:p>
          <a:p>
            <a:pPr lvl="1"/>
            <a:r>
              <a:rPr lang="en-US"/>
              <a:t>Second level</a:t>
            </a:r>
          </a:p>
        </p:txBody>
      </p:sp>
      <p:sp>
        <p:nvSpPr>
          <p:cNvPr id="170" name="Text Placeholder 11">
            <a:extLst>
              <a:ext uri="{FF2B5EF4-FFF2-40B4-BE49-F238E27FC236}">
                <a16:creationId xmlns:a16="http://schemas.microsoft.com/office/drawing/2014/main" id="{5C0F2D34-93AC-A481-7EDD-D3970A2DCCBB}"/>
              </a:ext>
            </a:extLst>
          </p:cNvPr>
          <p:cNvSpPr>
            <a:spLocks noGrp="1"/>
          </p:cNvSpPr>
          <p:nvPr>
            <p:ph type="body" sz="quarter" idx="45" hasCustomPrompt="1"/>
          </p:nvPr>
        </p:nvSpPr>
        <p:spPr>
          <a:xfrm>
            <a:off x="2294943" y="4215664"/>
            <a:ext cx="1868487" cy="1711793"/>
          </a:xfrm>
        </p:spPr>
        <p:txBody>
          <a:bodyPr/>
          <a:lstStyle>
            <a:lvl1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1pPr>
            <a:lvl2pPr marL="0" indent="0" algn="ctr">
              <a:spcBef>
                <a:spcPts val="0"/>
              </a:spcBef>
              <a:buNone/>
              <a:defRPr kumimoji="0" lang="en-US" sz="1200" b="0" i="0" u="none" strike="noStrike" cap="none" spc="0" normalizeH="0" baseline="0" dirty="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marL="0" marR="0" lvl="0" indent="0" algn="ctr" defTabSz="914400" rtl="0" eaLnBrk="1" latinLnBrk="0" hangingPunct="1">
              <a:lnSpc>
                <a:spcPct val="120000"/>
              </a:lnSpc>
              <a:spcBef>
                <a:spcPts val="600"/>
              </a:spcBef>
              <a:spcAft>
                <a:spcPts val="0"/>
              </a:spcAft>
              <a:buClr>
                <a:schemeClr val="tx1"/>
              </a:buClr>
              <a:buSzPct val="100000"/>
              <a:buFont typeface="Arial" panose="020B0604020202020204" pitchFamily="34" charset="0"/>
              <a:buNone/>
              <a:tabLst/>
            </a:pPr>
            <a:r>
              <a:rPr lang="en-US"/>
              <a:t>First level</a:t>
            </a:r>
          </a:p>
          <a:p>
            <a:pPr lvl="1"/>
            <a:r>
              <a:rPr lang="en-US"/>
              <a:t>Second level</a:t>
            </a:r>
          </a:p>
        </p:txBody>
      </p:sp>
      <p:sp>
        <p:nvSpPr>
          <p:cNvPr id="11" name="Rectangle 10">
            <a:extLst>
              <a:ext uri="{FF2B5EF4-FFF2-40B4-BE49-F238E27FC236}">
                <a16:creationId xmlns:a16="http://schemas.microsoft.com/office/drawing/2014/main" id="{31E0D7CC-9318-4FDF-072A-3411CA16C8EB}"/>
              </a:ext>
            </a:extLst>
          </p:cNvPr>
          <p:cNvSpPr/>
          <p:nvPr/>
        </p:nvSpPr>
        <p:spPr>
          <a:xfrm>
            <a:off x="25400" y="3301647"/>
            <a:ext cx="12192000" cy="274320"/>
          </a:xfrm>
          <a:prstGeom prst="rect">
            <a:avLst/>
          </a:prstGeom>
          <a:solidFill>
            <a:schemeClr val="bg1">
              <a:lumMod val="8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nvGrpSpPr>
          <p:cNvPr id="158" name="Group 157">
            <a:extLst>
              <a:ext uri="{FF2B5EF4-FFF2-40B4-BE49-F238E27FC236}">
                <a16:creationId xmlns:a16="http://schemas.microsoft.com/office/drawing/2014/main" id="{4D318C53-DA34-D076-6AD8-31E79FD62BA1}"/>
              </a:ext>
            </a:extLst>
          </p:cNvPr>
          <p:cNvGrpSpPr/>
          <p:nvPr userDrawn="1"/>
        </p:nvGrpSpPr>
        <p:grpSpPr>
          <a:xfrm>
            <a:off x="10753154" y="3341813"/>
            <a:ext cx="180462" cy="180462"/>
            <a:chOff x="1210056" y="3825874"/>
            <a:chExt cx="201168" cy="201168"/>
          </a:xfrm>
        </p:grpSpPr>
        <p:sp>
          <p:nvSpPr>
            <p:cNvPr id="159" name="Oval 158">
              <a:extLst>
                <a:ext uri="{FF2B5EF4-FFF2-40B4-BE49-F238E27FC236}">
                  <a16:creationId xmlns:a16="http://schemas.microsoft.com/office/drawing/2014/main" id="{497D1EF3-371B-3476-C3D4-5AA2C6979461}"/>
                </a:ext>
              </a:extLst>
            </p:cNvPr>
            <p:cNvSpPr/>
            <p:nvPr/>
          </p:nvSpPr>
          <p:spPr>
            <a:xfrm>
              <a:off x="1210056" y="3825874"/>
              <a:ext cx="201168" cy="201168"/>
            </a:xfrm>
            <a:prstGeom prst="ellipse">
              <a:avLst/>
            </a:prstGeom>
            <a:solidFill>
              <a:srgbClr val="FFFFFF">
                <a:alpha val="8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60" name="Oval 159">
              <a:extLst>
                <a:ext uri="{FF2B5EF4-FFF2-40B4-BE49-F238E27FC236}">
                  <a16:creationId xmlns:a16="http://schemas.microsoft.com/office/drawing/2014/main" id="{15F2F492-9493-6529-B5B6-9F631355AD94}"/>
                </a:ext>
              </a:extLst>
            </p:cNvPr>
            <p:cNvSpPr/>
            <p:nvPr/>
          </p:nvSpPr>
          <p:spPr>
            <a:xfrm>
              <a:off x="1264920" y="3880738"/>
              <a:ext cx="91440" cy="91440"/>
            </a:xfrm>
            <a:prstGeom prst="ellipse">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grpSp>
        <p:nvGrpSpPr>
          <p:cNvPr id="161" name="Group 160">
            <a:extLst>
              <a:ext uri="{FF2B5EF4-FFF2-40B4-BE49-F238E27FC236}">
                <a16:creationId xmlns:a16="http://schemas.microsoft.com/office/drawing/2014/main" id="{CE9CB660-85EC-ABF5-1205-161032C1C429}"/>
              </a:ext>
            </a:extLst>
          </p:cNvPr>
          <p:cNvGrpSpPr/>
          <p:nvPr userDrawn="1"/>
        </p:nvGrpSpPr>
        <p:grpSpPr>
          <a:xfrm>
            <a:off x="10759164" y="3341813"/>
            <a:ext cx="180462" cy="180462"/>
            <a:chOff x="1210056" y="3825874"/>
            <a:chExt cx="201168" cy="201168"/>
          </a:xfrm>
        </p:grpSpPr>
        <p:sp>
          <p:nvSpPr>
            <p:cNvPr id="162" name="Oval 161">
              <a:extLst>
                <a:ext uri="{FF2B5EF4-FFF2-40B4-BE49-F238E27FC236}">
                  <a16:creationId xmlns:a16="http://schemas.microsoft.com/office/drawing/2014/main" id="{8981E3BB-6875-2DFE-9C50-A898765C2D13}"/>
                </a:ext>
              </a:extLst>
            </p:cNvPr>
            <p:cNvSpPr/>
            <p:nvPr/>
          </p:nvSpPr>
          <p:spPr>
            <a:xfrm>
              <a:off x="1210056" y="3825874"/>
              <a:ext cx="201168" cy="201168"/>
            </a:xfrm>
            <a:prstGeom prst="ellipse">
              <a:avLst/>
            </a:prstGeom>
            <a:solidFill>
              <a:srgbClr val="FFFFFF">
                <a:alpha val="8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63" name="Oval 162">
              <a:extLst>
                <a:ext uri="{FF2B5EF4-FFF2-40B4-BE49-F238E27FC236}">
                  <a16:creationId xmlns:a16="http://schemas.microsoft.com/office/drawing/2014/main" id="{2758EE75-D25E-6EBC-D0D5-4DA1C728B8E9}"/>
                </a:ext>
              </a:extLst>
            </p:cNvPr>
            <p:cNvSpPr/>
            <p:nvPr/>
          </p:nvSpPr>
          <p:spPr>
            <a:xfrm>
              <a:off x="1264920" y="3880738"/>
              <a:ext cx="91440" cy="91440"/>
            </a:xfrm>
            <a:prstGeom prst="ellipse">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cxnSp>
        <p:nvCxnSpPr>
          <p:cNvPr id="164" name="Straight Connector 163">
            <a:extLst>
              <a:ext uri="{FF2B5EF4-FFF2-40B4-BE49-F238E27FC236}">
                <a16:creationId xmlns:a16="http://schemas.microsoft.com/office/drawing/2014/main" id="{260E22D3-7747-25E6-AFE2-E994DDEF87F1}"/>
              </a:ext>
            </a:extLst>
          </p:cNvPr>
          <p:cNvCxnSpPr>
            <a:cxnSpLocks/>
            <a:stCxn id="162" idx="4"/>
          </p:cNvCxnSpPr>
          <p:nvPr userDrawn="1"/>
        </p:nvCxnSpPr>
        <p:spPr>
          <a:xfrm>
            <a:off x="10849395" y="3522275"/>
            <a:ext cx="0" cy="307871"/>
          </a:xfrm>
          <a:prstGeom prst="line">
            <a:avLst/>
          </a:prstGeom>
          <a:noFill/>
          <a:ln w="12700" cap="flat">
            <a:solidFill>
              <a:schemeClr val="accent5">
                <a:lumMod val="75000"/>
              </a:schemeClr>
            </a:solidFill>
            <a:prstDash val="solid"/>
            <a:miter lim="800000"/>
            <a:tailEnd type="oval" w="sm" len="sm"/>
          </a:ln>
          <a:effectLst/>
          <a:sp3d/>
        </p:spPr>
        <p:style>
          <a:lnRef idx="0">
            <a:scrgbClr r="0" g="0" b="0"/>
          </a:lnRef>
          <a:fillRef idx="0">
            <a:scrgbClr r="0" g="0" b="0"/>
          </a:fillRef>
          <a:effectRef idx="0">
            <a:scrgbClr r="0" g="0" b="0"/>
          </a:effectRef>
          <a:fontRef idx="none"/>
        </p:style>
      </p:cxnSp>
      <p:sp>
        <p:nvSpPr>
          <p:cNvPr id="166" name="Text Placeholder 11">
            <a:extLst>
              <a:ext uri="{FF2B5EF4-FFF2-40B4-BE49-F238E27FC236}">
                <a16:creationId xmlns:a16="http://schemas.microsoft.com/office/drawing/2014/main" id="{06900C45-99B2-5B3A-D8D4-CF96B24C31BA}"/>
              </a:ext>
            </a:extLst>
          </p:cNvPr>
          <p:cNvSpPr>
            <a:spLocks noGrp="1"/>
          </p:cNvSpPr>
          <p:nvPr>
            <p:ph type="body" sz="quarter" idx="43"/>
          </p:nvPr>
        </p:nvSpPr>
        <p:spPr>
          <a:xfrm>
            <a:off x="9900599" y="3861477"/>
            <a:ext cx="1868487" cy="271300"/>
          </a:xfrm>
        </p:spPr>
        <p:txBody>
          <a:bodyPr/>
          <a:lstStyle>
            <a:lvl1pPr marL="0" indent="0" algn="ctr">
              <a:spcBef>
                <a:spcPts val="0"/>
              </a:spcBef>
              <a:buNone/>
              <a:defRPr kumimoji="0" lang="en-US" sz="1400" b="1" i="0" u="none" strike="noStrike" cap="none" spc="0" normalizeH="0" baseline="0" dirty="0" smtClean="0">
                <a:ln>
                  <a:noFill/>
                </a:ln>
                <a:solidFill>
                  <a:schemeClr val="accent5">
                    <a:lumMod val="75000"/>
                  </a:schemeClr>
                </a:solidFill>
                <a:effectLst/>
                <a:uFillTx/>
                <a:latin typeface="Inter" panose="02000503000000020004" pitchFamily="2" charset="0"/>
                <a:ea typeface="Inter" panose="02000503000000020004" pitchFamily="2" charset="0"/>
                <a:cs typeface="Arial"/>
                <a:sym typeface="Arial"/>
              </a:defRPr>
            </a:lvl1pPr>
            <a:lvl2pPr marL="0" indent="0" algn="ctr">
              <a:spcBef>
                <a:spcPts val="60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p:txBody>
      </p:sp>
      <p:grpSp>
        <p:nvGrpSpPr>
          <p:cNvPr id="150" name="Group 149">
            <a:extLst>
              <a:ext uri="{FF2B5EF4-FFF2-40B4-BE49-F238E27FC236}">
                <a16:creationId xmlns:a16="http://schemas.microsoft.com/office/drawing/2014/main" id="{52E8DD59-C3F7-B599-2D2C-A5BB81CF3548}"/>
              </a:ext>
            </a:extLst>
          </p:cNvPr>
          <p:cNvGrpSpPr/>
          <p:nvPr userDrawn="1"/>
        </p:nvGrpSpPr>
        <p:grpSpPr>
          <a:xfrm>
            <a:off x="8859809" y="3341813"/>
            <a:ext cx="180462" cy="180462"/>
            <a:chOff x="1210056" y="3825874"/>
            <a:chExt cx="201168" cy="201168"/>
          </a:xfrm>
        </p:grpSpPr>
        <p:sp>
          <p:nvSpPr>
            <p:cNvPr id="151" name="Oval 150">
              <a:extLst>
                <a:ext uri="{FF2B5EF4-FFF2-40B4-BE49-F238E27FC236}">
                  <a16:creationId xmlns:a16="http://schemas.microsoft.com/office/drawing/2014/main" id="{8F6298E1-B3C2-839F-99D3-23995B19E969}"/>
                </a:ext>
              </a:extLst>
            </p:cNvPr>
            <p:cNvSpPr/>
            <p:nvPr/>
          </p:nvSpPr>
          <p:spPr>
            <a:xfrm>
              <a:off x="1210056" y="3825874"/>
              <a:ext cx="201168" cy="201168"/>
            </a:xfrm>
            <a:prstGeom prst="ellipse">
              <a:avLst/>
            </a:prstGeom>
            <a:solidFill>
              <a:srgbClr val="FFFFFF">
                <a:alpha val="8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52" name="Oval 151">
              <a:extLst>
                <a:ext uri="{FF2B5EF4-FFF2-40B4-BE49-F238E27FC236}">
                  <a16:creationId xmlns:a16="http://schemas.microsoft.com/office/drawing/2014/main" id="{B45E4B2C-6393-0BD1-129E-690B2B8E6E38}"/>
                </a:ext>
              </a:extLst>
            </p:cNvPr>
            <p:cNvSpPr/>
            <p:nvPr/>
          </p:nvSpPr>
          <p:spPr>
            <a:xfrm>
              <a:off x="1264920" y="3880738"/>
              <a:ext cx="91440" cy="91440"/>
            </a:xfrm>
            <a:prstGeom prst="ellipse">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grpSp>
        <p:nvGrpSpPr>
          <p:cNvPr id="23" name="Group 22">
            <a:extLst>
              <a:ext uri="{FF2B5EF4-FFF2-40B4-BE49-F238E27FC236}">
                <a16:creationId xmlns:a16="http://schemas.microsoft.com/office/drawing/2014/main" id="{03B991A3-E1E4-D4A5-D53B-FBDA07393BFE}"/>
              </a:ext>
            </a:extLst>
          </p:cNvPr>
          <p:cNvGrpSpPr/>
          <p:nvPr/>
        </p:nvGrpSpPr>
        <p:grpSpPr>
          <a:xfrm>
            <a:off x="8865819" y="3341813"/>
            <a:ext cx="180462" cy="180462"/>
            <a:chOff x="1210056" y="3825874"/>
            <a:chExt cx="201168" cy="201168"/>
          </a:xfrm>
        </p:grpSpPr>
        <p:sp>
          <p:nvSpPr>
            <p:cNvPr id="36" name="Oval 35">
              <a:extLst>
                <a:ext uri="{FF2B5EF4-FFF2-40B4-BE49-F238E27FC236}">
                  <a16:creationId xmlns:a16="http://schemas.microsoft.com/office/drawing/2014/main" id="{D42CFE27-7B5E-135E-9E02-9315FA38789F}"/>
                </a:ext>
              </a:extLst>
            </p:cNvPr>
            <p:cNvSpPr/>
            <p:nvPr/>
          </p:nvSpPr>
          <p:spPr>
            <a:xfrm>
              <a:off x="1210056" y="3825874"/>
              <a:ext cx="201168" cy="201168"/>
            </a:xfrm>
            <a:prstGeom prst="ellipse">
              <a:avLst/>
            </a:prstGeom>
            <a:solidFill>
              <a:srgbClr val="FFFFFF">
                <a:alpha val="8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40" name="Oval 39">
              <a:extLst>
                <a:ext uri="{FF2B5EF4-FFF2-40B4-BE49-F238E27FC236}">
                  <a16:creationId xmlns:a16="http://schemas.microsoft.com/office/drawing/2014/main" id="{C55D7089-7A8C-D654-6B9B-5B4FD6C4ED2E}"/>
                </a:ext>
              </a:extLst>
            </p:cNvPr>
            <p:cNvSpPr/>
            <p:nvPr/>
          </p:nvSpPr>
          <p:spPr>
            <a:xfrm>
              <a:off x="1264920" y="3880738"/>
              <a:ext cx="91440" cy="91440"/>
            </a:xfrm>
            <a:prstGeom prst="ellipse">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cxnSp>
        <p:nvCxnSpPr>
          <p:cNvPr id="24" name="Straight Connector 23">
            <a:extLst>
              <a:ext uri="{FF2B5EF4-FFF2-40B4-BE49-F238E27FC236}">
                <a16:creationId xmlns:a16="http://schemas.microsoft.com/office/drawing/2014/main" id="{F88A1E4C-C22D-5E81-F328-2912999E367D}"/>
              </a:ext>
            </a:extLst>
          </p:cNvPr>
          <p:cNvCxnSpPr>
            <a:cxnSpLocks/>
            <a:stCxn id="36" idx="4"/>
          </p:cNvCxnSpPr>
          <p:nvPr userDrawn="1"/>
        </p:nvCxnSpPr>
        <p:spPr>
          <a:xfrm>
            <a:off x="8956050" y="3522275"/>
            <a:ext cx="0" cy="307871"/>
          </a:xfrm>
          <a:prstGeom prst="line">
            <a:avLst/>
          </a:prstGeom>
          <a:noFill/>
          <a:ln w="12700" cap="flat">
            <a:solidFill>
              <a:schemeClr val="accent5">
                <a:lumMod val="75000"/>
              </a:schemeClr>
            </a:solidFill>
            <a:prstDash val="solid"/>
            <a:miter lim="800000"/>
            <a:tailEnd type="oval" w="sm" len="sm"/>
          </a:ln>
          <a:effectLst/>
          <a:sp3d/>
        </p:spPr>
        <p:style>
          <a:lnRef idx="0">
            <a:scrgbClr r="0" g="0" b="0"/>
          </a:lnRef>
          <a:fillRef idx="0">
            <a:scrgbClr r="0" g="0" b="0"/>
          </a:fillRef>
          <a:effectRef idx="0">
            <a:scrgbClr r="0" g="0" b="0"/>
          </a:effectRef>
          <a:fontRef idx="none"/>
        </p:style>
      </p:cxnSp>
      <p:sp>
        <p:nvSpPr>
          <p:cNvPr id="156" name="Text Placeholder 11">
            <a:extLst>
              <a:ext uri="{FF2B5EF4-FFF2-40B4-BE49-F238E27FC236}">
                <a16:creationId xmlns:a16="http://schemas.microsoft.com/office/drawing/2014/main" id="{AC0C39F3-090C-785F-5360-6F874F39D72D}"/>
              </a:ext>
            </a:extLst>
          </p:cNvPr>
          <p:cNvSpPr>
            <a:spLocks noGrp="1"/>
          </p:cNvSpPr>
          <p:nvPr>
            <p:ph type="body" sz="quarter" idx="41"/>
          </p:nvPr>
        </p:nvSpPr>
        <p:spPr>
          <a:xfrm>
            <a:off x="8007254" y="3861477"/>
            <a:ext cx="1868487" cy="271300"/>
          </a:xfrm>
        </p:spPr>
        <p:txBody>
          <a:bodyPr/>
          <a:lstStyle>
            <a:lvl1pPr marL="0" indent="0" algn="ctr">
              <a:spcBef>
                <a:spcPts val="0"/>
              </a:spcBef>
              <a:buNone/>
              <a:defRPr kumimoji="0" lang="en-US" sz="1400" b="1" i="0" u="none" strike="noStrike" cap="none" spc="0" normalizeH="0" baseline="0" dirty="0" smtClean="0">
                <a:ln>
                  <a:noFill/>
                </a:ln>
                <a:solidFill>
                  <a:schemeClr val="accent6">
                    <a:lumMod val="75000"/>
                  </a:schemeClr>
                </a:solidFill>
                <a:effectLst/>
                <a:uFillTx/>
                <a:latin typeface="Inter" panose="02000503000000020004" pitchFamily="2" charset="0"/>
                <a:ea typeface="Inter" panose="02000503000000020004" pitchFamily="2" charset="0"/>
                <a:cs typeface="Arial"/>
                <a:sym typeface="Arial"/>
              </a:defRPr>
            </a:lvl1pPr>
            <a:lvl2pPr marL="0" indent="0" algn="ctr">
              <a:spcBef>
                <a:spcPts val="60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p:txBody>
      </p:sp>
      <p:cxnSp>
        <p:nvCxnSpPr>
          <p:cNvPr id="140" name="Straight Connector 139">
            <a:extLst>
              <a:ext uri="{FF2B5EF4-FFF2-40B4-BE49-F238E27FC236}">
                <a16:creationId xmlns:a16="http://schemas.microsoft.com/office/drawing/2014/main" id="{03807FB6-C2AC-A0BF-32FC-A7C75E81349A}"/>
              </a:ext>
            </a:extLst>
          </p:cNvPr>
          <p:cNvCxnSpPr>
            <a:cxnSpLocks/>
          </p:cNvCxnSpPr>
          <p:nvPr userDrawn="1"/>
        </p:nvCxnSpPr>
        <p:spPr>
          <a:xfrm>
            <a:off x="7050064" y="3522275"/>
            <a:ext cx="0" cy="307871"/>
          </a:xfrm>
          <a:prstGeom prst="line">
            <a:avLst/>
          </a:prstGeom>
          <a:noFill/>
          <a:ln w="12700" cap="flat">
            <a:solidFill>
              <a:schemeClr val="accent4"/>
            </a:solidFill>
            <a:prstDash val="solid"/>
            <a:miter lim="800000"/>
            <a:tailEnd type="oval" w="sm" len="sm"/>
          </a:ln>
          <a:effectLst/>
          <a:sp3d/>
        </p:spPr>
        <p:style>
          <a:lnRef idx="0">
            <a:scrgbClr r="0" g="0" b="0"/>
          </a:lnRef>
          <a:fillRef idx="0">
            <a:scrgbClr r="0" g="0" b="0"/>
          </a:fillRef>
          <a:effectRef idx="0">
            <a:scrgbClr r="0" g="0" b="0"/>
          </a:effectRef>
          <a:fontRef idx="none"/>
        </p:style>
      </p:cxnSp>
      <p:grpSp>
        <p:nvGrpSpPr>
          <p:cNvPr id="141" name="Group 140">
            <a:extLst>
              <a:ext uri="{FF2B5EF4-FFF2-40B4-BE49-F238E27FC236}">
                <a16:creationId xmlns:a16="http://schemas.microsoft.com/office/drawing/2014/main" id="{2672C7C2-6B46-35DA-030A-6AA64DB72D66}"/>
              </a:ext>
            </a:extLst>
          </p:cNvPr>
          <p:cNvGrpSpPr/>
          <p:nvPr userDrawn="1"/>
        </p:nvGrpSpPr>
        <p:grpSpPr>
          <a:xfrm>
            <a:off x="6948258" y="3341813"/>
            <a:ext cx="180462" cy="180462"/>
            <a:chOff x="1210056" y="3825874"/>
            <a:chExt cx="201168" cy="201168"/>
          </a:xfrm>
        </p:grpSpPr>
        <p:sp>
          <p:nvSpPr>
            <p:cNvPr id="142" name="Oval 141">
              <a:extLst>
                <a:ext uri="{FF2B5EF4-FFF2-40B4-BE49-F238E27FC236}">
                  <a16:creationId xmlns:a16="http://schemas.microsoft.com/office/drawing/2014/main" id="{70D89FE8-2215-BCE4-3721-3FE9CA259095}"/>
                </a:ext>
              </a:extLst>
            </p:cNvPr>
            <p:cNvSpPr/>
            <p:nvPr/>
          </p:nvSpPr>
          <p:spPr>
            <a:xfrm>
              <a:off x="1210056" y="3825874"/>
              <a:ext cx="201168" cy="201168"/>
            </a:xfrm>
            <a:prstGeom prst="ellipse">
              <a:avLst/>
            </a:prstGeom>
            <a:solidFill>
              <a:srgbClr val="FFFFFF">
                <a:alpha val="8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43" name="Oval 142">
              <a:extLst>
                <a:ext uri="{FF2B5EF4-FFF2-40B4-BE49-F238E27FC236}">
                  <a16:creationId xmlns:a16="http://schemas.microsoft.com/office/drawing/2014/main" id="{795E28D3-42F6-13F6-2DD5-4A898094657B}"/>
                </a:ext>
              </a:extLst>
            </p:cNvPr>
            <p:cNvSpPr/>
            <p:nvPr/>
          </p:nvSpPr>
          <p:spPr>
            <a:xfrm>
              <a:off x="1264920" y="3880738"/>
              <a:ext cx="91440" cy="91440"/>
            </a:xfrm>
            <a:prstGeom prst="ellipse">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sp>
        <p:nvSpPr>
          <p:cNvPr id="144" name="Freeform 143">
            <a:extLst>
              <a:ext uri="{FF2B5EF4-FFF2-40B4-BE49-F238E27FC236}">
                <a16:creationId xmlns:a16="http://schemas.microsoft.com/office/drawing/2014/main" id="{91985A95-1F91-B6F4-309C-3D6C283FD064}"/>
              </a:ext>
            </a:extLst>
          </p:cNvPr>
          <p:cNvSpPr/>
          <p:nvPr userDrawn="1"/>
        </p:nvSpPr>
        <p:spPr>
          <a:xfrm rot="10800000">
            <a:off x="6730884" y="2664654"/>
            <a:ext cx="615210" cy="750359"/>
          </a:xfrm>
          <a:custGeom>
            <a:avLst/>
            <a:gdLst>
              <a:gd name="connsiteX0" fmla="*/ 342900 w 685800"/>
              <a:gd name="connsiteY0" fmla="*/ 836455 h 836455"/>
              <a:gd name="connsiteX1" fmla="*/ 0 w 685800"/>
              <a:gd name="connsiteY1" fmla="*/ 493555 h 836455"/>
              <a:gd name="connsiteX2" fmla="*/ 209428 w 685800"/>
              <a:gd name="connsiteY2" fmla="*/ 177602 h 836455"/>
              <a:gd name="connsiteX3" fmla="*/ 246580 w 685800"/>
              <a:gd name="connsiteY3" fmla="*/ 166069 h 836455"/>
              <a:gd name="connsiteX4" fmla="*/ 342900 w 685800"/>
              <a:gd name="connsiteY4" fmla="*/ 0 h 836455"/>
              <a:gd name="connsiteX5" fmla="*/ 439220 w 685800"/>
              <a:gd name="connsiteY5" fmla="*/ 166069 h 836455"/>
              <a:gd name="connsiteX6" fmla="*/ 476372 w 685800"/>
              <a:gd name="connsiteY6" fmla="*/ 177602 h 836455"/>
              <a:gd name="connsiteX7" fmla="*/ 685800 w 685800"/>
              <a:gd name="connsiteY7" fmla="*/ 493555 h 836455"/>
              <a:gd name="connsiteX8" fmla="*/ 342900 w 685800"/>
              <a:gd name="connsiteY8" fmla="*/ 836455 h 8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 h="836455">
                <a:moveTo>
                  <a:pt x="342900" y="836455"/>
                </a:moveTo>
                <a:cubicBezTo>
                  <a:pt x="153522" y="836455"/>
                  <a:pt x="0" y="682933"/>
                  <a:pt x="0" y="493555"/>
                </a:cubicBezTo>
                <a:cubicBezTo>
                  <a:pt x="0" y="351522"/>
                  <a:pt x="86356" y="229657"/>
                  <a:pt x="209428" y="177602"/>
                </a:cubicBezTo>
                <a:lnTo>
                  <a:pt x="246580" y="166069"/>
                </a:lnTo>
                <a:lnTo>
                  <a:pt x="342900" y="0"/>
                </a:lnTo>
                <a:lnTo>
                  <a:pt x="439220" y="166069"/>
                </a:lnTo>
                <a:lnTo>
                  <a:pt x="476372" y="177602"/>
                </a:lnTo>
                <a:cubicBezTo>
                  <a:pt x="599444" y="229657"/>
                  <a:pt x="685800" y="351522"/>
                  <a:pt x="685800" y="493555"/>
                </a:cubicBezTo>
                <a:cubicBezTo>
                  <a:pt x="685800" y="682933"/>
                  <a:pt x="532278" y="836455"/>
                  <a:pt x="342900" y="836455"/>
                </a:cubicBezTo>
                <a:close/>
              </a:path>
            </a:pathLst>
          </a:cu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45" name="Text Placeholder 144">
            <a:extLst>
              <a:ext uri="{FF2B5EF4-FFF2-40B4-BE49-F238E27FC236}">
                <a16:creationId xmlns:a16="http://schemas.microsoft.com/office/drawing/2014/main" id="{ED6A16C1-946E-D35F-579B-E89D16BEBD4B}"/>
              </a:ext>
            </a:extLst>
          </p:cNvPr>
          <p:cNvSpPr>
            <a:spLocks noGrp="1"/>
          </p:cNvSpPr>
          <p:nvPr>
            <p:ph type="body" sz="quarter" idx="36" hasCustomPrompt="1"/>
          </p:nvPr>
        </p:nvSpPr>
        <p:spPr>
          <a:xfrm>
            <a:off x="6787029" y="2723344"/>
            <a:ext cx="502920" cy="502920"/>
          </a:xfrm>
          <a:custGeom>
            <a:avLst/>
            <a:gdLst>
              <a:gd name="connsiteX0" fmla="*/ 237744 w 475488"/>
              <a:gd name="connsiteY0" fmla="*/ 0 h 519348"/>
              <a:gd name="connsiteX1" fmla="*/ 475488 w 475488"/>
              <a:gd name="connsiteY1" fmla="*/ 259674 h 519348"/>
              <a:gd name="connsiteX2" fmla="*/ 237744 w 475488"/>
              <a:gd name="connsiteY2" fmla="*/ 519348 h 519348"/>
              <a:gd name="connsiteX3" fmla="*/ 0 w 475488"/>
              <a:gd name="connsiteY3" fmla="*/ 259674 h 519348"/>
              <a:gd name="connsiteX4" fmla="*/ 237744 w 475488"/>
              <a:gd name="connsiteY4" fmla="*/ 0 h 519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88" h="519348">
                <a:moveTo>
                  <a:pt x="237744" y="0"/>
                </a:moveTo>
                <a:cubicBezTo>
                  <a:pt x="369046" y="0"/>
                  <a:pt x="475488" y="116260"/>
                  <a:pt x="475488" y="259674"/>
                </a:cubicBezTo>
                <a:cubicBezTo>
                  <a:pt x="475488" y="403088"/>
                  <a:pt x="369046" y="519348"/>
                  <a:pt x="237744" y="519348"/>
                </a:cubicBezTo>
                <a:cubicBezTo>
                  <a:pt x="106442" y="519348"/>
                  <a:pt x="0" y="403088"/>
                  <a:pt x="0" y="259674"/>
                </a:cubicBezTo>
                <a:cubicBezTo>
                  <a:pt x="0" y="116260"/>
                  <a:pt x="106442" y="0"/>
                  <a:pt x="237744" y="0"/>
                </a:cubicBezTo>
                <a:close/>
              </a:path>
            </a:pathLst>
          </a:cu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chor="ctr" anchorCtr="0">
            <a:noAutofit/>
          </a:bodyPr>
          <a:lstStyle>
            <a:lvl1pPr marL="0" indent="0" algn="ctr">
              <a:buNone/>
              <a:defRPr sz="1800" b="1">
                <a:solidFill>
                  <a:schemeClr val="accent4"/>
                </a:solidFill>
              </a:defRPr>
            </a:lvl1pPr>
          </a:lstStyle>
          <a:p>
            <a:pPr lvl="0"/>
            <a:r>
              <a:rPr lang="en-US"/>
              <a:t>#</a:t>
            </a:r>
          </a:p>
        </p:txBody>
      </p:sp>
      <p:sp>
        <p:nvSpPr>
          <p:cNvPr id="147" name="Text Placeholder 11">
            <a:extLst>
              <a:ext uri="{FF2B5EF4-FFF2-40B4-BE49-F238E27FC236}">
                <a16:creationId xmlns:a16="http://schemas.microsoft.com/office/drawing/2014/main" id="{8B9717DC-DA40-785B-9022-988E01BAD21A}"/>
              </a:ext>
            </a:extLst>
          </p:cNvPr>
          <p:cNvSpPr>
            <a:spLocks noGrp="1"/>
          </p:cNvSpPr>
          <p:nvPr>
            <p:ph type="body" sz="quarter" idx="38"/>
          </p:nvPr>
        </p:nvSpPr>
        <p:spPr>
          <a:xfrm>
            <a:off x="6095703" y="3861477"/>
            <a:ext cx="1868487" cy="271300"/>
          </a:xfrm>
        </p:spPr>
        <p:txBody>
          <a:bodyPr/>
          <a:lstStyle>
            <a:lvl1pPr marL="0" indent="0" algn="ctr">
              <a:spcBef>
                <a:spcPts val="0"/>
              </a:spcBef>
              <a:buNone/>
              <a:defRPr kumimoji="0" lang="en-US" sz="1400" b="1" i="0" u="none" strike="noStrike" cap="none" spc="0" normalizeH="0" baseline="0" dirty="0" smtClean="0">
                <a:ln>
                  <a:noFill/>
                </a:ln>
                <a:solidFill>
                  <a:schemeClr val="accent4"/>
                </a:solidFill>
                <a:effectLst/>
                <a:uFillTx/>
                <a:latin typeface="Inter" panose="02000503000000020004" pitchFamily="2" charset="0"/>
                <a:ea typeface="Inter" panose="02000503000000020004" pitchFamily="2" charset="0"/>
                <a:cs typeface="Arial"/>
                <a:sym typeface="Arial"/>
              </a:defRPr>
            </a:lvl1pPr>
            <a:lvl2pPr marL="0" indent="0" algn="ctr">
              <a:spcBef>
                <a:spcPts val="60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p:txBody>
      </p:sp>
      <p:sp>
        <p:nvSpPr>
          <p:cNvPr id="148" name="Block Arc 147">
            <a:extLst>
              <a:ext uri="{FF2B5EF4-FFF2-40B4-BE49-F238E27FC236}">
                <a16:creationId xmlns:a16="http://schemas.microsoft.com/office/drawing/2014/main" id="{4FD6FB3E-A375-D532-A822-39BE475AB751}"/>
              </a:ext>
            </a:extLst>
          </p:cNvPr>
          <p:cNvSpPr/>
          <p:nvPr userDrawn="1"/>
        </p:nvSpPr>
        <p:spPr>
          <a:xfrm>
            <a:off x="6636552" y="2558018"/>
            <a:ext cx="803875" cy="803875"/>
          </a:xfrm>
          <a:prstGeom prst="blockArc">
            <a:avLst>
              <a:gd name="adj1" fmla="val 11035418"/>
              <a:gd name="adj2" fmla="val 21467869"/>
              <a:gd name="adj3" fmla="val 41"/>
            </a:avLst>
          </a:prstGeom>
          <a:solidFill>
            <a:srgbClr val="FFFFFF"/>
          </a:solidFill>
          <a:ln w="12700" cap="flat">
            <a:solidFill>
              <a:schemeClr val="accent4"/>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cxnSp>
        <p:nvCxnSpPr>
          <p:cNvPr id="67" name="Straight Connector 66">
            <a:extLst>
              <a:ext uri="{FF2B5EF4-FFF2-40B4-BE49-F238E27FC236}">
                <a16:creationId xmlns:a16="http://schemas.microsoft.com/office/drawing/2014/main" id="{6E470B0C-08A1-9C33-1875-7C1F2DC133A7}"/>
              </a:ext>
            </a:extLst>
          </p:cNvPr>
          <p:cNvCxnSpPr>
            <a:cxnSpLocks/>
          </p:cNvCxnSpPr>
          <p:nvPr/>
        </p:nvCxnSpPr>
        <p:spPr>
          <a:xfrm>
            <a:off x="5142650" y="3522275"/>
            <a:ext cx="0" cy="307871"/>
          </a:xfrm>
          <a:prstGeom prst="line">
            <a:avLst/>
          </a:prstGeom>
          <a:noFill/>
          <a:ln w="12700" cap="flat">
            <a:solidFill>
              <a:schemeClr val="accent3"/>
            </a:solidFill>
            <a:prstDash val="solid"/>
            <a:miter lim="800000"/>
            <a:tailEnd type="oval" w="sm" len="sm"/>
          </a:ln>
          <a:effectLst/>
          <a:sp3d/>
        </p:spPr>
        <p:style>
          <a:lnRef idx="0">
            <a:scrgbClr r="0" g="0" b="0"/>
          </a:lnRef>
          <a:fillRef idx="0">
            <a:scrgbClr r="0" g="0" b="0"/>
          </a:fillRef>
          <a:effectRef idx="0">
            <a:scrgbClr r="0" g="0" b="0"/>
          </a:effectRef>
          <a:fontRef idx="none"/>
        </p:style>
      </p:cxnSp>
      <p:grpSp>
        <p:nvGrpSpPr>
          <p:cNvPr id="128" name="Group 127">
            <a:extLst>
              <a:ext uri="{FF2B5EF4-FFF2-40B4-BE49-F238E27FC236}">
                <a16:creationId xmlns:a16="http://schemas.microsoft.com/office/drawing/2014/main" id="{9BCF812E-23CA-0D3D-0040-1B6A6E840048}"/>
              </a:ext>
            </a:extLst>
          </p:cNvPr>
          <p:cNvGrpSpPr/>
          <p:nvPr userDrawn="1"/>
        </p:nvGrpSpPr>
        <p:grpSpPr>
          <a:xfrm>
            <a:off x="5040844" y="3341813"/>
            <a:ext cx="180462" cy="180462"/>
            <a:chOff x="1210056" y="3825874"/>
            <a:chExt cx="201168" cy="201168"/>
          </a:xfrm>
        </p:grpSpPr>
        <p:sp>
          <p:nvSpPr>
            <p:cNvPr id="129" name="Oval 128">
              <a:extLst>
                <a:ext uri="{FF2B5EF4-FFF2-40B4-BE49-F238E27FC236}">
                  <a16:creationId xmlns:a16="http://schemas.microsoft.com/office/drawing/2014/main" id="{0C3986BD-F858-3BBF-E5C1-C0191B298041}"/>
                </a:ext>
              </a:extLst>
            </p:cNvPr>
            <p:cNvSpPr/>
            <p:nvPr/>
          </p:nvSpPr>
          <p:spPr>
            <a:xfrm>
              <a:off x="1210056" y="3825874"/>
              <a:ext cx="201168" cy="201168"/>
            </a:xfrm>
            <a:prstGeom prst="ellipse">
              <a:avLst/>
            </a:prstGeom>
            <a:solidFill>
              <a:srgbClr val="FFFFFF">
                <a:alpha val="8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30" name="Oval 129">
              <a:extLst>
                <a:ext uri="{FF2B5EF4-FFF2-40B4-BE49-F238E27FC236}">
                  <a16:creationId xmlns:a16="http://schemas.microsoft.com/office/drawing/2014/main" id="{53555A01-F322-0D94-2633-854AE97D5033}"/>
                </a:ext>
              </a:extLst>
            </p:cNvPr>
            <p:cNvSpPr/>
            <p:nvPr/>
          </p:nvSpPr>
          <p:spPr>
            <a:xfrm>
              <a:off x="1264920" y="3880738"/>
              <a:ext cx="91440" cy="91440"/>
            </a:xfrm>
            <a:prstGeom prst="ellipse">
              <a:avLst/>
            </a:prstGeom>
            <a:solidFill>
              <a:schemeClr val="accent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sp>
        <p:nvSpPr>
          <p:cNvPr id="132" name="Freeform 131">
            <a:extLst>
              <a:ext uri="{FF2B5EF4-FFF2-40B4-BE49-F238E27FC236}">
                <a16:creationId xmlns:a16="http://schemas.microsoft.com/office/drawing/2014/main" id="{6D26C2CC-F8E9-48CA-7992-CB58E40F50CA}"/>
              </a:ext>
            </a:extLst>
          </p:cNvPr>
          <p:cNvSpPr/>
          <p:nvPr userDrawn="1"/>
        </p:nvSpPr>
        <p:spPr>
          <a:xfrm rot="10800000">
            <a:off x="4823470" y="2664654"/>
            <a:ext cx="615210" cy="750359"/>
          </a:xfrm>
          <a:custGeom>
            <a:avLst/>
            <a:gdLst>
              <a:gd name="connsiteX0" fmla="*/ 342900 w 685800"/>
              <a:gd name="connsiteY0" fmla="*/ 836455 h 836455"/>
              <a:gd name="connsiteX1" fmla="*/ 0 w 685800"/>
              <a:gd name="connsiteY1" fmla="*/ 493555 h 836455"/>
              <a:gd name="connsiteX2" fmla="*/ 209428 w 685800"/>
              <a:gd name="connsiteY2" fmla="*/ 177602 h 836455"/>
              <a:gd name="connsiteX3" fmla="*/ 246580 w 685800"/>
              <a:gd name="connsiteY3" fmla="*/ 166069 h 836455"/>
              <a:gd name="connsiteX4" fmla="*/ 342900 w 685800"/>
              <a:gd name="connsiteY4" fmla="*/ 0 h 836455"/>
              <a:gd name="connsiteX5" fmla="*/ 439220 w 685800"/>
              <a:gd name="connsiteY5" fmla="*/ 166069 h 836455"/>
              <a:gd name="connsiteX6" fmla="*/ 476372 w 685800"/>
              <a:gd name="connsiteY6" fmla="*/ 177602 h 836455"/>
              <a:gd name="connsiteX7" fmla="*/ 685800 w 685800"/>
              <a:gd name="connsiteY7" fmla="*/ 493555 h 836455"/>
              <a:gd name="connsiteX8" fmla="*/ 342900 w 685800"/>
              <a:gd name="connsiteY8" fmla="*/ 836455 h 8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 h="836455">
                <a:moveTo>
                  <a:pt x="342900" y="836455"/>
                </a:moveTo>
                <a:cubicBezTo>
                  <a:pt x="153522" y="836455"/>
                  <a:pt x="0" y="682933"/>
                  <a:pt x="0" y="493555"/>
                </a:cubicBezTo>
                <a:cubicBezTo>
                  <a:pt x="0" y="351522"/>
                  <a:pt x="86356" y="229657"/>
                  <a:pt x="209428" y="177602"/>
                </a:cubicBezTo>
                <a:lnTo>
                  <a:pt x="246580" y="166069"/>
                </a:lnTo>
                <a:lnTo>
                  <a:pt x="342900" y="0"/>
                </a:lnTo>
                <a:lnTo>
                  <a:pt x="439220" y="166069"/>
                </a:lnTo>
                <a:lnTo>
                  <a:pt x="476372" y="177602"/>
                </a:lnTo>
                <a:cubicBezTo>
                  <a:pt x="599444" y="229657"/>
                  <a:pt x="685800" y="351522"/>
                  <a:pt x="685800" y="493555"/>
                </a:cubicBezTo>
                <a:cubicBezTo>
                  <a:pt x="685800" y="682933"/>
                  <a:pt x="532278" y="836455"/>
                  <a:pt x="342900" y="836455"/>
                </a:cubicBezTo>
                <a:close/>
              </a:path>
            </a:pathLst>
          </a:custGeom>
          <a:solidFill>
            <a:schemeClr val="accent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34" name="Text Placeholder 133">
            <a:extLst>
              <a:ext uri="{FF2B5EF4-FFF2-40B4-BE49-F238E27FC236}">
                <a16:creationId xmlns:a16="http://schemas.microsoft.com/office/drawing/2014/main" id="{85B3702F-24FD-9E9C-AD01-65EDEE740C30}"/>
              </a:ext>
            </a:extLst>
          </p:cNvPr>
          <p:cNvSpPr>
            <a:spLocks noGrp="1"/>
          </p:cNvSpPr>
          <p:nvPr>
            <p:ph type="body" sz="quarter" idx="33" hasCustomPrompt="1"/>
          </p:nvPr>
        </p:nvSpPr>
        <p:spPr>
          <a:xfrm>
            <a:off x="4879615" y="2723344"/>
            <a:ext cx="502920" cy="502920"/>
          </a:xfrm>
          <a:custGeom>
            <a:avLst/>
            <a:gdLst>
              <a:gd name="connsiteX0" fmla="*/ 237744 w 475488"/>
              <a:gd name="connsiteY0" fmla="*/ 0 h 519348"/>
              <a:gd name="connsiteX1" fmla="*/ 475488 w 475488"/>
              <a:gd name="connsiteY1" fmla="*/ 259674 h 519348"/>
              <a:gd name="connsiteX2" fmla="*/ 237744 w 475488"/>
              <a:gd name="connsiteY2" fmla="*/ 519348 h 519348"/>
              <a:gd name="connsiteX3" fmla="*/ 0 w 475488"/>
              <a:gd name="connsiteY3" fmla="*/ 259674 h 519348"/>
              <a:gd name="connsiteX4" fmla="*/ 237744 w 475488"/>
              <a:gd name="connsiteY4" fmla="*/ 0 h 519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88" h="519348">
                <a:moveTo>
                  <a:pt x="237744" y="0"/>
                </a:moveTo>
                <a:cubicBezTo>
                  <a:pt x="369046" y="0"/>
                  <a:pt x="475488" y="116260"/>
                  <a:pt x="475488" y="259674"/>
                </a:cubicBezTo>
                <a:cubicBezTo>
                  <a:pt x="475488" y="403088"/>
                  <a:pt x="369046" y="519348"/>
                  <a:pt x="237744" y="519348"/>
                </a:cubicBezTo>
                <a:cubicBezTo>
                  <a:pt x="106442" y="519348"/>
                  <a:pt x="0" y="403088"/>
                  <a:pt x="0" y="259674"/>
                </a:cubicBezTo>
                <a:cubicBezTo>
                  <a:pt x="0" y="116260"/>
                  <a:pt x="106442" y="0"/>
                  <a:pt x="237744" y="0"/>
                </a:cubicBezTo>
                <a:close/>
              </a:path>
            </a:pathLst>
          </a:cu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chor="ctr" anchorCtr="0">
            <a:noAutofit/>
          </a:bodyPr>
          <a:lstStyle>
            <a:lvl1pPr marL="0" indent="0" algn="ctr">
              <a:buNone/>
              <a:defRPr sz="1800" b="1">
                <a:solidFill>
                  <a:schemeClr val="accent3"/>
                </a:solidFill>
              </a:defRPr>
            </a:lvl1pPr>
          </a:lstStyle>
          <a:p>
            <a:pPr lvl="0"/>
            <a:r>
              <a:rPr lang="en-US"/>
              <a:t>#</a:t>
            </a:r>
          </a:p>
        </p:txBody>
      </p:sp>
      <p:sp>
        <p:nvSpPr>
          <p:cNvPr id="136" name="Text Placeholder 11">
            <a:extLst>
              <a:ext uri="{FF2B5EF4-FFF2-40B4-BE49-F238E27FC236}">
                <a16:creationId xmlns:a16="http://schemas.microsoft.com/office/drawing/2014/main" id="{7F8F6A56-2729-EEBB-685C-66DA3C1DC1C8}"/>
              </a:ext>
            </a:extLst>
          </p:cNvPr>
          <p:cNvSpPr>
            <a:spLocks noGrp="1"/>
          </p:cNvSpPr>
          <p:nvPr>
            <p:ph type="body" sz="quarter" idx="35"/>
          </p:nvPr>
        </p:nvSpPr>
        <p:spPr>
          <a:xfrm>
            <a:off x="4188289" y="3861477"/>
            <a:ext cx="1868487" cy="271300"/>
          </a:xfrm>
        </p:spPr>
        <p:txBody>
          <a:bodyPr/>
          <a:lstStyle>
            <a:lvl1pPr marL="0" indent="0" algn="ctr">
              <a:spcBef>
                <a:spcPts val="0"/>
              </a:spcBef>
              <a:buNone/>
              <a:defRPr kumimoji="0" lang="en-US" sz="1400" b="1" i="0" u="none" strike="noStrike" cap="none" spc="0" normalizeH="0" baseline="0" dirty="0" smtClean="0">
                <a:ln>
                  <a:noFill/>
                </a:ln>
                <a:solidFill>
                  <a:schemeClr val="accent3"/>
                </a:solidFill>
                <a:effectLst/>
                <a:uFillTx/>
                <a:latin typeface="Inter" panose="02000503000000020004" pitchFamily="2" charset="0"/>
                <a:ea typeface="Inter" panose="02000503000000020004" pitchFamily="2" charset="0"/>
                <a:cs typeface="Arial"/>
                <a:sym typeface="Arial"/>
              </a:defRPr>
            </a:lvl1pPr>
            <a:lvl2pPr marL="0" indent="0" algn="ctr">
              <a:spcBef>
                <a:spcPts val="60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p:txBody>
      </p:sp>
      <p:sp>
        <p:nvSpPr>
          <p:cNvPr id="138" name="Block Arc 137">
            <a:extLst>
              <a:ext uri="{FF2B5EF4-FFF2-40B4-BE49-F238E27FC236}">
                <a16:creationId xmlns:a16="http://schemas.microsoft.com/office/drawing/2014/main" id="{761EEF91-6AE1-17B2-E4BF-55C9C422EA2B}"/>
              </a:ext>
            </a:extLst>
          </p:cNvPr>
          <p:cNvSpPr/>
          <p:nvPr userDrawn="1"/>
        </p:nvSpPr>
        <p:spPr>
          <a:xfrm>
            <a:off x="4731734" y="2558018"/>
            <a:ext cx="803875" cy="803875"/>
          </a:xfrm>
          <a:prstGeom prst="blockArc">
            <a:avLst>
              <a:gd name="adj1" fmla="val 11035418"/>
              <a:gd name="adj2" fmla="val 21467869"/>
              <a:gd name="adj3" fmla="val 41"/>
            </a:avLst>
          </a:prstGeom>
          <a:solidFill>
            <a:srgbClr val="FFFFFF"/>
          </a:solidFill>
          <a:ln w="12700"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nvGrpSpPr>
          <p:cNvPr id="119" name="Group 118">
            <a:extLst>
              <a:ext uri="{FF2B5EF4-FFF2-40B4-BE49-F238E27FC236}">
                <a16:creationId xmlns:a16="http://schemas.microsoft.com/office/drawing/2014/main" id="{823A6C63-EE6F-B6F8-53E6-B3F2153E5B5F}"/>
              </a:ext>
            </a:extLst>
          </p:cNvPr>
          <p:cNvGrpSpPr/>
          <p:nvPr userDrawn="1"/>
        </p:nvGrpSpPr>
        <p:grpSpPr>
          <a:xfrm>
            <a:off x="3147498" y="3341813"/>
            <a:ext cx="180462" cy="180462"/>
            <a:chOff x="1210056" y="3825874"/>
            <a:chExt cx="201168" cy="201168"/>
          </a:xfrm>
        </p:grpSpPr>
        <p:sp>
          <p:nvSpPr>
            <p:cNvPr id="120" name="Oval 119">
              <a:extLst>
                <a:ext uri="{FF2B5EF4-FFF2-40B4-BE49-F238E27FC236}">
                  <a16:creationId xmlns:a16="http://schemas.microsoft.com/office/drawing/2014/main" id="{622C4F12-3583-9973-28C3-63BAA998EC5F}"/>
                </a:ext>
              </a:extLst>
            </p:cNvPr>
            <p:cNvSpPr/>
            <p:nvPr/>
          </p:nvSpPr>
          <p:spPr>
            <a:xfrm>
              <a:off x="1210056" y="3825874"/>
              <a:ext cx="201168" cy="201168"/>
            </a:xfrm>
            <a:prstGeom prst="ellipse">
              <a:avLst/>
            </a:prstGeom>
            <a:solidFill>
              <a:srgbClr val="FFFFFF">
                <a:alpha val="8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21" name="Oval 120">
              <a:extLst>
                <a:ext uri="{FF2B5EF4-FFF2-40B4-BE49-F238E27FC236}">
                  <a16:creationId xmlns:a16="http://schemas.microsoft.com/office/drawing/2014/main" id="{93B0F742-A5E6-CA9D-30A4-F6EE0DFF021A}"/>
                </a:ext>
              </a:extLst>
            </p:cNvPr>
            <p:cNvSpPr/>
            <p:nvPr/>
          </p:nvSpPr>
          <p:spPr>
            <a:xfrm>
              <a:off x="1264920" y="3880738"/>
              <a:ext cx="91440" cy="91440"/>
            </a:xfrm>
            <a:prstGeom prst="ellipse">
              <a:avLst/>
            </a:prstGeom>
            <a:solidFill>
              <a:schemeClr val="accent5"/>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cxnSp>
        <p:nvCxnSpPr>
          <p:cNvPr id="122" name="Straight Connector 121">
            <a:extLst>
              <a:ext uri="{FF2B5EF4-FFF2-40B4-BE49-F238E27FC236}">
                <a16:creationId xmlns:a16="http://schemas.microsoft.com/office/drawing/2014/main" id="{58D837DB-8439-D295-58EA-BE53D7904BFF}"/>
              </a:ext>
            </a:extLst>
          </p:cNvPr>
          <p:cNvCxnSpPr>
            <a:cxnSpLocks/>
            <a:stCxn id="120" idx="4"/>
          </p:cNvCxnSpPr>
          <p:nvPr userDrawn="1"/>
        </p:nvCxnSpPr>
        <p:spPr>
          <a:xfrm flipH="1">
            <a:off x="3233354" y="3522275"/>
            <a:ext cx="4375" cy="307868"/>
          </a:xfrm>
          <a:prstGeom prst="line">
            <a:avLst/>
          </a:prstGeom>
          <a:noFill/>
          <a:ln w="12700" cap="flat">
            <a:solidFill>
              <a:schemeClr val="accent5"/>
            </a:solidFill>
            <a:prstDash val="solid"/>
            <a:miter lim="800000"/>
            <a:tailEnd type="oval" w="sm" len="sm"/>
          </a:ln>
          <a:effectLst/>
          <a:sp3d/>
        </p:spPr>
        <p:style>
          <a:lnRef idx="0">
            <a:scrgbClr r="0" g="0" b="0"/>
          </a:lnRef>
          <a:fillRef idx="0">
            <a:scrgbClr r="0" g="0" b="0"/>
          </a:fillRef>
          <a:effectRef idx="0">
            <a:scrgbClr r="0" g="0" b="0"/>
          </a:effectRef>
          <a:fontRef idx="none"/>
        </p:style>
      </p:cxnSp>
      <p:sp>
        <p:nvSpPr>
          <p:cNvPr id="124" name="Freeform 123">
            <a:extLst>
              <a:ext uri="{FF2B5EF4-FFF2-40B4-BE49-F238E27FC236}">
                <a16:creationId xmlns:a16="http://schemas.microsoft.com/office/drawing/2014/main" id="{8626ACAE-6030-4062-58C7-2D62455203C3}"/>
              </a:ext>
            </a:extLst>
          </p:cNvPr>
          <p:cNvSpPr/>
          <p:nvPr userDrawn="1"/>
        </p:nvSpPr>
        <p:spPr>
          <a:xfrm rot="10800000">
            <a:off x="2930124" y="2664654"/>
            <a:ext cx="615210" cy="750359"/>
          </a:xfrm>
          <a:custGeom>
            <a:avLst/>
            <a:gdLst>
              <a:gd name="connsiteX0" fmla="*/ 342900 w 685800"/>
              <a:gd name="connsiteY0" fmla="*/ 836455 h 836455"/>
              <a:gd name="connsiteX1" fmla="*/ 0 w 685800"/>
              <a:gd name="connsiteY1" fmla="*/ 493555 h 836455"/>
              <a:gd name="connsiteX2" fmla="*/ 209428 w 685800"/>
              <a:gd name="connsiteY2" fmla="*/ 177602 h 836455"/>
              <a:gd name="connsiteX3" fmla="*/ 246580 w 685800"/>
              <a:gd name="connsiteY3" fmla="*/ 166069 h 836455"/>
              <a:gd name="connsiteX4" fmla="*/ 342900 w 685800"/>
              <a:gd name="connsiteY4" fmla="*/ 0 h 836455"/>
              <a:gd name="connsiteX5" fmla="*/ 439220 w 685800"/>
              <a:gd name="connsiteY5" fmla="*/ 166069 h 836455"/>
              <a:gd name="connsiteX6" fmla="*/ 476372 w 685800"/>
              <a:gd name="connsiteY6" fmla="*/ 177602 h 836455"/>
              <a:gd name="connsiteX7" fmla="*/ 685800 w 685800"/>
              <a:gd name="connsiteY7" fmla="*/ 493555 h 836455"/>
              <a:gd name="connsiteX8" fmla="*/ 342900 w 685800"/>
              <a:gd name="connsiteY8" fmla="*/ 836455 h 8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 h="836455">
                <a:moveTo>
                  <a:pt x="342900" y="836455"/>
                </a:moveTo>
                <a:cubicBezTo>
                  <a:pt x="153522" y="836455"/>
                  <a:pt x="0" y="682933"/>
                  <a:pt x="0" y="493555"/>
                </a:cubicBezTo>
                <a:cubicBezTo>
                  <a:pt x="0" y="351522"/>
                  <a:pt x="86356" y="229657"/>
                  <a:pt x="209428" y="177602"/>
                </a:cubicBezTo>
                <a:lnTo>
                  <a:pt x="246580" y="166069"/>
                </a:lnTo>
                <a:lnTo>
                  <a:pt x="342900" y="0"/>
                </a:lnTo>
                <a:lnTo>
                  <a:pt x="439220" y="166069"/>
                </a:lnTo>
                <a:lnTo>
                  <a:pt x="476372" y="177602"/>
                </a:lnTo>
                <a:cubicBezTo>
                  <a:pt x="599444" y="229657"/>
                  <a:pt x="685800" y="351522"/>
                  <a:pt x="685800" y="493555"/>
                </a:cubicBezTo>
                <a:cubicBezTo>
                  <a:pt x="685800" y="682933"/>
                  <a:pt x="532278" y="836455"/>
                  <a:pt x="342900" y="836455"/>
                </a:cubicBezTo>
                <a:close/>
              </a:path>
            </a:pathLst>
          </a:custGeom>
          <a:solidFill>
            <a:schemeClr val="accent5"/>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25" name="Block Arc 124">
            <a:extLst>
              <a:ext uri="{FF2B5EF4-FFF2-40B4-BE49-F238E27FC236}">
                <a16:creationId xmlns:a16="http://schemas.microsoft.com/office/drawing/2014/main" id="{2345C152-8CF0-424C-88C4-CE7D5AA8CE98}"/>
              </a:ext>
            </a:extLst>
          </p:cNvPr>
          <p:cNvSpPr/>
          <p:nvPr userDrawn="1"/>
        </p:nvSpPr>
        <p:spPr>
          <a:xfrm>
            <a:off x="2835792" y="2558018"/>
            <a:ext cx="803875" cy="803875"/>
          </a:xfrm>
          <a:prstGeom prst="blockArc">
            <a:avLst>
              <a:gd name="adj1" fmla="val 11035418"/>
              <a:gd name="adj2" fmla="val 21467869"/>
              <a:gd name="adj3" fmla="val 41"/>
            </a:avLst>
          </a:prstGeom>
          <a:solidFill>
            <a:srgbClr val="FFFFFF"/>
          </a:solid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26" name="Text Placeholder 125">
            <a:extLst>
              <a:ext uri="{FF2B5EF4-FFF2-40B4-BE49-F238E27FC236}">
                <a16:creationId xmlns:a16="http://schemas.microsoft.com/office/drawing/2014/main" id="{8D50F079-0715-4FA9-DB59-5A915CAF2A71}"/>
              </a:ext>
            </a:extLst>
          </p:cNvPr>
          <p:cNvSpPr>
            <a:spLocks noGrp="1"/>
          </p:cNvSpPr>
          <p:nvPr>
            <p:ph type="body" sz="quarter" idx="31" hasCustomPrompt="1"/>
          </p:nvPr>
        </p:nvSpPr>
        <p:spPr>
          <a:xfrm>
            <a:off x="2986269" y="2723344"/>
            <a:ext cx="502920" cy="502920"/>
          </a:xfrm>
          <a:custGeom>
            <a:avLst/>
            <a:gdLst>
              <a:gd name="connsiteX0" fmla="*/ 237744 w 475488"/>
              <a:gd name="connsiteY0" fmla="*/ 0 h 519348"/>
              <a:gd name="connsiteX1" fmla="*/ 475488 w 475488"/>
              <a:gd name="connsiteY1" fmla="*/ 259674 h 519348"/>
              <a:gd name="connsiteX2" fmla="*/ 237744 w 475488"/>
              <a:gd name="connsiteY2" fmla="*/ 519348 h 519348"/>
              <a:gd name="connsiteX3" fmla="*/ 0 w 475488"/>
              <a:gd name="connsiteY3" fmla="*/ 259674 h 519348"/>
              <a:gd name="connsiteX4" fmla="*/ 237744 w 475488"/>
              <a:gd name="connsiteY4" fmla="*/ 0 h 519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88" h="519348">
                <a:moveTo>
                  <a:pt x="237744" y="0"/>
                </a:moveTo>
                <a:cubicBezTo>
                  <a:pt x="369046" y="0"/>
                  <a:pt x="475488" y="116260"/>
                  <a:pt x="475488" y="259674"/>
                </a:cubicBezTo>
                <a:cubicBezTo>
                  <a:pt x="475488" y="403088"/>
                  <a:pt x="369046" y="519348"/>
                  <a:pt x="237744" y="519348"/>
                </a:cubicBezTo>
                <a:cubicBezTo>
                  <a:pt x="106442" y="519348"/>
                  <a:pt x="0" y="403088"/>
                  <a:pt x="0" y="259674"/>
                </a:cubicBezTo>
                <a:cubicBezTo>
                  <a:pt x="0" y="116260"/>
                  <a:pt x="106442" y="0"/>
                  <a:pt x="237744" y="0"/>
                </a:cubicBezTo>
                <a:close/>
              </a:path>
            </a:pathLst>
          </a:cu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chor="ctr" anchorCtr="0">
            <a:noAutofit/>
          </a:bodyPr>
          <a:lstStyle>
            <a:lvl1pPr marL="0" indent="0" algn="ctr">
              <a:buNone/>
              <a:defRPr sz="1800" b="1">
                <a:solidFill>
                  <a:schemeClr val="accent5"/>
                </a:solidFill>
              </a:defRPr>
            </a:lvl1pPr>
          </a:lstStyle>
          <a:p>
            <a:pPr lvl="0"/>
            <a:r>
              <a:rPr lang="en-US"/>
              <a:t>#</a:t>
            </a:r>
          </a:p>
        </p:txBody>
      </p:sp>
      <p:sp>
        <p:nvSpPr>
          <p:cNvPr id="127" name="Text Placeholder 11">
            <a:extLst>
              <a:ext uri="{FF2B5EF4-FFF2-40B4-BE49-F238E27FC236}">
                <a16:creationId xmlns:a16="http://schemas.microsoft.com/office/drawing/2014/main" id="{710036F6-31B4-1B04-942C-99CC47A7AF8B}"/>
              </a:ext>
            </a:extLst>
          </p:cNvPr>
          <p:cNvSpPr>
            <a:spLocks noGrp="1"/>
          </p:cNvSpPr>
          <p:nvPr>
            <p:ph type="body" sz="quarter" idx="32"/>
          </p:nvPr>
        </p:nvSpPr>
        <p:spPr>
          <a:xfrm>
            <a:off x="2294943" y="3861477"/>
            <a:ext cx="1868487" cy="271300"/>
          </a:xfrm>
        </p:spPr>
        <p:txBody>
          <a:bodyPr/>
          <a:lstStyle>
            <a:lvl1pPr marL="0" indent="0" algn="ctr">
              <a:spcBef>
                <a:spcPts val="0"/>
              </a:spcBef>
              <a:buNone/>
              <a:defRPr kumimoji="0" lang="en-US" sz="1400" b="1" i="0" u="none" strike="noStrike" cap="none" spc="0" normalizeH="0" baseline="0" dirty="0" smtClean="0">
                <a:ln>
                  <a:noFill/>
                </a:ln>
                <a:solidFill>
                  <a:schemeClr val="accent5"/>
                </a:solidFill>
                <a:effectLst/>
                <a:uFillTx/>
                <a:latin typeface="Inter" panose="02000503000000020004" pitchFamily="2" charset="0"/>
                <a:ea typeface="Inter" panose="02000503000000020004" pitchFamily="2" charset="0"/>
                <a:cs typeface="Arial"/>
                <a:sym typeface="Arial"/>
              </a:defRPr>
            </a:lvl1pPr>
            <a:lvl2pPr marL="0" indent="0" algn="ctr">
              <a:spcBef>
                <a:spcPts val="60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3579139E-9D66-8402-6523-D48906D5FC4D}"/>
              </a:ext>
            </a:extLst>
          </p:cNvPr>
          <p:cNvSpPr>
            <a:spLocks noGrp="1"/>
          </p:cNvSpPr>
          <p:nvPr>
            <p:ph type="body" sz="quarter" idx="27" hasCustomPrompt="1"/>
          </p:nvPr>
        </p:nvSpPr>
        <p:spPr>
          <a:xfrm>
            <a:off x="390839" y="4215664"/>
            <a:ext cx="1868487" cy="1711793"/>
          </a:xfrm>
        </p:spPr>
        <p:txBody>
          <a:bodyPr/>
          <a:lstStyle>
            <a:lvl1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1pPr>
            <a:lvl2pPr marL="0" indent="0" algn="ctr">
              <a:spcBef>
                <a:spcPts val="0"/>
              </a:spcBef>
              <a:buNone/>
              <a:defRPr kumimoji="0" lang="en-US" sz="1200" b="0" i="0" u="none" strike="noStrike" cap="none" spc="0" normalizeH="0" baseline="0" dirty="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marL="0" marR="0" lvl="0" indent="0" algn="ctr" defTabSz="914400" rtl="0" eaLnBrk="1" latinLnBrk="0" hangingPunct="1">
              <a:lnSpc>
                <a:spcPct val="120000"/>
              </a:lnSpc>
              <a:spcBef>
                <a:spcPts val="600"/>
              </a:spcBef>
              <a:spcAft>
                <a:spcPts val="0"/>
              </a:spcAft>
              <a:buClr>
                <a:schemeClr val="tx1"/>
              </a:buClr>
              <a:buSzPct val="100000"/>
              <a:buFont typeface="Arial" panose="020B0604020202020204" pitchFamily="34" charset="0"/>
              <a:buNone/>
              <a:tabLst/>
            </a:pPr>
            <a:r>
              <a:rPr lang="en-US"/>
              <a:t>First level</a:t>
            </a:r>
          </a:p>
          <a:p>
            <a:pPr lvl="1"/>
            <a:r>
              <a:rPr lang="en-US"/>
              <a:t>Second level</a:t>
            </a:r>
          </a:p>
        </p:txBody>
      </p:sp>
      <p:cxnSp>
        <p:nvCxnSpPr>
          <p:cNvPr id="104" name="Straight Connector 103">
            <a:extLst>
              <a:ext uri="{FF2B5EF4-FFF2-40B4-BE49-F238E27FC236}">
                <a16:creationId xmlns:a16="http://schemas.microsoft.com/office/drawing/2014/main" id="{FF5DF9DA-D24B-35F0-6483-24F6BEC68319}"/>
              </a:ext>
            </a:extLst>
          </p:cNvPr>
          <p:cNvCxnSpPr/>
          <p:nvPr/>
        </p:nvCxnSpPr>
        <p:spPr>
          <a:xfrm>
            <a:off x="6283490" y="4121724"/>
            <a:ext cx="1475366" cy="0"/>
          </a:xfrm>
          <a:prstGeom prst="line">
            <a:avLst/>
          </a:prstGeom>
          <a:noFill/>
          <a:ln w="6350" cap="flat">
            <a:solidFill>
              <a:schemeClr val="accent1">
                <a:lumMod val="75000"/>
              </a:schemeClr>
            </a:solidFill>
            <a:prstDash val="solid"/>
            <a:miter lim="800000"/>
          </a:ln>
          <a:effectLst/>
          <a:sp3d/>
        </p:spPr>
        <p:style>
          <a:lnRef idx="0">
            <a:scrgbClr r="0" g="0" b="0"/>
          </a:lnRef>
          <a:fillRef idx="0">
            <a:scrgbClr r="0" g="0" b="0"/>
          </a:fillRef>
          <a:effectRef idx="0">
            <a:scrgbClr r="0" g="0" b="0"/>
          </a:effectRef>
          <a:fontRef idx="none"/>
        </p:style>
      </p:cxnSp>
      <p:grpSp>
        <p:nvGrpSpPr>
          <p:cNvPr id="90" name="Group 89">
            <a:extLst>
              <a:ext uri="{FF2B5EF4-FFF2-40B4-BE49-F238E27FC236}">
                <a16:creationId xmlns:a16="http://schemas.microsoft.com/office/drawing/2014/main" id="{31FBB857-2889-98F6-55CE-39D2F6CC4CE7}"/>
              </a:ext>
            </a:extLst>
          </p:cNvPr>
          <p:cNvGrpSpPr/>
          <p:nvPr/>
        </p:nvGrpSpPr>
        <p:grpSpPr>
          <a:xfrm>
            <a:off x="1243394" y="3341813"/>
            <a:ext cx="180462" cy="180462"/>
            <a:chOff x="1210056" y="3825874"/>
            <a:chExt cx="201168" cy="201168"/>
          </a:xfrm>
        </p:grpSpPr>
        <p:sp>
          <p:nvSpPr>
            <p:cNvPr id="97" name="Oval 96">
              <a:extLst>
                <a:ext uri="{FF2B5EF4-FFF2-40B4-BE49-F238E27FC236}">
                  <a16:creationId xmlns:a16="http://schemas.microsoft.com/office/drawing/2014/main" id="{BF23EC4A-846D-E8DD-5AB1-ED233F8D6555}"/>
                </a:ext>
              </a:extLst>
            </p:cNvPr>
            <p:cNvSpPr/>
            <p:nvPr/>
          </p:nvSpPr>
          <p:spPr>
            <a:xfrm>
              <a:off x="1210056" y="3825874"/>
              <a:ext cx="201168" cy="201168"/>
            </a:xfrm>
            <a:prstGeom prst="ellipse">
              <a:avLst/>
            </a:prstGeom>
            <a:solidFill>
              <a:srgbClr val="FFFFFF">
                <a:alpha val="8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98" name="Oval 97">
              <a:extLst>
                <a:ext uri="{FF2B5EF4-FFF2-40B4-BE49-F238E27FC236}">
                  <a16:creationId xmlns:a16="http://schemas.microsoft.com/office/drawing/2014/main" id="{7C092391-F5F8-4EC8-FA66-09E9A87940F5}"/>
                </a:ext>
              </a:extLst>
            </p:cNvPr>
            <p:cNvSpPr/>
            <p:nvPr/>
          </p:nvSpPr>
          <p:spPr>
            <a:xfrm>
              <a:off x="1264920" y="3880738"/>
              <a:ext cx="91440" cy="91440"/>
            </a:xfrm>
            <a:prstGeom prst="ellipse">
              <a:avLst/>
            </a:pr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cxnSp>
        <p:nvCxnSpPr>
          <p:cNvPr id="91" name="Straight Connector 90">
            <a:extLst>
              <a:ext uri="{FF2B5EF4-FFF2-40B4-BE49-F238E27FC236}">
                <a16:creationId xmlns:a16="http://schemas.microsoft.com/office/drawing/2014/main" id="{BD366F44-18B1-6F9D-57DA-90857FC6B453}"/>
              </a:ext>
            </a:extLst>
          </p:cNvPr>
          <p:cNvCxnSpPr>
            <a:cxnSpLocks/>
            <a:stCxn id="97" idx="4"/>
          </p:cNvCxnSpPr>
          <p:nvPr/>
        </p:nvCxnSpPr>
        <p:spPr>
          <a:xfrm flipH="1">
            <a:off x="1329250" y="3522275"/>
            <a:ext cx="4375" cy="307868"/>
          </a:xfrm>
          <a:prstGeom prst="line">
            <a:avLst/>
          </a:prstGeom>
          <a:noFill/>
          <a:ln w="12700" cap="flat">
            <a:solidFill>
              <a:schemeClr val="tx2"/>
            </a:solidFill>
            <a:prstDash val="solid"/>
            <a:miter lim="800000"/>
            <a:tailEnd type="oval" w="sm" len="sm"/>
          </a:ln>
          <a:effectLst/>
          <a:sp3d/>
        </p:spPr>
        <p:style>
          <a:lnRef idx="0">
            <a:scrgbClr r="0" g="0" b="0"/>
          </a:lnRef>
          <a:fillRef idx="0">
            <a:scrgbClr r="0" g="0" b="0"/>
          </a:fillRef>
          <a:effectRef idx="0">
            <a:scrgbClr r="0" g="0" b="0"/>
          </a:effectRef>
          <a:fontRef idx="none"/>
        </p:style>
      </p:cxnSp>
      <p:cxnSp>
        <p:nvCxnSpPr>
          <p:cNvPr id="92" name="Straight Connector 91">
            <a:extLst>
              <a:ext uri="{FF2B5EF4-FFF2-40B4-BE49-F238E27FC236}">
                <a16:creationId xmlns:a16="http://schemas.microsoft.com/office/drawing/2014/main" id="{9FF6DD8A-9E63-1973-4534-50369D47F343}"/>
              </a:ext>
            </a:extLst>
          </p:cNvPr>
          <p:cNvCxnSpPr/>
          <p:nvPr/>
        </p:nvCxnSpPr>
        <p:spPr>
          <a:xfrm>
            <a:off x="571221" y="4121724"/>
            <a:ext cx="1475366" cy="0"/>
          </a:xfrm>
          <a:prstGeom prst="line">
            <a:avLst/>
          </a:prstGeom>
          <a:noFill/>
          <a:ln w="635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95" name="Freeform 94">
            <a:extLst>
              <a:ext uri="{FF2B5EF4-FFF2-40B4-BE49-F238E27FC236}">
                <a16:creationId xmlns:a16="http://schemas.microsoft.com/office/drawing/2014/main" id="{920A62A9-A5C1-7C99-3D1F-64BBF4131C61}"/>
              </a:ext>
            </a:extLst>
          </p:cNvPr>
          <p:cNvSpPr/>
          <p:nvPr/>
        </p:nvSpPr>
        <p:spPr>
          <a:xfrm rot="10800000">
            <a:off x="1026020" y="2664654"/>
            <a:ext cx="615210" cy="750359"/>
          </a:xfrm>
          <a:custGeom>
            <a:avLst/>
            <a:gdLst>
              <a:gd name="connsiteX0" fmla="*/ 342900 w 685800"/>
              <a:gd name="connsiteY0" fmla="*/ 836455 h 836455"/>
              <a:gd name="connsiteX1" fmla="*/ 0 w 685800"/>
              <a:gd name="connsiteY1" fmla="*/ 493555 h 836455"/>
              <a:gd name="connsiteX2" fmla="*/ 209428 w 685800"/>
              <a:gd name="connsiteY2" fmla="*/ 177602 h 836455"/>
              <a:gd name="connsiteX3" fmla="*/ 246580 w 685800"/>
              <a:gd name="connsiteY3" fmla="*/ 166069 h 836455"/>
              <a:gd name="connsiteX4" fmla="*/ 342900 w 685800"/>
              <a:gd name="connsiteY4" fmla="*/ 0 h 836455"/>
              <a:gd name="connsiteX5" fmla="*/ 439220 w 685800"/>
              <a:gd name="connsiteY5" fmla="*/ 166069 h 836455"/>
              <a:gd name="connsiteX6" fmla="*/ 476372 w 685800"/>
              <a:gd name="connsiteY6" fmla="*/ 177602 h 836455"/>
              <a:gd name="connsiteX7" fmla="*/ 685800 w 685800"/>
              <a:gd name="connsiteY7" fmla="*/ 493555 h 836455"/>
              <a:gd name="connsiteX8" fmla="*/ 342900 w 685800"/>
              <a:gd name="connsiteY8" fmla="*/ 836455 h 8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 h="836455">
                <a:moveTo>
                  <a:pt x="342900" y="836455"/>
                </a:moveTo>
                <a:cubicBezTo>
                  <a:pt x="153522" y="836455"/>
                  <a:pt x="0" y="682933"/>
                  <a:pt x="0" y="493555"/>
                </a:cubicBezTo>
                <a:cubicBezTo>
                  <a:pt x="0" y="351522"/>
                  <a:pt x="86356" y="229657"/>
                  <a:pt x="209428" y="177602"/>
                </a:cubicBezTo>
                <a:lnTo>
                  <a:pt x="246580" y="166069"/>
                </a:lnTo>
                <a:lnTo>
                  <a:pt x="342900" y="0"/>
                </a:lnTo>
                <a:lnTo>
                  <a:pt x="439220" y="166069"/>
                </a:lnTo>
                <a:lnTo>
                  <a:pt x="476372" y="177602"/>
                </a:lnTo>
                <a:cubicBezTo>
                  <a:pt x="599444" y="229657"/>
                  <a:pt x="685800" y="351522"/>
                  <a:pt x="685800" y="493555"/>
                </a:cubicBezTo>
                <a:cubicBezTo>
                  <a:pt x="685800" y="682933"/>
                  <a:pt x="532278" y="836455"/>
                  <a:pt x="342900" y="836455"/>
                </a:cubicBezTo>
                <a:close/>
              </a:path>
            </a:pathLst>
          </a:cu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94" name="Block Arc 93">
            <a:extLst>
              <a:ext uri="{FF2B5EF4-FFF2-40B4-BE49-F238E27FC236}">
                <a16:creationId xmlns:a16="http://schemas.microsoft.com/office/drawing/2014/main" id="{94171EC1-27B2-8A97-5AA8-F2F9B0DBBFAA}"/>
              </a:ext>
            </a:extLst>
          </p:cNvPr>
          <p:cNvSpPr/>
          <p:nvPr/>
        </p:nvSpPr>
        <p:spPr>
          <a:xfrm>
            <a:off x="931688" y="2558018"/>
            <a:ext cx="803875" cy="803875"/>
          </a:xfrm>
          <a:prstGeom prst="blockArc">
            <a:avLst>
              <a:gd name="adj1" fmla="val 11035418"/>
              <a:gd name="adj2" fmla="val 21467869"/>
              <a:gd name="adj3" fmla="val 41"/>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cxnSp>
        <p:nvCxnSpPr>
          <p:cNvPr id="80" name="Straight Connector 79">
            <a:extLst>
              <a:ext uri="{FF2B5EF4-FFF2-40B4-BE49-F238E27FC236}">
                <a16:creationId xmlns:a16="http://schemas.microsoft.com/office/drawing/2014/main" id="{DFD5F1C9-5AE4-B0D6-9A26-E1C65AC7D8D7}"/>
              </a:ext>
            </a:extLst>
          </p:cNvPr>
          <p:cNvCxnSpPr/>
          <p:nvPr/>
        </p:nvCxnSpPr>
        <p:spPr>
          <a:xfrm>
            <a:off x="2477921" y="4121724"/>
            <a:ext cx="1475366" cy="0"/>
          </a:xfrm>
          <a:prstGeom prst="line">
            <a:avLst/>
          </a:prstGeom>
          <a:noFill/>
          <a:ln w="6350" cap="flat">
            <a:solidFill>
              <a:schemeClr val="accent5"/>
            </a:solidFill>
            <a:prstDash val="solid"/>
            <a:miter lim="800000"/>
          </a:ln>
          <a:effectLst/>
          <a:sp3d/>
        </p:spPr>
        <p:style>
          <a:lnRef idx="0">
            <a:scrgbClr r="0" g="0" b="0"/>
          </a:lnRef>
          <a:fillRef idx="0">
            <a:scrgbClr r="0" g="0" b="0"/>
          </a:fillRef>
          <a:effectRef idx="0">
            <a:scrgbClr r="0" g="0" b="0"/>
          </a:effectRef>
          <a:fontRef idx="none"/>
        </p:style>
      </p:cxnSp>
      <p:sp>
        <p:nvSpPr>
          <p:cNvPr id="82" name="Block Arc 81">
            <a:extLst>
              <a:ext uri="{FF2B5EF4-FFF2-40B4-BE49-F238E27FC236}">
                <a16:creationId xmlns:a16="http://schemas.microsoft.com/office/drawing/2014/main" id="{BE726DB5-E731-A1A1-1C54-92C48F6943DF}"/>
              </a:ext>
            </a:extLst>
          </p:cNvPr>
          <p:cNvSpPr/>
          <p:nvPr/>
        </p:nvSpPr>
        <p:spPr>
          <a:xfrm>
            <a:off x="2838388" y="2558018"/>
            <a:ext cx="803875" cy="803875"/>
          </a:xfrm>
          <a:prstGeom prst="blockArc">
            <a:avLst>
              <a:gd name="adj1" fmla="val 11035418"/>
              <a:gd name="adj2" fmla="val 21467869"/>
              <a:gd name="adj3" fmla="val 41"/>
            </a:avLst>
          </a:prstGeom>
          <a:solidFill>
            <a:srgbClr val="FFFFFF"/>
          </a:solid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cxnSp>
        <p:nvCxnSpPr>
          <p:cNvPr id="68" name="Straight Connector 67">
            <a:extLst>
              <a:ext uri="{FF2B5EF4-FFF2-40B4-BE49-F238E27FC236}">
                <a16:creationId xmlns:a16="http://schemas.microsoft.com/office/drawing/2014/main" id="{8FF61847-6F3A-170C-B3DB-2E1630D4BF3F}"/>
              </a:ext>
            </a:extLst>
          </p:cNvPr>
          <p:cNvCxnSpPr/>
          <p:nvPr/>
        </p:nvCxnSpPr>
        <p:spPr>
          <a:xfrm>
            <a:off x="4384621" y="4121724"/>
            <a:ext cx="1475366" cy="0"/>
          </a:xfrm>
          <a:prstGeom prst="line">
            <a:avLst/>
          </a:prstGeom>
          <a:noFill/>
          <a:ln w="6350"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grpSp>
        <p:nvGrpSpPr>
          <p:cNvPr id="47" name="Group 46">
            <a:extLst>
              <a:ext uri="{FF2B5EF4-FFF2-40B4-BE49-F238E27FC236}">
                <a16:creationId xmlns:a16="http://schemas.microsoft.com/office/drawing/2014/main" id="{EE9DE83B-623B-E0BA-DA20-666B8BFE58B8}"/>
              </a:ext>
            </a:extLst>
          </p:cNvPr>
          <p:cNvGrpSpPr/>
          <p:nvPr/>
        </p:nvGrpSpPr>
        <p:grpSpPr>
          <a:xfrm>
            <a:off x="10759439" y="3341813"/>
            <a:ext cx="180462" cy="180462"/>
            <a:chOff x="1210056" y="3825874"/>
            <a:chExt cx="201168" cy="201168"/>
          </a:xfrm>
        </p:grpSpPr>
        <p:sp>
          <p:nvSpPr>
            <p:cNvPr id="61" name="Oval 60">
              <a:extLst>
                <a:ext uri="{FF2B5EF4-FFF2-40B4-BE49-F238E27FC236}">
                  <a16:creationId xmlns:a16="http://schemas.microsoft.com/office/drawing/2014/main" id="{6CDA94E9-B6B9-4D4C-9A48-68CA60B3FDBF}"/>
                </a:ext>
              </a:extLst>
            </p:cNvPr>
            <p:cNvSpPr/>
            <p:nvPr/>
          </p:nvSpPr>
          <p:spPr>
            <a:xfrm>
              <a:off x="1210056" y="3825874"/>
              <a:ext cx="201168" cy="201168"/>
            </a:xfrm>
            <a:prstGeom prst="ellipse">
              <a:avLst/>
            </a:prstGeom>
            <a:solidFill>
              <a:srgbClr val="FFFFFF">
                <a:alpha val="8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62" name="Oval 61">
              <a:extLst>
                <a:ext uri="{FF2B5EF4-FFF2-40B4-BE49-F238E27FC236}">
                  <a16:creationId xmlns:a16="http://schemas.microsoft.com/office/drawing/2014/main" id="{EC116E91-D99D-62D9-314D-4FA772D1CA02}"/>
                </a:ext>
              </a:extLst>
            </p:cNvPr>
            <p:cNvSpPr/>
            <p:nvPr/>
          </p:nvSpPr>
          <p:spPr>
            <a:xfrm>
              <a:off x="1264920" y="3880738"/>
              <a:ext cx="91440" cy="91440"/>
            </a:xfrm>
            <a:prstGeom prst="ellipse">
              <a:avLst/>
            </a:prstGeom>
            <a:solidFill>
              <a:schemeClr val="accent5">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cxnSp>
        <p:nvCxnSpPr>
          <p:cNvPr id="48" name="Straight Connector 47">
            <a:extLst>
              <a:ext uri="{FF2B5EF4-FFF2-40B4-BE49-F238E27FC236}">
                <a16:creationId xmlns:a16="http://schemas.microsoft.com/office/drawing/2014/main" id="{13CC571F-8726-5DF1-C65C-4E275980A667}"/>
              </a:ext>
            </a:extLst>
          </p:cNvPr>
          <p:cNvCxnSpPr>
            <a:cxnSpLocks/>
            <a:stCxn id="61" idx="4"/>
          </p:cNvCxnSpPr>
          <p:nvPr/>
        </p:nvCxnSpPr>
        <p:spPr>
          <a:xfrm>
            <a:off x="10849670" y="3522275"/>
            <a:ext cx="0" cy="307871"/>
          </a:xfrm>
          <a:prstGeom prst="line">
            <a:avLst/>
          </a:prstGeom>
          <a:noFill/>
          <a:ln w="12700" cap="flat">
            <a:solidFill>
              <a:schemeClr val="accent5">
                <a:lumMod val="75000"/>
              </a:schemeClr>
            </a:solidFill>
            <a:prstDash val="solid"/>
            <a:miter lim="800000"/>
            <a:tailEnd type="oval" w="sm" len="sm"/>
          </a:ln>
          <a:effectLst/>
          <a:sp3d/>
        </p:spPr>
        <p:style>
          <a:lnRef idx="0">
            <a:scrgbClr r="0" g="0" b="0"/>
          </a:lnRef>
          <a:fillRef idx="0">
            <a:scrgbClr r="0" g="0" b="0"/>
          </a:fillRef>
          <a:effectRef idx="0">
            <a:scrgbClr r="0" g="0" b="0"/>
          </a:effectRef>
          <a:fontRef idx="none"/>
        </p:style>
      </p:cxnSp>
      <p:cxnSp>
        <p:nvCxnSpPr>
          <p:cNvPr id="51" name="Straight Connector 50">
            <a:extLst>
              <a:ext uri="{FF2B5EF4-FFF2-40B4-BE49-F238E27FC236}">
                <a16:creationId xmlns:a16="http://schemas.microsoft.com/office/drawing/2014/main" id="{FC81516B-77D0-F575-8DCF-36BDED6FF83C}"/>
              </a:ext>
            </a:extLst>
          </p:cNvPr>
          <p:cNvCxnSpPr/>
          <p:nvPr/>
        </p:nvCxnSpPr>
        <p:spPr>
          <a:xfrm>
            <a:off x="10091641" y="4121724"/>
            <a:ext cx="1475366" cy="0"/>
          </a:xfrm>
          <a:prstGeom prst="line">
            <a:avLst/>
          </a:prstGeom>
          <a:noFill/>
          <a:ln w="6350" cap="flat">
            <a:solidFill>
              <a:schemeClr val="accent6">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B26104E3-E15F-4DC0-C1DD-13908E5BBA40}"/>
              </a:ext>
            </a:extLst>
          </p:cNvPr>
          <p:cNvCxnSpPr/>
          <p:nvPr/>
        </p:nvCxnSpPr>
        <p:spPr>
          <a:xfrm>
            <a:off x="8198021" y="4121724"/>
            <a:ext cx="1475366" cy="0"/>
          </a:xfrm>
          <a:prstGeom prst="line">
            <a:avLst/>
          </a:prstGeom>
          <a:noFill/>
          <a:ln w="6350" cap="flat">
            <a:solidFill>
              <a:schemeClr val="accent2">
                <a:lumMod val="75000"/>
              </a:schemeClr>
            </a:solidFill>
            <a:prstDash val="solid"/>
            <a:miter lim="800000"/>
          </a:ln>
          <a:effectLst/>
          <a:sp3d/>
        </p:spPr>
        <p:style>
          <a:lnRef idx="0">
            <a:scrgbClr r="0" g="0" b="0"/>
          </a:lnRef>
          <a:fillRef idx="0">
            <a:scrgbClr r="0" g="0" b="0"/>
          </a:fillRef>
          <a:effectRef idx="0">
            <a:scrgbClr r="0" g="0" b="0"/>
          </a:effectRef>
          <a:fontRef idx="none"/>
        </p:style>
      </p:cxn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9" name="Text Placeholder 8">
            <a:extLst>
              <a:ext uri="{FF2B5EF4-FFF2-40B4-BE49-F238E27FC236}">
                <a16:creationId xmlns:a16="http://schemas.microsoft.com/office/drawing/2014/main" id="{4AF2EC42-41E0-F845-A032-332FB6CB293B}"/>
              </a:ext>
            </a:extLst>
          </p:cNvPr>
          <p:cNvSpPr>
            <a:spLocks noGrp="1"/>
          </p:cNvSpPr>
          <p:nvPr>
            <p:ph type="body" sz="quarter" idx="26"/>
          </p:nvPr>
        </p:nvSpPr>
        <p:spPr>
          <a:xfrm>
            <a:off x="609600" y="1362073"/>
            <a:ext cx="10972800" cy="1574761"/>
          </a:xfrm>
        </p:spPr>
        <p:txBody>
          <a:bodyPr>
            <a:noAutofit/>
          </a:bodyPr>
          <a:lstStyle>
            <a:lvl1pPr marL="0" indent="0">
              <a:lnSpc>
                <a:spcPct val="120000"/>
              </a:lnSpc>
              <a:buNone/>
              <a:defRPr/>
            </a:lvl1pPr>
            <a:lvl2pPr marL="182880" indent="-182880">
              <a:lnSpc>
                <a:spcPct val="120000"/>
              </a:lnSpc>
              <a:buFont typeface="System Font Regular"/>
              <a:buChar char="+"/>
              <a:defRPr/>
            </a:lvl2pPr>
          </a:lstStyle>
          <a:p>
            <a:pPr lvl="0"/>
            <a:r>
              <a:rPr lang="en-US"/>
              <a:t>Click to edit Master text styles</a:t>
            </a:r>
          </a:p>
          <a:p>
            <a:pPr lvl="1"/>
            <a:r>
              <a:rPr lang="en-US"/>
              <a:t>Second level</a:t>
            </a:r>
          </a:p>
        </p:txBody>
      </p:sp>
      <p:cxnSp>
        <p:nvCxnSpPr>
          <p:cNvPr id="10" name="Straight Connector 9">
            <a:extLst>
              <a:ext uri="{FF2B5EF4-FFF2-40B4-BE49-F238E27FC236}">
                <a16:creationId xmlns:a16="http://schemas.microsoft.com/office/drawing/2014/main" id="{2C62AB3C-9025-6B54-232F-A22C0F9783C6}"/>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116" name="Text Placeholder 115">
            <a:extLst>
              <a:ext uri="{FF2B5EF4-FFF2-40B4-BE49-F238E27FC236}">
                <a16:creationId xmlns:a16="http://schemas.microsoft.com/office/drawing/2014/main" id="{C719D793-3212-6221-6090-B20D99A121C9}"/>
              </a:ext>
            </a:extLst>
          </p:cNvPr>
          <p:cNvSpPr>
            <a:spLocks noGrp="1"/>
          </p:cNvSpPr>
          <p:nvPr>
            <p:ph type="body" sz="quarter" idx="28" hasCustomPrompt="1"/>
          </p:nvPr>
        </p:nvSpPr>
        <p:spPr>
          <a:xfrm>
            <a:off x="1082165" y="2723344"/>
            <a:ext cx="502920" cy="502920"/>
          </a:xfrm>
          <a:custGeom>
            <a:avLst/>
            <a:gdLst>
              <a:gd name="connsiteX0" fmla="*/ 237744 w 475488"/>
              <a:gd name="connsiteY0" fmla="*/ 0 h 519348"/>
              <a:gd name="connsiteX1" fmla="*/ 475488 w 475488"/>
              <a:gd name="connsiteY1" fmla="*/ 259674 h 519348"/>
              <a:gd name="connsiteX2" fmla="*/ 237744 w 475488"/>
              <a:gd name="connsiteY2" fmla="*/ 519348 h 519348"/>
              <a:gd name="connsiteX3" fmla="*/ 0 w 475488"/>
              <a:gd name="connsiteY3" fmla="*/ 259674 h 519348"/>
              <a:gd name="connsiteX4" fmla="*/ 237744 w 475488"/>
              <a:gd name="connsiteY4" fmla="*/ 0 h 519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88" h="519348">
                <a:moveTo>
                  <a:pt x="237744" y="0"/>
                </a:moveTo>
                <a:cubicBezTo>
                  <a:pt x="369046" y="0"/>
                  <a:pt x="475488" y="116260"/>
                  <a:pt x="475488" y="259674"/>
                </a:cubicBezTo>
                <a:cubicBezTo>
                  <a:pt x="475488" y="403088"/>
                  <a:pt x="369046" y="519348"/>
                  <a:pt x="237744" y="519348"/>
                </a:cubicBezTo>
                <a:cubicBezTo>
                  <a:pt x="106442" y="519348"/>
                  <a:pt x="0" y="403088"/>
                  <a:pt x="0" y="259674"/>
                </a:cubicBezTo>
                <a:cubicBezTo>
                  <a:pt x="0" y="116260"/>
                  <a:pt x="106442" y="0"/>
                  <a:pt x="237744" y="0"/>
                </a:cubicBezTo>
                <a:close/>
              </a:path>
            </a:pathLst>
          </a:cu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chor="ctr" anchorCtr="0">
            <a:noAutofit/>
          </a:bodyPr>
          <a:lstStyle>
            <a:lvl1pPr marL="0" indent="0" algn="ctr">
              <a:buNone/>
              <a:defRPr sz="1800" b="1">
                <a:solidFill>
                  <a:schemeClr val="tx2"/>
                </a:solidFill>
              </a:defRPr>
            </a:lvl1pPr>
          </a:lstStyle>
          <a:p>
            <a:pPr lvl="0"/>
            <a:r>
              <a:rPr lang="en-US"/>
              <a:t>#</a:t>
            </a:r>
          </a:p>
        </p:txBody>
      </p:sp>
      <p:sp>
        <p:nvSpPr>
          <p:cNvPr id="117" name="Text Placeholder 11">
            <a:extLst>
              <a:ext uri="{FF2B5EF4-FFF2-40B4-BE49-F238E27FC236}">
                <a16:creationId xmlns:a16="http://schemas.microsoft.com/office/drawing/2014/main" id="{2556C04C-B901-B5AA-592E-DD71EBF11C03}"/>
              </a:ext>
            </a:extLst>
          </p:cNvPr>
          <p:cNvSpPr>
            <a:spLocks noGrp="1"/>
          </p:cNvSpPr>
          <p:nvPr>
            <p:ph type="body" sz="quarter" idx="29"/>
          </p:nvPr>
        </p:nvSpPr>
        <p:spPr>
          <a:xfrm>
            <a:off x="390839" y="3861477"/>
            <a:ext cx="1868487" cy="271300"/>
          </a:xfrm>
        </p:spPr>
        <p:txBody>
          <a:bodyPr/>
          <a:lstStyle>
            <a:lvl1pPr marL="0" indent="0" algn="ctr">
              <a:spcBef>
                <a:spcPts val="0"/>
              </a:spcBef>
              <a:buNone/>
              <a:defRPr kumimoji="0" lang="en-US" sz="1400" b="1" i="0" u="none" strike="noStrike" cap="none" spc="0" normalizeH="0" baseline="0" dirty="0" smtClean="0">
                <a:ln>
                  <a:noFill/>
                </a:ln>
                <a:solidFill>
                  <a:schemeClr val="tx2"/>
                </a:solidFill>
                <a:effectLst/>
                <a:uFillTx/>
                <a:latin typeface="Inter" panose="02000503000000020004" pitchFamily="2" charset="0"/>
                <a:ea typeface="Inter" panose="02000503000000020004" pitchFamily="2" charset="0"/>
                <a:cs typeface="Arial"/>
                <a:sym typeface="Arial"/>
              </a:defRPr>
            </a:lvl1pPr>
            <a:lvl2pPr marL="0" indent="0" algn="ctr">
              <a:spcBef>
                <a:spcPts val="60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2pPr>
            <a:lvl3pPr marL="0" indent="0" algn="ctr">
              <a:spcBef>
                <a:spcPts val="0"/>
              </a:spcBef>
              <a:buNone/>
              <a:defRPr kumimoji="0" lang="en-US" sz="1200" b="0" i="0" u="none" strike="noStrike" cap="none" spc="0" normalizeH="0" baseline="0" dirty="0" smtClean="0">
                <a:ln>
                  <a:noFill/>
                </a:ln>
                <a:solidFill>
                  <a:schemeClr val="tx1"/>
                </a:solidFill>
                <a:effectLst/>
                <a:uFillTx/>
                <a:latin typeface="Inter" panose="02000503000000020004" pitchFamily="2" charset="0"/>
                <a:ea typeface="Inter" panose="02000503000000020004" pitchFamily="2" charset="0"/>
                <a:cs typeface="Arial"/>
                <a:sym typeface="Arial"/>
              </a:defRPr>
            </a:lvl3pPr>
            <a:lvl4pPr marL="0" indent="0" algn="ctr">
              <a:spcBef>
                <a:spcPts val="0"/>
              </a:spcBef>
              <a:buNone/>
              <a:defRPr kumimoji="0" lang="en-US" sz="1200" b="0"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Arial"/>
                <a:sym typeface="Arial"/>
              </a:defRPr>
            </a:lvl4pPr>
            <a:lvl5pPr marL="0" indent="0" algn="ctr">
              <a:spcBef>
                <a:spcPts val="0"/>
              </a:spcBef>
              <a:buNone/>
              <a:defRPr kumimoji="0" lang="en-US" sz="1200" b="0" i="0" u="none" strike="noStrike" cap="none" spc="0" normalizeH="0" baseline="0" dirty="0">
                <a:ln>
                  <a:noFill/>
                </a:ln>
                <a:solidFill>
                  <a:schemeClr val="bg1"/>
                </a:solidFill>
                <a:effectLst/>
                <a:uFillTx/>
                <a:latin typeface="Inter" panose="02000503000000020004" pitchFamily="2" charset="0"/>
                <a:ea typeface="Inter" panose="02000503000000020004" pitchFamily="2" charset="0"/>
                <a:cs typeface="Arial"/>
                <a:sym typeface="Arial"/>
              </a:defRPr>
            </a:lvl5pPr>
          </a:lstStyle>
          <a:p>
            <a:pPr lvl="0"/>
            <a:r>
              <a:rPr lang="en-US"/>
              <a:t>Click to edit Master text styles</a:t>
            </a:r>
          </a:p>
        </p:txBody>
      </p:sp>
      <p:cxnSp>
        <p:nvCxnSpPr>
          <p:cNvPr id="123" name="Straight Connector 122">
            <a:extLst>
              <a:ext uri="{FF2B5EF4-FFF2-40B4-BE49-F238E27FC236}">
                <a16:creationId xmlns:a16="http://schemas.microsoft.com/office/drawing/2014/main" id="{8B752990-999D-969B-6C4A-FC14039598C3}"/>
              </a:ext>
            </a:extLst>
          </p:cNvPr>
          <p:cNvCxnSpPr/>
          <p:nvPr userDrawn="1"/>
        </p:nvCxnSpPr>
        <p:spPr>
          <a:xfrm>
            <a:off x="2475325" y="4121724"/>
            <a:ext cx="1475366" cy="0"/>
          </a:xfrm>
          <a:prstGeom prst="line">
            <a:avLst/>
          </a:prstGeom>
          <a:noFill/>
          <a:ln w="635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33" name="Block Arc 132">
            <a:extLst>
              <a:ext uri="{FF2B5EF4-FFF2-40B4-BE49-F238E27FC236}">
                <a16:creationId xmlns:a16="http://schemas.microsoft.com/office/drawing/2014/main" id="{B86548BD-230F-5857-9517-36BE85E29A18}"/>
              </a:ext>
            </a:extLst>
          </p:cNvPr>
          <p:cNvSpPr/>
          <p:nvPr userDrawn="1"/>
        </p:nvSpPr>
        <p:spPr>
          <a:xfrm>
            <a:off x="4729138" y="2558018"/>
            <a:ext cx="803875" cy="803875"/>
          </a:xfrm>
          <a:prstGeom prst="blockArc">
            <a:avLst>
              <a:gd name="adj1" fmla="val 11035418"/>
              <a:gd name="adj2" fmla="val 21467869"/>
              <a:gd name="adj3" fmla="val 41"/>
            </a:avLst>
          </a:prstGeom>
          <a:solidFill>
            <a:srgbClr val="FFFFFF"/>
          </a:solidFill>
          <a:ln w="12700"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cxnSp>
        <p:nvCxnSpPr>
          <p:cNvPr id="137" name="Straight Connector 136">
            <a:extLst>
              <a:ext uri="{FF2B5EF4-FFF2-40B4-BE49-F238E27FC236}">
                <a16:creationId xmlns:a16="http://schemas.microsoft.com/office/drawing/2014/main" id="{073F51C7-A6A7-426B-36CE-184E64052A1C}"/>
              </a:ext>
            </a:extLst>
          </p:cNvPr>
          <p:cNvCxnSpPr/>
          <p:nvPr userDrawn="1"/>
        </p:nvCxnSpPr>
        <p:spPr>
          <a:xfrm>
            <a:off x="4371267" y="4121724"/>
            <a:ext cx="1475366" cy="0"/>
          </a:xfrm>
          <a:prstGeom prst="line">
            <a:avLst/>
          </a:prstGeom>
          <a:noFill/>
          <a:ln w="6350" cap="flat">
            <a:solidFill>
              <a:schemeClr val="accent5"/>
            </a:solidFill>
            <a:prstDash val="solid"/>
            <a:miter lim="800000"/>
          </a:ln>
          <a:effectLst/>
          <a:sp3d/>
        </p:spPr>
        <p:style>
          <a:lnRef idx="0">
            <a:scrgbClr r="0" g="0" b="0"/>
          </a:lnRef>
          <a:fillRef idx="0">
            <a:scrgbClr r="0" g="0" b="0"/>
          </a:fillRef>
          <a:effectRef idx="0">
            <a:scrgbClr r="0" g="0" b="0"/>
          </a:effectRef>
          <a:fontRef idx="none"/>
        </p:style>
      </p:cxnSp>
      <p:cxnSp>
        <p:nvCxnSpPr>
          <p:cNvPr id="139" name="Straight Connector 138">
            <a:extLst>
              <a:ext uri="{FF2B5EF4-FFF2-40B4-BE49-F238E27FC236}">
                <a16:creationId xmlns:a16="http://schemas.microsoft.com/office/drawing/2014/main" id="{DB16E066-DCD1-AB4B-FE75-E6905CDCB4D0}"/>
              </a:ext>
            </a:extLst>
          </p:cNvPr>
          <p:cNvCxnSpPr/>
          <p:nvPr userDrawn="1"/>
        </p:nvCxnSpPr>
        <p:spPr>
          <a:xfrm>
            <a:off x="4368671" y="4121724"/>
            <a:ext cx="1475366" cy="0"/>
          </a:xfrm>
          <a:prstGeom prst="line">
            <a:avLst/>
          </a:prstGeom>
          <a:noFill/>
          <a:ln w="635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53" name="Freeform 152">
            <a:extLst>
              <a:ext uri="{FF2B5EF4-FFF2-40B4-BE49-F238E27FC236}">
                <a16:creationId xmlns:a16="http://schemas.microsoft.com/office/drawing/2014/main" id="{4031E2F6-12E2-2CEF-BF03-E53F65736724}"/>
              </a:ext>
            </a:extLst>
          </p:cNvPr>
          <p:cNvSpPr/>
          <p:nvPr userDrawn="1"/>
        </p:nvSpPr>
        <p:spPr>
          <a:xfrm rot="10800000">
            <a:off x="8642435" y="2664654"/>
            <a:ext cx="615210" cy="750359"/>
          </a:xfrm>
          <a:custGeom>
            <a:avLst/>
            <a:gdLst>
              <a:gd name="connsiteX0" fmla="*/ 342900 w 685800"/>
              <a:gd name="connsiteY0" fmla="*/ 836455 h 836455"/>
              <a:gd name="connsiteX1" fmla="*/ 0 w 685800"/>
              <a:gd name="connsiteY1" fmla="*/ 493555 h 836455"/>
              <a:gd name="connsiteX2" fmla="*/ 209428 w 685800"/>
              <a:gd name="connsiteY2" fmla="*/ 177602 h 836455"/>
              <a:gd name="connsiteX3" fmla="*/ 246580 w 685800"/>
              <a:gd name="connsiteY3" fmla="*/ 166069 h 836455"/>
              <a:gd name="connsiteX4" fmla="*/ 342900 w 685800"/>
              <a:gd name="connsiteY4" fmla="*/ 0 h 836455"/>
              <a:gd name="connsiteX5" fmla="*/ 439220 w 685800"/>
              <a:gd name="connsiteY5" fmla="*/ 166069 h 836455"/>
              <a:gd name="connsiteX6" fmla="*/ 476372 w 685800"/>
              <a:gd name="connsiteY6" fmla="*/ 177602 h 836455"/>
              <a:gd name="connsiteX7" fmla="*/ 685800 w 685800"/>
              <a:gd name="connsiteY7" fmla="*/ 493555 h 836455"/>
              <a:gd name="connsiteX8" fmla="*/ 342900 w 685800"/>
              <a:gd name="connsiteY8" fmla="*/ 836455 h 8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 h="836455">
                <a:moveTo>
                  <a:pt x="342900" y="836455"/>
                </a:moveTo>
                <a:cubicBezTo>
                  <a:pt x="153522" y="836455"/>
                  <a:pt x="0" y="682933"/>
                  <a:pt x="0" y="493555"/>
                </a:cubicBezTo>
                <a:cubicBezTo>
                  <a:pt x="0" y="351522"/>
                  <a:pt x="86356" y="229657"/>
                  <a:pt x="209428" y="177602"/>
                </a:cubicBezTo>
                <a:lnTo>
                  <a:pt x="246580" y="166069"/>
                </a:lnTo>
                <a:lnTo>
                  <a:pt x="342900" y="0"/>
                </a:lnTo>
                <a:lnTo>
                  <a:pt x="439220" y="166069"/>
                </a:lnTo>
                <a:lnTo>
                  <a:pt x="476372" y="177602"/>
                </a:lnTo>
                <a:cubicBezTo>
                  <a:pt x="599444" y="229657"/>
                  <a:pt x="685800" y="351522"/>
                  <a:pt x="685800" y="493555"/>
                </a:cubicBezTo>
                <a:cubicBezTo>
                  <a:pt x="685800" y="682933"/>
                  <a:pt x="532278" y="836455"/>
                  <a:pt x="342900" y="836455"/>
                </a:cubicBezTo>
                <a:close/>
              </a:path>
            </a:pathLst>
          </a:cu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54" name="Text Placeholder 153">
            <a:extLst>
              <a:ext uri="{FF2B5EF4-FFF2-40B4-BE49-F238E27FC236}">
                <a16:creationId xmlns:a16="http://schemas.microsoft.com/office/drawing/2014/main" id="{122168CD-7ACC-296F-4680-F87BC6FD32CF}"/>
              </a:ext>
            </a:extLst>
          </p:cNvPr>
          <p:cNvSpPr>
            <a:spLocks noGrp="1"/>
          </p:cNvSpPr>
          <p:nvPr>
            <p:ph type="body" sz="quarter" idx="39" hasCustomPrompt="1"/>
          </p:nvPr>
        </p:nvSpPr>
        <p:spPr>
          <a:xfrm>
            <a:off x="8698580" y="2723344"/>
            <a:ext cx="502920" cy="502920"/>
          </a:xfrm>
          <a:custGeom>
            <a:avLst/>
            <a:gdLst>
              <a:gd name="connsiteX0" fmla="*/ 237744 w 475488"/>
              <a:gd name="connsiteY0" fmla="*/ 0 h 519348"/>
              <a:gd name="connsiteX1" fmla="*/ 475488 w 475488"/>
              <a:gd name="connsiteY1" fmla="*/ 259674 h 519348"/>
              <a:gd name="connsiteX2" fmla="*/ 237744 w 475488"/>
              <a:gd name="connsiteY2" fmla="*/ 519348 h 519348"/>
              <a:gd name="connsiteX3" fmla="*/ 0 w 475488"/>
              <a:gd name="connsiteY3" fmla="*/ 259674 h 519348"/>
              <a:gd name="connsiteX4" fmla="*/ 237744 w 475488"/>
              <a:gd name="connsiteY4" fmla="*/ 0 h 519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88" h="519348">
                <a:moveTo>
                  <a:pt x="237744" y="0"/>
                </a:moveTo>
                <a:cubicBezTo>
                  <a:pt x="369046" y="0"/>
                  <a:pt x="475488" y="116260"/>
                  <a:pt x="475488" y="259674"/>
                </a:cubicBezTo>
                <a:cubicBezTo>
                  <a:pt x="475488" y="403088"/>
                  <a:pt x="369046" y="519348"/>
                  <a:pt x="237744" y="519348"/>
                </a:cubicBezTo>
                <a:cubicBezTo>
                  <a:pt x="106442" y="519348"/>
                  <a:pt x="0" y="403088"/>
                  <a:pt x="0" y="259674"/>
                </a:cubicBezTo>
                <a:cubicBezTo>
                  <a:pt x="0" y="116260"/>
                  <a:pt x="106442" y="0"/>
                  <a:pt x="237744" y="0"/>
                </a:cubicBezTo>
                <a:close/>
              </a:path>
            </a:pathLst>
          </a:cu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chor="ctr" anchorCtr="0">
            <a:noAutofit/>
          </a:bodyPr>
          <a:lstStyle>
            <a:lvl1pPr marL="0" indent="0" algn="ctr">
              <a:buNone/>
              <a:defRPr sz="1800" b="1">
                <a:solidFill>
                  <a:schemeClr val="tx2"/>
                </a:solidFill>
              </a:defRPr>
            </a:lvl1pPr>
          </a:lstStyle>
          <a:p>
            <a:pPr lvl="0"/>
            <a:r>
              <a:rPr lang="en-US"/>
              <a:t>#</a:t>
            </a:r>
          </a:p>
        </p:txBody>
      </p:sp>
      <p:sp>
        <p:nvSpPr>
          <p:cNvPr id="30" name="Block Arc 29">
            <a:extLst>
              <a:ext uri="{FF2B5EF4-FFF2-40B4-BE49-F238E27FC236}">
                <a16:creationId xmlns:a16="http://schemas.microsoft.com/office/drawing/2014/main" id="{0AD53BA9-0D31-F455-5B1E-BFA1D675BFD1}"/>
              </a:ext>
            </a:extLst>
          </p:cNvPr>
          <p:cNvSpPr/>
          <p:nvPr/>
        </p:nvSpPr>
        <p:spPr>
          <a:xfrm>
            <a:off x="8558488" y="2558018"/>
            <a:ext cx="803875" cy="803875"/>
          </a:xfrm>
          <a:prstGeom prst="blockArc">
            <a:avLst>
              <a:gd name="adj1" fmla="val 11035418"/>
              <a:gd name="adj2" fmla="val 21467869"/>
              <a:gd name="adj3" fmla="val 41"/>
            </a:avLst>
          </a:prstGeom>
          <a:solidFill>
            <a:srgbClr val="FFFFFF"/>
          </a:solidFill>
          <a:ln w="12700" cap="flat">
            <a:solidFill>
              <a:schemeClr val="accent6">
                <a:lumMod val="75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67" name="Freeform 166">
            <a:extLst>
              <a:ext uri="{FF2B5EF4-FFF2-40B4-BE49-F238E27FC236}">
                <a16:creationId xmlns:a16="http://schemas.microsoft.com/office/drawing/2014/main" id="{87127241-0EB1-38AB-564F-CA6CF2E475AB}"/>
              </a:ext>
            </a:extLst>
          </p:cNvPr>
          <p:cNvSpPr/>
          <p:nvPr userDrawn="1"/>
        </p:nvSpPr>
        <p:spPr>
          <a:xfrm rot="10800000">
            <a:off x="10535780" y="2664654"/>
            <a:ext cx="615210" cy="750359"/>
          </a:xfrm>
          <a:custGeom>
            <a:avLst/>
            <a:gdLst>
              <a:gd name="connsiteX0" fmla="*/ 342900 w 685800"/>
              <a:gd name="connsiteY0" fmla="*/ 836455 h 836455"/>
              <a:gd name="connsiteX1" fmla="*/ 0 w 685800"/>
              <a:gd name="connsiteY1" fmla="*/ 493555 h 836455"/>
              <a:gd name="connsiteX2" fmla="*/ 209428 w 685800"/>
              <a:gd name="connsiteY2" fmla="*/ 177602 h 836455"/>
              <a:gd name="connsiteX3" fmla="*/ 246580 w 685800"/>
              <a:gd name="connsiteY3" fmla="*/ 166069 h 836455"/>
              <a:gd name="connsiteX4" fmla="*/ 342900 w 685800"/>
              <a:gd name="connsiteY4" fmla="*/ 0 h 836455"/>
              <a:gd name="connsiteX5" fmla="*/ 439220 w 685800"/>
              <a:gd name="connsiteY5" fmla="*/ 166069 h 836455"/>
              <a:gd name="connsiteX6" fmla="*/ 476372 w 685800"/>
              <a:gd name="connsiteY6" fmla="*/ 177602 h 836455"/>
              <a:gd name="connsiteX7" fmla="*/ 685800 w 685800"/>
              <a:gd name="connsiteY7" fmla="*/ 493555 h 836455"/>
              <a:gd name="connsiteX8" fmla="*/ 342900 w 685800"/>
              <a:gd name="connsiteY8" fmla="*/ 836455 h 8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 h="836455">
                <a:moveTo>
                  <a:pt x="342900" y="836455"/>
                </a:moveTo>
                <a:cubicBezTo>
                  <a:pt x="153522" y="836455"/>
                  <a:pt x="0" y="682933"/>
                  <a:pt x="0" y="493555"/>
                </a:cubicBezTo>
                <a:cubicBezTo>
                  <a:pt x="0" y="351522"/>
                  <a:pt x="86356" y="229657"/>
                  <a:pt x="209428" y="177602"/>
                </a:cubicBezTo>
                <a:lnTo>
                  <a:pt x="246580" y="166069"/>
                </a:lnTo>
                <a:lnTo>
                  <a:pt x="342900" y="0"/>
                </a:lnTo>
                <a:lnTo>
                  <a:pt x="439220" y="166069"/>
                </a:lnTo>
                <a:lnTo>
                  <a:pt x="476372" y="177602"/>
                </a:lnTo>
                <a:cubicBezTo>
                  <a:pt x="599444" y="229657"/>
                  <a:pt x="685800" y="351522"/>
                  <a:pt x="685800" y="493555"/>
                </a:cubicBezTo>
                <a:cubicBezTo>
                  <a:pt x="685800" y="682933"/>
                  <a:pt x="532278" y="836455"/>
                  <a:pt x="342900" y="836455"/>
                </a:cubicBezTo>
                <a:close/>
              </a:path>
            </a:pathLst>
          </a:custGeom>
          <a:solidFill>
            <a:schemeClr val="accent5">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68" name="Text Placeholder 167">
            <a:extLst>
              <a:ext uri="{FF2B5EF4-FFF2-40B4-BE49-F238E27FC236}">
                <a16:creationId xmlns:a16="http://schemas.microsoft.com/office/drawing/2014/main" id="{51D0D415-14C1-352A-DD1F-D226AA4A765A}"/>
              </a:ext>
            </a:extLst>
          </p:cNvPr>
          <p:cNvSpPr>
            <a:spLocks noGrp="1"/>
          </p:cNvSpPr>
          <p:nvPr>
            <p:ph type="body" sz="quarter" idx="44" hasCustomPrompt="1"/>
          </p:nvPr>
        </p:nvSpPr>
        <p:spPr>
          <a:xfrm>
            <a:off x="10591925" y="2723344"/>
            <a:ext cx="502920" cy="502920"/>
          </a:xfrm>
          <a:custGeom>
            <a:avLst/>
            <a:gdLst>
              <a:gd name="connsiteX0" fmla="*/ 237744 w 475488"/>
              <a:gd name="connsiteY0" fmla="*/ 0 h 519348"/>
              <a:gd name="connsiteX1" fmla="*/ 475488 w 475488"/>
              <a:gd name="connsiteY1" fmla="*/ 259674 h 519348"/>
              <a:gd name="connsiteX2" fmla="*/ 237744 w 475488"/>
              <a:gd name="connsiteY2" fmla="*/ 519348 h 519348"/>
              <a:gd name="connsiteX3" fmla="*/ 0 w 475488"/>
              <a:gd name="connsiteY3" fmla="*/ 259674 h 519348"/>
              <a:gd name="connsiteX4" fmla="*/ 237744 w 475488"/>
              <a:gd name="connsiteY4" fmla="*/ 0 h 519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88" h="519348">
                <a:moveTo>
                  <a:pt x="237744" y="0"/>
                </a:moveTo>
                <a:cubicBezTo>
                  <a:pt x="369046" y="0"/>
                  <a:pt x="475488" y="116260"/>
                  <a:pt x="475488" y="259674"/>
                </a:cubicBezTo>
                <a:cubicBezTo>
                  <a:pt x="475488" y="403088"/>
                  <a:pt x="369046" y="519348"/>
                  <a:pt x="237744" y="519348"/>
                </a:cubicBezTo>
                <a:cubicBezTo>
                  <a:pt x="106442" y="519348"/>
                  <a:pt x="0" y="403088"/>
                  <a:pt x="0" y="259674"/>
                </a:cubicBezTo>
                <a:cubicBezTo>
                  <a:pt x="0" y="116260"/>
                  <a:pt x="106442" y="0"/>
                  <a:pt x="237744" y="0"/>
                </a:cubicBezTo>
                <a:close/>
              </a:path>
            </a:pathLst>
          </a:cu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chor="ctr" anchorCtr="0">
            <a:noAutofit/>
          </a:bodyPr>
          <a:lstStyle>
            <a:lvl1pPr marL="0" indent="0" algn="ctr">
              <a:buNone/>
              <a:defRPr sz="1800" b="1">
                <a:solidFill>
                  <a:schemeClr val="accent5">
                    <a:lumMod val="75000"/>
                  </a:schemeClr>
                </a:solidFill>
              </a:defRPr>
            </a:lvl1pPr>
          </a:lstStyle>
          <a:p>
            <a:pPr lvl="0"/>
            <a:r>
              <a:rPr lang="en-US"/>
              <a:t>#</a:t>
            </a:r>
          </a:p>
        </p:txBody>
      </p:sp>
      <p:sp>
        <p:nvSpPr>
          <p:cNvPr id="169" name="Block Arc 168">
            <a:extLst>
              <a:ext uri="{FF2B5EF4-FFF2-40B4-BE49-F238E27FC236}">
                <a16:creationId xmlns:a16="http://schemas.microsoft.com/office/drawing/2014/main" id="{2DBF0033-C73B-A949-EC0A-A76ED7460A58}"/>
              </a:ext>
            </a:extLst>
          </p:cNvPr>
          <p:cNvSpPr/>
          <p:nvPr userDrawn="1"/>
        </p:nvSpPr>
        <p:spPr>
          <a:xfrm>
            <a:off x="10451833" y="2558018"/>
            <a:ext cx="803875" cy="803875"/>
          </a:xfrm>
          <a:prstGeom prst="blockArc">
            <a:avLst>
              <a:gd name="adj1" fmla="val 11035418"/>
              <a:gd name="adj2" fmla="val 21467869"/>
              <a:gd name="adj3" fmla="val 41"/>
            </a:avLst>
          </a:prstGeom>
          <a:solidFill>
            <a:srgbClr val="FFFFFF"/>
          </a:solidFill>
          <a:ln w="12700" cap="flat">
            <a:solidFill>
              <a:schemeClr val="accent5">
                <a:lumMod val="75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4" name="Text Placeholder 6">
            <a:extLst>
              <a:ext uri="{FF2B5EF4-FFF2-40B4-BE49-F238E27FC236}">
                <a16:creationId xmlns:a16="http://schemas.microsoft.com/office/drawing/2014/main" id="{60C4295C-31B5-B71E-DF31-95CACAE03E7B}"/>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07979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line Headline-Left Side Text">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3873565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9" name="Text Placeholder 8">
            <a:extLst>
              <a:ext uri="{FF2B5EF4-FFF2-40B4-BE49-F238E27FC236}">
                <a16:creationId xmlns:a16="http://schemas.microsoft.com/office/drawing/2014/main" id="{4AF2EC42-41E0-F845-A032-332FB6CB293B}"/>
              </a:ext>
            </a:extLst>
          </p:cNvPr>
          <p:cNvSpPr>
            <a:spLocks noGrp="1"/>
          </p:cNvSpPr>
          <p:nvPr>
            <p:ph type="body" sz="quarter" idx="26"/>
          </p:nvPr>
        </p:nvSpPr>
        <p:spPr>
          <a:xfrm>
            <a:off x="609600" y="1408176"/>
            <a:ext cx="2705100" cy="2864886"/>
          </a:xfrm>
        </p:spPr>
        <p:txBody>
          <a:bodyPr/>
          <a:lstStyle>
            <a:lvl1pPr marL="182880" indent="-182880">
              <a:lnSpc>
                <a:spcPct val="120000"/>
              </a:lnSpc>
              <a:spcBef>
                <a:spcPts val="300"/>
              </a:spcBef>
              <a:buFont typeface="System Font Regular"/>
              <a:buChar char="+"/>
              <a:defRPr/>
            </a:lvl1pPr>
            <a:lvl2pPr marL="365760" indent="-182880">
              <a:lnSpc>
                <a:spcPct val="120000"/>
              </a:lnSpc>
              <a:spcBef>
                <a:spcPts val="300"/>
              </a:spcBef>
              <a:buFont typeface="Arial" panose="020B0604020202020204" pitchFamily="34" charset="0"/>
              <a:buChar char="•"/>
              <a:defRPr/>
            </a:lvl2pPr>
          </a:lstStyle>
          <a:p>
            <a:pPr lvl="0"/>
            <a:r>
              <a:rPr lang="en-US"/>
              <a:t>Click to edit Master text styles</a:t>
            </a:r>
          </a:p>
          <a:p>
            <a:pPr lvl="1"/>
            <a:r>
              <a:rPr lang="en-US"/>
              <a:t>Second level</a:t>
            </a:r>
          </a:p>
        </p:txBody>
      </p:sp>
      <p:sp>
        <p:nvSpPr>
          <p:cNvPr id="7" name="Text Placeholder 8">
            <a:extLst>
              <a:ext uri="{FF2B5EF4-FFF2-40B4-BE49-F238E27FC236}">
                <a16:creationId xmlns:a16="http://schemas.microsoft.com/office/drawing/2014/main" id="{6218C03B-72E2-56EE-52A4-703609501E69}"/>
              </a:ext>
            </a:extLst>
          </p:cNvPr>
          <p:cNvSpPr>
            <a:spLocks noGrp="1"/>
          </p:cNvSpPr>
          <p:nvPr>
            <p:ph type="body" sz="quarter" idx="27"/>
          </p:nvPr>
        </p:nvSpPr>
        <p:spPr>
          <a:xfrm>
            <a:off x="609600" y="4430147"/>
            <a:ext cx="2706624" cy="1371600"/>
          </a:xfrm>
          <a:solidFill>
            <a:schemeClr val="bg1">
              <a:lumMod val="95000"/>
            </a:schemeClr>
          </a:solidFill>
        </p:spPr>
        <p:txBody>
          <a:bodyPr lIns="137160" tIns="91440" rIns="137160" bIns="91440" anchor="ctr" anchorCtr="0"/>
          <a:lstStyle>
            <a:lvl1pPr marL="0" indent="0">
              <a:lnSpc>
                <a:spcPct val="120000"/>
              </a:lnSpc>
              <a:spcBef>
                <a:spcPts val="300"/>
              </a:spcBef>
              <a:buFont typeface="System Font Regular"/>
              <a:buNone/>
              <a:defRPr b="1">
                <a:solidFill>
                  <a:schemeClr val="tx2"/>
                </a:solidFill>
              </a:defRPr>
            </a:lvl1pPr>
            <a:lvl2pPr marL="137160" indent="-137160">
              <a:lnSpc>
                <a:spcPct val="120000"/>
              </a:lnSpc>
              <a:spcBef>
                <a:spcPts val="300"/>
              </a:spcBef>
              <a:buFont typeface="System Font Regular"/>
              <a:buChar char="+"/>
              <a:defRPr/>
            </a:lvl2pPr>
          </a:lstStyle>
          <a:p>
            <a:pPr lvl="0"/>
            <a:r>
              <a:rPr lang="en-US"/>
              <a:t>Click to edit Master text styles</a:t>
            </a:r>
          </a:p>
          <a:p>
            <a:pPr lvl="1"/>
            <a:r>
              <a:rPr lang="en-US"/>
              <a:t>Second level</a:t>
            </a:r>
          </a:p>
        </p:txBody>
      </p:sp>
      <p:sp>
        <p:nvSpPr>
          <p:cNvPr id="4" name="Text Placeholder 6">
            <a:extLst>
              <a:ext uri="{FF2B5EF4-FFF2-40B4-BE49-F238E27FC236}">
                <a16:creationId xmlns:a16="http://schemas.microsoft.com/office/drawing/2014/main" id="{6BA0DA7D-1B3A-47EC-7994-74DA63C363A0}"/>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677524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oject Team">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3873565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7" name="Picture Placeholder 6">
            <a:extLst>
              <a:ext uri="{FF2B5EF4-FFF2-40B4-BE49-F238E27FC236}">
                <a16:creationId xmlns:a16="http://schemas.microsoft.com/office/drawing/2014/main" id="{64F9890E-11F7-5106-5FB5-451FC25400E1}"/>
              </a:ext>
            </a:extLst>
          </p:cNvPr>
          <p:cNvSpPr>
            <a:spLocks noGrp="1"/>
          </p:cNvSpPr>
          <p:nvPr>
            <p:ph type="pic" sz="quarter" idx="38"/>
          </p:nvPr>
        </p:nvSpPr>
        <p:spPr>
          <a:xfrm>
            <a:off x="7474274" y="2192918"/>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9" name="Text Placeholder 55">
            <a:extLst>
              <a:ext uri="{FF2B5EF4-FFF2-40B4-BE49-F238E27FC236}">
                <a16:creationId xmlns:a16="http://schemas.microsoft.com/office/drawing/2014/main" id="{DB928F3B-1457-8FC0-B142-22D869DDB7AC}"/>
              </a:ext>
            </a:extLst>
          </p:cNvPr>
          <p:cNvSpPr>
            <a:spLocks noGrp="1"/>
          </p:cNvSpPr>
          <p:nvPr>
            <p:ph type="body" sz="quarter" idx="39" hasCustomPrompt="1"/>
          </p:nvPr>
        </p:nvSpPr>
        <p:spPr>
          <a:xfrm>
            <a:off x="7104186" y="3444430"/>
            <a:ext cx="1909570" cy="520700"/>
          </a:xfrm>
        </p:spPr>
        <p:txBody>
          <a:bodyPr/>
          <a:lstStyle>
            <a:lvl1pPr marL="0" indent="0" algn="ctr">
              <a:lnSpc>
                <a:spcPct val="100000"/>
              </a:lnSpc>
              <a:buNone/>
              <a:defRPr lang="en-US" sz="1000" b="1" i="0" u="none" strike="noStrike" cap="none" spc="0" baseline="0" dirty="0" smtClean="0">
                <a:solidFill>
                  <a:schemeClr val="tx2"/>
                </a:solidFill>
                <a:uFillTx/>
                <a:latin typeface="Inter" panose="02000503000000020004" pitchFamily="2" charset="0"/>
                <a:ea typeface="Inter" panose="02000503000000020004" pitchFamily="2" charset="0"/>
                <a:cs typeface="Arial"/>
                <a:sym typeface="Aria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marL="0" marR="0" lvl="0" indent="0" algn="ctr" defTabSz="914400" rtl="0" latinLnBrk="0">
              <a:lnSpc>
                <a:spcPct val="100000"/>
              </a:lnSpc>
              <a:spcBef>
                <a:spcPts val="1000"/>
              </a:spcBef>
              <a:spcAft>
                <a:spcPts val="0"/>
              </a:spcAft>
              <a:buClr>
                <a:schemeClr val="tx1"/>
              </a:buClr>
              <a:buSzPct val="100000"/>
              <a:buFont typeface="System Font Regular"/>
              <a:buNone/>
              <a:tabLst/>
            </a:pPr>
            <a:r>
              <a:rPr lang="en-US"/>
              <a:t>Click to edit Name</a:t>
            </a:r>
          </a:p>
          <a:p>
            <a:pPr lvl="1"/>
            <a:r>
              <a:rPr lang="en-US"/>
              <a:t>Second level Title</a:t>
            </a:r>
          </a:p>
        </p:txBody>
      </p:sp>
      <p:sp>
        <p:nvSpPr>
          <p:cNvPr id="10" name="Picture Placeholder 9">
            <a:extLst>
              <a:ext uri="{FF2B5EF4-FFF2-40B4-BE49-F238E27FC236}">
                <a16:creationId xmlns:a16="http://schemas.microsoft.com/office/drawing/2014/main" id="{2724CFF0-4488-BD4A-F495-318D27F54406}"/>
              </a:ext>
            </a:extLst>
          </p:cNvPr>
          <p:cNvSpPr>
            <a:spLocks noGrp="1"/>
          </p:cNvSpPr>
          <p:nvPr>
            <p:ph type="pic" sz="quarter" idx="40"/>
          </p:nvPr>
        </p:nvSpPr>
        <p:spPr>
          <a:xfrm>
            <a:off x="9549259" y="2192918"/>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11" name="Text Placeholder 55">
            <a:extLst>
              <a:ext uri="{FF2B5EF4-FFF2-40B4-BE49-F238E27FC236}">
                <a16:creationId xmlns:a16="http://schemas.microsoft.com/office/drawing/2014/main" id="{5388FE9E-CEDC-2281-BFB5-B9D772100E7E}"/>
              </a:ext>
            </a:extLst>
          </p:cNvPr>
          <p:cNvSpPr>
            <a:spLocks noGrp="1"/>
          </p:cNvSpPr>
          <p:nvPr>
            <p:ph type="body" sz="quarter" idx="41" hasCustomPrompt="1"/>
          </p:nvPr>
        </p:nvSpPr>
        <p:spPr>
          <a:xfrm>
            <a:off x="9135209" y="3444430"/>
            <a:ext cx="1997494" cy="520700"/>
          </a:xfrm>
        </p:spPr>
        <p:txBody>
          <a:bodyPr/>
          <a:lstStyle>
            <a:lvl1pPr marL="0" indent="0" algn="ctr">
              <a:lnSpc>
                <a:spcPct val="100000"/>
              </a:lnSpc>
              <a:buNone/>
              <a:defRPr lang="en-US" sz="1000" b="1" i="0" u="none" strike="noStrike" cap="none" spc="0" baseline="0" dirty="0" smtClean="0">
                <a:solidFill>
                  <a:schemeClr val="tx2"/>
                </a:solidFill>
                <a:uFillTx/>
                <a:latin typeface="Inter" panose="02000503000000020004" pitchFamily="2" charset="0"/>
                <a:ea typeface="Inter" panose="02000503000000020004" pitchFamily="2" charset="0"/>
                <a:cs typeface="Arial"/>
                <a:sym typeface="Aria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marL="0" marR="0" lvl="0" indent="0" algn="ctr" defTabSz="914400" rtl="0" latinLnBrk="0">
              <a:lnSpc>
                <a:spcPct val="100000"/>
              </a:lnSpc>
              <a:spcBef>
                <a:spcPts val="1000"/>
              </a:spcBef>
              <a:spcAft>
                <a:spcPts val="0"/>
              </a:spcAft>
              <a:buClr>
                <a:schemeClr val="tx1"/>
              </a:buClr>
              <a:buSzPct val="100000"/>
              <a:buFont typeface="System Font Regular"/>
              <a:buNone/>
              <a:tabLst/>
            </a:pPr>
            <a:r>
              <a:rPr lang="en-US"/>
              <a:t>Click to edit Name</a:t>
            </a:r>
          </a:p>
          <a:p>
            <a:pPr lvl="1"/>
            <a:r>
              <a:rPr lang="en-US"/>
              <a:t>Second level Title</a:t>
            </a:r>
          </a:p>
        </p:txBody>
      </p:sp>
      <p:sp>
        <p:nvSpPr>
          <p:cNvPr id="12" name="Picture Placeholder 11">
            <a:extLst>
              <a:ext uri="{FF2B5EF4-FFF2-40B4-BE49-F238E27FC236}">
                <a16:creationId xmlns:a16="http://schemas.microsoft.com/office/drawing/2014/main" id="{E50A1C66-6E32-D6E2-D405-620F24191547}"/>
              </a:ext>
            </a:extLst>
          </p:cNvPr>
          <p:cNvSpPr>
            <a:spLocks noGrp="1"/>
          </p:cNvSpPr>
          <p:nvPr>
            <p:ph type="pic" sz="quarter" idx="42"/>
          </p:nvPr>
        </p:nvSpPr>
        <p:spPr>
          <a:xfrm>
            <a:off x="7474274" y="4065680"/>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13" name="Text Placeholder 55">
            <a:extLst>
              <a:ext uri="{FF2B5EF4-FFF2-40B4-BE49-F238E27FC236}">
                <a16:creationId xmlns:a16="http://schemas.microsoft.com/office/drawing/2014/main" id="{23C848E4-83CD-E0D6-EDE4-E611FFF2A360}"/>
              </a:ext>
            </a:extLst>
          </p:cNvPr>
          <p:cNvSpPr>
            <a:spLocks noGrp="1"/>
          </p:cNvSpPr>
          <p:nvPr>
            <p:ph type="body" sz="quarter" idx="43" hasCustomPrompt="1"/>
          </p:nvPr>
        </p:nvSpPr>
        <p:spPr>
          <a:xfrm>
            <a:off x="7104186" y="5317192"/>
            <a:ext cx="1909570" cy="520700"/>
          </a:xfrm>
        </p:spPr>
        <p:txBody>
          <a:bodyPr/>
          <a:lstStyle>
            <a:lvl1pPr marL="0" indent="0" algn="ctr">
              <a:lnSpc>
                <a:spcPct val="100000"/>
              </a:lnSpc>
              <a:buNone/>
              <a:defRPr lang="en-US" sz="1000" b="1" i="0" u="none" strike="noStrike" cap="none" spc="0" baseline="0" dirty="0" smtClean="0">
                <a:solidFill>
                  <a:schemeClr val="tx2"/>
                </a:solidFill>
                <a:uFillTx/>
                <a:latin typeface="Inter" panose="02000503000000020004" pitchFamily="2" charset="0"/>
                <a:ea typeface="Inter" panose="02000503000000020004" pitchFamily="2" charset="0"/>
                <a:cs typeface="Arial"/>
                <a:sym typeface="Aria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marL="0" marR="0" lvl="0" indent="0" algn="ctr" defTabSz="914400" rtl="0" latinLnBrk="0">
              <a:lnSpc>
                <a:spcPct val="100000"/>
              </a:lnSpc>
              <a:spcBef>
                <a:spcPts val="1000"/>
              </a:spcBef>
              <a:spcAft>
                <a:spcPts val="0"/>
              </a:spcAft>
              <a:buClr>
                <a:schemeClr val="tx1"/>
              </a:buClr>
              <a:buSzPct val="100000"/>
              <a:buFont typeface="System Font Regular"/>
              <a:buNone/>
              <a:tabLst/>
            </a:pPr>
            <a:r>
              <a:rPr lang="en-US"/>
              <a:t>Click to edit Name</a:t>
            </a:r>
          </a:p>
          <a:p>
            <a:pPr lvl="1"/>
            <a:r>
              <a:rPr lang="en-US"/>
              <a:t>Second level Title</a:t>
            </a:r>
          </a:p>
        </p:txBody>
      </p:sp>
      <p:sp>
        <p:nvSpPr>
          <p:cNvPr id="14" name="Picture Placeholder 13">
            <a:extLst>
              <a:ext uri="{FF2B5EF4-FFF2-40B4-BE49-F238E27FC236}">
                <a16:creationId xmlns:a16="http://schemas.microsoft.com/office/drawing/2014/main" id="{57B1A058-0152-7580-EB2E-1851CC1A2673}"/>
              </a:ext>
            </a:extLst>
          </p:cNvPr>
          <p:cNvSpPr>
            <a:spLocks noGrp="1"/>
          </p:cNvSpPr>
          <p:nvPr>
            <p:ph type="pic" sz="quarter" idx="44"/>
          </p:nvPr>
        </p:nvSpPr>
        <p:spPr>
          <a:xfrm>
            <a:off x="9549259" y="4065680"/>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15" name="Text Placeholder 55">
            <a:extLst>
              <a:ext uri="{FF2B5EF4-FFF2-40B4-BE49-F238E27FC236}">
                <a16:creationId xmlns:a16="http://schemas.microsoft.com/office/drawing/2014/main" id="{5B80D6D0-2AF3-F6B6-3DF0-711EF4AB4C88}"/>
              </a:ext>
            </a:extLst>
          </p:cNvPr>
          <p:cNvSpPr>
            <a:spLocks noGrp="1"/>
          </p:cNvSpPr>
          <p:nvPr>
            <p:ph type="body" sz="quarter" idx="45" hasCustomPrompt="1"/>
          </p:nvPr>
        </p:nvSpPr>
        <p:spPr>
          <a:xfrm>
            <a:off x="9135209" y="5317192"/>
            <a:ext cx="1997494" cy="520700"/>
          </a:xfrm>
        </p:spPr>
        <p:txBody>
          <a:bodyPr/>
          <a:lstStyle>
            <a:lvl1pPr marL="0" indent="0" algn="ctr">
              <a:lnSpc>
                <a:spcPct val="100000"/>
              </a:lnSpc>
              <a:buNone/>
              <a:defRPr lang="en-US" sz="1000" b="1" i="0" u="none" strike="noStrike" cap="none" spc="0" baseline="0" dirty="0" smtClean="0">
                <a:solidFill>
                  <a:schemeClr val="tx2"/>
                </a:solidFill>
                <a:uFillTx/>
                <a:latin typeface="Inter" panose="02000503000000020004" pitchFamily="2" charset="0"/>
                <a:ea typeface="Inter" panose="02000503000000020004" pitchFamily="2" charset="0"/>
                <a:cs typeface="Arial"/>
                <a:sym typeface="Aria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marL="0" marR="0" lvl="0" indent="0" algn="ctr" defTabSz="914400" rtl="0" latinLnBrk="0">
              <a:lnSpc>
                <a:spcPct val="100000"/>
              </a:lnSpc>
              <a:spcBef>
                <a:spcPts val="1000"/>
              </a:spcBef>
              <a:spcAft>
                <a:spcPts val="0"/>
              </a:spcAft>
              <a:buClr>
                <a:schemeClr val="tx1"/>
              </a:buClr>
              <a:buSzPct val="100000"/>
              <a:buFont typeface="System Font Regular"/>
              <a:buNone/>
              <a:tabLst/>
            </a:pPr>
            <a:r>
              <a:rPr lang="en-US"/>
              <a:t>Click to edit Name</a:t>
            </a:r>
          </a:p>
          <a:p>
            <a:pPr lvl="1"/>
            <a:r>
              <a:rPr lang="en-US"/>
              <a:t>Second level Title</a:t>
            </a:r>
          </a:p>
        </p:txBody>
      </p:sp>
      <p:sp>
        <p:nvSpPr>
          <p:cNvPr id="16" name="Picture Placeholder 15">
            <a:extLst>
              <a:ext uri="{FF2B5EF4-FFF2-40B4-BE49-F238E27FC236}">
                <a16:creationId xmlns:a16="http://schemas.microsoft.com/office/drawing/2014/main" id="{C0A8CF88-D149-D6C1-1D5E-47C30FF7463A}"/>
              </a:ext>
            </a:extLst>
          </p:cNvPr>
          <p:cNvSpPr>
            <a:spLocks noGrp="1"/>
          </p:cNvSpPr>
          <p:nvPr>
            <p:ph type="pic" sz="quarter" idx="26"/>
          </p:nvPr>
        </p:nvSpPr>
        <p:spPr>
          <a:xfrm>
            <a:off x="888835" y="2192918"/>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17" name="Text Placeholder 55">
            <a:extLst>
              <a:ext uri="{FF2B5EF4-FFF2-40B4-BE49-F238E27FC236}">
                <a16:creationId xmlns:a16="http://schemas.microsoft.com/office/drawing/2014/main" id="{3AB0CC6E-EC6C-D8A5-A893-9F9D19BBBAF5}"/>
              </a:ext>
            </a:extLst>
          </p:cNvPr>
          <p:cNvSpPr>
            <a:spLocks noGrp="1"/>
          </p:cNvSpPr>
          <p:nvPr>
            <p:ph type="body" sz="quarter" idx="27" hasCustomPrompt="1"/>
          </p:nvPr>
        </p:nvSpPr>
        <p:spPr>
          <a:xfrm>
            <a:off x="679355" y="3444430"/>
            <a:ext cx="1588354" cy="520700"/>
          </a:xfrm>
        </p:spPr>
        <p:txBody>
          <a:bodyPr/>
          <a:lstStyle>
            <a:lvl1pPr marL="0" indent="0" algn="ctr">
              <a:lnSpc>
                <a:spcPct val="100000"/>
              </a:lnSpc>
              <a:buNone/>
              <a:defRPr sz="1000" b="1">
                <a:solidFill>
                  <a:schemeClr val="tx2"/>
                </a:solidFil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18" name="Picture Placeholder 17">
            <a:extLst>
              <a:ext uri="{FF2B5EF4-FFF2-40B4-BE49-F238E27FC236}">
                <a16:creationId xmlns:a16="http://schemas.microsoft.com/office/drawing/2014/main" id="{17E3B570-19B2-AB90-E2EC-5E7D24E5D289}"/>
              </a:ext>
            </a:extLst>
          </p:cNvPr>
          <p:cNvSpPr>
            <a:spLocks noGrp="1"/>
          </p:cNvSpPr>
          <p:nvPr>
            <p:ph type="pic" sz="quarter" idx="28"/>
          </p:nvPr>
        </p:nvSpPr>
        <p:spPr>
          <a:xfrm>
            <a:off x="2480243" y="2192918"/>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19" name="Text Placeholder 55">
            <a:extLst>
              <a:ext uri="{FF2B5EF4-FFF2-40B4-BE49-F238E27FC236}">
                <a16:creationId xmlns:a16="http://schemas.microsoft.com/office/drawing/2014/main" id="{46441E65-3E2F-B7B0-5B84-318C6824220E}"/>
              </a:ext>
            </a:extLst>
          </p:cNvPr>
          <p:cNvSpPr>
            <a:spLocks noGrp="1"/>
          </p:cNvSpPr>
          <p:nvPr>
            <p:ph type="body" sz="quarter" idx="29" hasCustomPrompt="1"/>
          </p:nvPr>
        </p:nvSpPr>
        <p:spPr>
          <a:xfrm>
            <a:off x="2267710" y="3444430"/>
            <a:ext cx="1594460" cy="520700"/>
          </a:xfrm>
        </p:spPr>
        <p:txBody>
          <a:bodyPr/>
          <a:lstStyle>
            <a:lvl1pPr marL="0" indent="0" algn="ctr">
              <a:lnSpc>
                <a:spcPct val="100000"/>
              </a:lnSpc>
              <a:buNone/>
              <a:defRPr lang="en-US" sz="1000" b="1" i="0" u="none" strike="noStrike" cap="none" spc="0" baseline="0" dirty="0" smtClean="0">
                <a:solidFill>
                  <a:schemeClr val="tx2"/>
                </a:solidFill>
                <a:uFillTx/>
                <a:latin typeface="Inter" panose="02000503000000020004" pitchFamily="2" charset="0"/>
                <a:ea typeface="Inter" panose="02000503000000020004" pitchFamily="2" charset="0"/>
                <a:cs typeface="Arial"/>
                <a:sym typeface="Aria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marL="0" marR="0" lvl="0" indent="0" algn="ctr" defTabSz="914400" rtl="0" latinLnBrk="0">
              <a:lnSpc>
                <a:spcPct val="100000"/>
              </a:lnSpc>
              <a:spcBef>
                <a:spcPts val="1000"/>
              </a:spcBef>
              <a:spcAft>
                <a:spcPts val="0"/>
              </a:spcAft>
              <a:buClr>
                <a:schemeClr val="tx1"/>
              </a:buClr>
              <a:buSzPct val="100000"/>
              <a:buFont typeface="System Font Regular"/>
              <a:buNone/>
              <a:tabLst/>
            </a:pPr>
            <a:r>
              <a:rPr lang="en-US"/>
              <a:t>Click to edit Name</a:t>
            </a:r>
          </a:p>
          <a:p>
            <a:pPr lvl="1"/>
            <a:r>
              <a:rPr lang="en-US"/>
              <a:t>Second level Title</a:t>
            </a:r>
          </a:p>
        </p:txBody>
      </p:sp>
      <p:sp>
        <p:nvSpPr>
          <p:cNvPr id="20" name="Picture Placeholder 19">
            <a:extLst>
              <a:ext uri="{FF2B5EF4-FFF2-40B4-BE49-F238E27FC236}">
                <a16:creationId xmlns:a16="http://schemas.microsoft.com/office/drawing/2014/main" id="{C9970A5B-DC8A-C2BD-C637-FF5C684ABBE5}"/>
              </a:ext>
            </a:extLst>
          </p:cNvPr>
          <p:cNvSpPr>
            <a:spLocks noGrp="1"/>
          </p:cNvSpPr>
          <p:nvPr>
            <p:ph type="pic" sz="quarter" idx="30"/>
          </p:nvPr>
        </p:nvSpPr>
        <p:spPr>
          <a:xfrm>
            <a:off x="4018897" y="2192918"/>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21" name="Text Placeholder 55">
            <a:extLst>
              <a:ext uri="{FF2B5EF4-FFF2-40B4-BE49-F238E27FC236}">
                <a16:creationId xmlns:a16="http://schemas.microsoft.com/office/drawing/2014/main" id="{C3566184-DF0A-49D1-730C-96151E0E1123}"/>
              </a:ext>
            </a:extLst>
          </p:cNvPr>
          <p:cNvSpPr>
            <a:spLocks noGrp="1"/>
          </p:cNvSpPr>
          <p:nvPr>
            <p:ph type="body" sz="quarter" idx="31" hasCustomPrompt="1"/>
          </p:nvPr>
        </p:nvSpPr>
        <p:spPr>
          <a:xfrm>
            <a:off x="3862171" y="3444430"/>
            <a:ext cx="1482846" cy="520700"/>
          </a:xfrm>
        </p:spPr>
        <p:txBody>
          <a:bodyPr/>
          <a:lstStyle>
            <a:lvl1pPr marL="0" indent="0" algn="ctr">
              <a:lnSpc>
                <a:spcPct val="100000"/>
              </a:lnSpc>
              <a:buNone/>
              <a:defRPr lang="en-US" sz="1000" b="1" i="0" u="none" strike="noStrike" cap="none" spc="0" baseline="0" dirty="0" smtClean="0">
                <a:solidFill>
                  <a:schemeClr val="tx2"/>
                </a:solidFill>
                <a:uFillTx/>
                <a:latin typeface="Inter" panose="02000503000000020004" pitchFamily="2" charset="0"/>
                <a:ea typeface="Inter" panose="02000503000000020004" pitchFamily="2" charset="0"/>
                <a:cs typeface="Arial"/>
                <a:sym typeface="Aria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marL="0" marR="0" lvl="0" indent="0" algn="ctr" defTabSz="914400" rtl="0" latinLnBrk="0">
              <a:lnSpc>
                <a:spcPct val="100000"/>
              </a:lnSpc>
              <a:spcBef>
                <a:spcPts val="1000"/>
              </a:spcBef>
              <a:spcAft>
                <a:spcPts val="0"/>
              </a:spcAft>
              <a:buClr>
                <a:schemeClr val="tx1"/>
              </a:buClr>
              <a:buSzPct val="100000"/>
              <a:buFont typeface="System Font Regular"/>
              <a:buNone/>
              <a:tabLst/>
            </a:pPr>
            <a:r>
              <a:rPr lang="en-US"/>
              <a:t>Click to edit Name</a:t>
            </a:r>
          </a:p>
          <a:p>
            <a:pPr lvl="1"/>
            <a:r>
              <a:rPr lang="en-US"/>
              <a:t>Second level Title</a:t>
            </a:r>
          </a:p>
        </p:txBody>
      </p:sp>
      <p:sp>
        <p:nvSpPr>
          <p:cNvPr id="22" name="Picture Placeholder 21">
            <a:extLst>
              <a:ext uri="{FF2B5EF4-FFF2-40B4-BE49-F238E27FC236}">
                <a16:creationId xmlns:a16="http://schemas.microsoft.com/office/drawing/2014/main" id="{370DEAB8-490F-FCE0-33AA-8D53C628122C}"/>
              </a:ext>
            </a:extLst>
          </p:cNvPr>
          <p:cNvSpPr>
            <a:spLocks noGrp="1"/>
          </p:cNvSpPr>
          <p:nvPr>
            <p:ph type="pic" sz="quarter" idx="32"/>
          </p:nvPr>
        </p:nvSpPr>
        <p:spPr>
          <a:xfrm>
            <a:off x="888835" y="4056887"/>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23" name="Text Placeholder 55">
            <a:extLst>
              <a:ext uri="{FF2B5EF4-FFF2-40B4-BE49-F238E27FC236}">
                <a16:creationId xmlns:a16="http://schemas.microsoft.com/office/drawing/2014/main" id="{6528CD60-7C8D-CCF6-7CC8-A2E5EA744A16}"/>
              </a:ext>
            </a:extLst>
          </p:cNvPr>
          <p:cNvSpPr>
            <a:spLocks noGrp="1"/>
          </p:cNvSpPr>
          <p:nvPr>
            <p:ph type="body" sz="quarter" idx="33" hasCustomPrompt="1"/>
          </p:nvPr>
        </p:nvSpPr>
        <p:spPr>
          <a:xfrm>
            <a:off x="679355" y="5308399"/>
            <a:ext cx="1588354" cy="520700"/>
          </a:xfrm>
        </p:spPr>
        <p:txBody>
          <a:bodyPr/>
          <a:lstStyle>
            <a:lvl1pPr marL="0" indent="0" algn="ctr">
              <a:lnSpc>
                <a:spcPct val="100000"/>
              </a:lnSpc>
              <a:buNone/>
              <a:defRPr lang="en-US" sz="1000" b="1" i="0" u="none" strike="noStrike" cap="none" spc="0" baseline="0" dirty="0" smtClean="0">
                <a:solidFill>
                  <a:schemeClr val="tx2"/>
                </a:solidFill>
                <a:uFillTx/>
                <a:latin typeface="Inter" panose="02000503000000020004" pitchFamily="2" charset="0"/>
                <a:ea typeface="Inter" panose="02000503000000020004" pitchFamily="2" charset="0"/>
                <a:cs typeface="Arial"/>
                <a:sym typeface="Aria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marL="0" marR="0" lvl="0" indent="0" algn="ctr" defTabSz="914400" rtl="0" latinLnBrk="0">
              <a:lnSpc>
                <a:spcPct val="100000"/>
              </a:lnSpc>
              <a:spcBef>
                <a:spcPts val="1000"/>
              </a:spcBef>
              <a:spcAft>
                <a:spcPts val="0"/>
              </a:spcAft>
              <a:buClr>
                <a:schemeClr val="tx1"/>
              </a:buClr>
              <a:buSzPct val="100000"/>
              <a:buFont typeface="System Font Regular"/>
              <a:buNone/>
              <a:tabLst/>
            </a:pPr>
            <a:r>
              <a:rPr lang="en-US"/>
              <a:t>Click to edit Name</a:t>
            </a:r>
          </a:p>
          <a:p>
            <a:pPr lvl="1"/>
            <a:r>
              <a:rPr lang="en-US"/>
              <a:t>Second level Title</a:t>
            </a:r>
          </a:p>
        </p:txBody>
      </p:sp>
      <p:sp>
        <p:nvSpPr>
          <p:cNvPr id="24" name="Picture Placeholder 23">
            <a:extLst>
              <a:ext uri="{FF2B5EF4-FFF2-40B4-BE49-F238E27FC236}">
                <a16:creationId xmlns:a16="http://schemas.microsoft.com/office/drawing/2014/main" id="{00FC3D81-E0C8-F903-0C54-959B6DF8F2FE}"/>
              </a:ext>
            </a:extLst>
          </p:cNvPr>
          <p:cNvSpPr>
            <a:spLocks noGrp="1"/>
          </p:cNvSpPr>
          <p:nvPr>
            <p:ph type="pic" sz="quarter" idx="34"/>
          </p:nvPr>
        </p:nvSpPr>
        <p:spPr>
          <a:xfrm>
            <a:off x="2480243" y="4056887"/>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25" name="Text Placeholder 55">
            <a:extLst>
              <a:ext uri="{FF2B5EF4-FFF2-40B4-BE49-F238E27FC236}">
                <a16:creationId xmlns:a16="http://schemas.microsoft.com/office/drawing/2014/main" id="{3181E130-25BF-166C-B1E7-63694512D472}"/>
              </a:ext>
            </a:extLst>
          </p:cNvPr>
          <p:cNvSpPr>
            <a:spLocks noGrp="1"/>
          </p:cNvSpPr>
          <p:nvPr>
            <p:ph type="body" sz="quarter" idx="35" hasCustomPrompt="1"/>
          </p:nvPr>
        </p:nvSpPr>
        <p:spPr>
          <a:xfrm>
            <a:off x="2267710" y="5308399"/>
            <a:ext cx="1594460" cy="520700"/>
          </a:xfrm>
        </p:spPr>
        <p:txBody>
          <a:bodyPr/>
          <a:lstStyle>
            <a:lvl1pPr marL="0" indent="0" algn="ctr">
              <a:lnSpc>
                <a:spcPct val="100000"/>
              </a:lnSpc>
              <a:buNone/>
              <a:defRPr lang="en-US" sz="1000" b="1" i="0" u="none" strike="noStrike" cap="none" spc="0" baseline="0" dirty="0" smtClean="0">
                <a:solidFill>
                  <a:schemeClr val="tx2"/>
                </a:solidFill>
                <a:uFillTx/>
                <a:latin typeface="Inter" panose="02000503000000020004" pitchFamily="2" charset="0"/>
                <a:ea typeface="Inter" panose="02000503000000020004" pitchFamily="2" charset="0"/>
                <a:cs typeface="Arial"/>
                <a:sym typeface="Aria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marL="0" marR="0" lvl="0" indent="0" algn="ctr" defTabSz="914400" rtl="0" latinLnBrk="0">
              <a:lnSpc>
                <a:spcPct val="100000"/>
              </a:lnSpc>
              <a:spcBef>
                <a:spcPts val="1000"/>
              </a:spcBef>
              <a:spcAft>
                <a:spcPts val="0"/>
              </a:spcAft>
              <a:buClr>
                <a:schemeClr val="tx1"/>
              </a:buClr>
              <a:buSzPct val="100000"/>
              <a:buFont typeface="System Font Regular"/>
              <a:buNone/>
              <a:tabLst/>
            </a:pPr>
            <a:r>
              <a:rPr lang="en-US"/>
              <a:t>Click to edit Name</a:t>
            </a:r>
          </a:p>
          <a:p>
            <a:pPr lvl="1"/>
            <a:r>
              <a:rPr lang="en-US"/>
              <a:t>Second level Title</a:t>
            </a:r>
          </a:p>
        </p:txBody>
      </p:sp>
      <p:sp>
        <p:nvSpPr>
          <p:cNvPr id="26" name="Picture Placeholder 25">
            <a:extLst>
              <a:ext uri="{FF2B5EF4-FFF2-40B4-BE49-F238E27FC236}">
                <a16:creationId xmlns:a16="http://schemas.microsoft.com/office/drawing/2014/main" id="{CD7A777D-550F-3B7E-B45C-E97419D152F4}"/>
              </a:ext>
            </a:extLst>
          </p:cNvPr>
          <p:cNvSpPr>
            <a:spLocks noGrp="1"/>
          </p:cNvSpPr>
          <p:nvPr>
            <p:ph type="pic" sz="quarter" idx="36"/>
          </p:nvPr>
        </p:nvSpPr>
        <p:spPr>
          <a:xfrm>
            <a:off x="4018897" y="4056887"/>
            <a:ext cx="1204140" cy="1204140"/>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marL="0" indent="0">
              <a:buNone/>
              <a:defRPr/>
            </a:lvl1pPr>
          </a:lstStyle>
          <a:p>
            <a:r>
              <a:rPr lang="en-US" dirty="0"/>
              <a:t>Click icon to add picture</a:t>
            </a:r>
          </a:p>
        </p:txBody>
      </p:sp>
      <p:sp>
        <p:nvSpPr>
          <p:cNvPr id="27" name="Text Placeholder 55">
            <a:extLst>
              <a:ext uri="{FF2B5EF4-FFF2-40B4-BE49-F238E27FC236}">
                <a16:creationId xmlns:a16="http://schemas.microsoft.com/office/drawing/2014/main" id="{39C77D7C-6ED9-75C5-92B1-FB3D3355AC05}"/>
              </a:ext>
            </a:extLst>
          </p:cNvPr>
          <p:cNvSpPr>
            <a:spLocks noGrp="1"/>
          </p:cNvSpPr>
          <p:nvPr>
            <p:ph type="body" sz="quarter" idx="37" hasCustomPrompt="1"/>
          </p:nvPr>
        </p:nvSpPr>
        <p:spPr>
          <a:xfrm>
            <a:off x="3862171" y="5308399"/>
            <a:ext cx="1482846" cy="520700"/>
          </a:xfrm>
        </p:spPr>
        <p:txBody>
          <a:bodyPr/>
          <a:lstStyle>
            <a:lvl1pPr marL="0" indent="0" algn="ctr">
              <a:lnSpc>
                <a:spcPct val="100000"/>
              </a:lnSpc>
              <a:buNone/>
              <a:defRPr lang="en-US" sz="1000" b="1" i="0" u="none" strike="noStrike" cap="none" spc="0" baseline="0" dirty="0" smtClean="0">
                <a:solidFill>
                  <a:schemeClr val="tx2"/>
                </a:solidFill>
                <a:uFillTx/>
                <a:latin typeface="Inter" panose="02000503000000020004" pitchFamily="2" charset="0"/>
                <a:ea typeface="Inter" panose="02000503000000020004" pitchFamily="2" charset="0"/>
                <a:cs typeface="Arial"/>
                <a:sym typeface="Arial"/>
              </a:defRPr>
            </a:lvl1pPr>
            <a:lvl2pPr marL="0" indent="0" algn="ctr">
              <a:lnSpc>
                <a:spcPct val="100000"/>
              </a:lnSpc>
              <a:spcBef>
                <a:spcPts val="0"/>
              </a:spcBef>
              <a:buNone/>
              <a:defRPr sz="9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marL="0" marR="0" lvl="0" indent="0" algn="ctr" defTabSz="914400" rtl="0" latinLnBrk="0">
              <a:lnSpc>
                <a:spcPct val="100000"/>
              </a:lnSpc>
              <a:spcBef>
                <a:spcPts val="1000"/>
              </a:spcBef>
              <a:spcAft>
                <a:spcPts val="0"/>
              </a:spcAft>
              <a:buClr>
                <a:schemeClr val="tx1"/>
              </a:buClr>
              <a:buSzPct val="100000"/>
              <a:buFont typeface="System Font Regular"/>
              <a:buNone/>
              <a:tabLst/>
            </a:pPr>
            <a:r>
              <a:rPr lang="en-US"/>
              <a:t>Click to edit Name</a:t>
            </a:r>
          </a:p>
          <a:p>
            <a:pPr lvl="1"/>
            <a:r>
              <a:rPr lang="en-US"/>
              <a:t>Second level Title</a:t>
            </a:r>
          </a:p>
        </p:txBody>
      </p:sp>
      <p:graphicFrame>
        <p:nvGraphicFramePr>
          <p:cNvPr id="28" name="think-cell data - do not delete" hidden="1">
            <a:extLst>
              <a:ext uri="{FF2B5EF4-FFF2-40B4-BE49-F238E27FC236}">
                <a16:creationId xmlns:a16="http://schemas.microsoft.com/office/drawing/2014/main" id="{B0A61BFA-83CB-163E-A873-57B3A57ABE03}"/>
              </a:ext>
            </a:extLst>
          </p:cNvPr>
          <p:cNvGraphicFramePr>
            <a:graphicFrameLocks noChangeAspect="1"/>
          </p:cNvGraphicFramePr>
          <p:nvPr userDrawn="1">
            <p:custDataLst>
              <p:tags r:id="rId2"/>
            </p:custDataLst>
            <p:extLst>
              <p:ext uri="{D42A27DB-BD31-4B8C-83A1-F6EECF244321}">
                <p14:modId xmlns:p14="http://schemas.microsoft.com/office/powerpoint/2010/main" val="3873565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think-cell data - do not delete" hidden="1">
                        <a:extLst>
                          <a:ext uri="{FF2B5EF4-FFF2-40B4-BE49-F238E27FC236}">
                            <a16:creationId xmlns:a16="http://schemas.microsoft.com/office/drawing/2014/main" id="{B0A61BFA-83CB-163E-A873-57B3A57ABE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29" name="Straight Connector 28">
            <a:extLst>
              <a:ext uri="{FF2B5EF4-FFF2-40B4-BE49-F238E27FC236}">
                <a16:creationId xmlns:a16="http://schemas.microsoft.com/office/drawing/2014/main" id="{4F2BCB32-F154-12E7-0003-64CBC243FE3B}"/>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969AD4C0-17CF-FBF8-1FA5-CAD6F7A06A2A}"/>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81547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Divider Slid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9D2A16-24A6-AA7D-BFB7-9E6C4A3A004A}"/>
              </a:ext>
            </a:extLst>
          </p:cNvPr>
          <p:cNvGraphicFramePr>
            <a:graphicFrameLocks noChangeAspect="1"/>
          </p:cNvGraphicFramePr>
          <p:nvPr>
            <p:custDataLst>
              <p:tags r:id="rId1"/>
            </p:custDataLst>
            <p:extLst>
              <p:ext uri="{D42A27DB-BD31-4B8C-83A1-F6EECF244321}">
                <p14:modId xmlns:p14="http://schemas.microsoft.com/office/powerpoint/2010/main" val="41676606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A39D2A16-24A6-AA7D-BFB7-9E6C4A3A00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BD4E0CD-DDC1-44BF-CADE-4E6D0BC62B7B}"/>
              </a:ext>
            </a:extLst>
          </p:cNvPr>
          <p:cNvSpPr>
            <a:spLocks noGrp="1"/>
          </p:cNvSpPr>
          <p:nvPr>
            <p:ph type="pic" sz="quarter" idx="17"/>
          </p:nvPr>
        </p:nvSpPr>
        <p:spPr>
          <a:xfrm>
            <a:off x="1" y="-7497"/>
            <a:ext cx="11961045" cy="6865497"/>
          </a:xfrm>
          <a:custGeom>
            <a:avLst/>
            <a:gdLst>
              <a:gd name="connsiteX0" fmla="*/ 0 w 11961045"/>
              <a:gd name="connsiteY0" fmla="*/ 0 h 6865497"/>
              <a:gd name="connsiteX1" fmla="*/ 11465408 w 11961045"/>
              <a:gd name="connsiteY1" fmla="*/ 0 h 6865497"/>
              <a:gd name="connsiteX2" fmla="*/ 11609808 w 11961045"/>
              <a:gd name="connsiteY2" fmla="*/ 524966 h 6865497"/>
              <a:gd name="connsiteX3" fmla="*/ 11961045 w 11961045"/>
              <a:gd name="connsiteY3" fmla="*/ 3436498 h 6865497"/>
              <a:gd name="connsiteX4" fmla="*/ 11609807 w 11961045"/>
              <a:gd name="connsiteY4" fmla="*/ 6348030 h 6865497"/>
              <a:gd name="connsiteX5" fmla="*/ 11467471 w 11961045"/>
              <a:gd name="connsiteY5" fmla="*/ 6865497 h 6865497"/>
              <a:gd name="connsiteX6" fmla="*/ 0 w 11961045"/>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1045" h="6865497">
                <a:moveTo>
                  <a:pt x="0" y="0"/>
                </a:moveTo>
                <a:lnTo>
                  <a:pt x="11465408" y="0"/>
                </a:lnTo>
                <a:lnTo>
                  <a:pt x="11609808" y="524966"/>
                </a:lnTo>
                <a:cubicBezTo>
                  <a:pt x="11837817" y="1441845"/>
                  <a:pt x="11961045" y="2420383"/>
                  <a:pt x="11961045" y="3436498"/>
                </a:cubicBezTo>
                <a:cubicBezTo>
                  <a:pt x="11961045" y="4452613"/>
                  <a:pt x="11837817" y="5431152"/>
                  <a:pt x="11609807" y="6348030"/>
                </a:cubicBezTo>
                <a:lnTo>
                  <a:pt x="11467471" y="6865497"/>
                </a:lnTo>
                <a:lnTo>
                  <a:pt x="0" y="6865497"/>
                </a:ln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pic>
        <p:nvPicPr>
          <p:cNvPr id="13" name="Picture 6">
            <a:extLst>
              <a:ext uri="{FF2B5EF4-FFF2-40B4-BE49-F238E27FC236}">
                <a16:creationId xmlns:a16="http://schemas.microsoft.com/office/drawing/2014/main" id="{0D698701-9440-B39D-F6CF-2F8FD4E6B72C}"/>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 r="79146"/>
          <a:stretch/>
        </p:blipFill>
        <p:spPr>
          <a:xfrm>
            <a:off x="456942" y="3044600"/>
            <a:ext cx="819634" cy="703902"/>
          </a:xfrm>
          <a:prstGeom prst="rect">
            <a:avLst/>
          </a:prstGeom>
        </p:spPr>
      </p:pic>
      <p:sp>
        <p:nvSpPr>
          <p:cNvPr id="30" name="Title 29">
            <a:extLst>
              <a:ext uri="{FF2B5EF4-FFF2-40B4-BE49-F238E27FC236}">
                <a16:creationId xmlns:a16="http://schemas.microsoft.com/office/drawing/2014/main" id="{8CC71E67-92EA-5FC8-0DB5-9FDEF1E31CCD}"/>
              </a:ext>
            </a:extLst>
          </p:cNvPr>
          <p:cNvSpPr>
            <a:spLocks noGrp="1"/>
          </p:cNvSpPr>
          <p:nvPr>
            <p:ph type="ctrTitle" hasCustomPrompt="1"/>
          </p:nvPr>
        </p:nvSpPr>
        <p:spPr>
          <a:xfrm>
            <a:off x="-2" y="1929384"/>
            <a:ext cx="8312794" cy="2999232"/>
          </a:xfrm>
          <a:custGeom>
            <a:avLst/>
            <a:gdLst>
              <a:gd name="connsiteX0" fmla="*/ 1156010 w 8312794"/>
              <a:gd name="connsiteY0" fmla="*/ 1790099 h 2999232"/>
              <a:gd name="connsiteX1" fmla="*/ 1157617 w 8312794"/>
              <a:gd name="connsiteY1" fmla="*/ 1790099 h 2999232"/>
              <a:gd name="connsiteX2" fmla="*/ 1162000 w 8312794"/>
              <a:gd name="connsiteY2" fmla="*/ 1790387 h 2999232"/>
              <a:gd name="connsiteX3" fmla="*/ 1163315 w 8312794"/>
              <a:gd name="connsiteY3" fmla="*/ 1791248 h 2999232"/>
              <a:gd name="connsiteX4" fmla="*/ 1163753 w 8312794"/>
              <a:gd name="connsiteY4" fmla="*/ 1792685 h 2999232"/>
              <a:gd name="connsiteX5" fmla="*/ 1163315 w 8312794"/>
              <a:gd name="connsiteY5" fmla="*/ 1794121 h 2999232"/>
              <a:gd name="connsiteX6" fmla="*/ 1162000 w 8312794"/>
              <a:gd name="connsiteY6" fmla="*/ 1795127 h 2999232"/>
              <a:gd name="connsiteX7" fmla="*/ 1157617 w 8312794"/>
              <a:gd name="connsiteY7" fmla="*/ 1795414 h 2999232"/>
              <a:gd name="connsiteX8" fmla="*/ 1156010 w 8312794"/>
              <a:gd name="connsiteY8" fmla="*/ 1795414 h 2999232"/>
              <a:gd name="connsiteX9" fmla="*/ 1151920 w 8312794"/>
              <a:gd name="connsiteY9" fmla="*/ 1786939 h 2999232"/>
              <a:gd name="connsiteX10" fmla="*/ 1151920 w 8312794"/>
              <a:gd name="connsiteY10" fmla="*/ 1806619 h 2999232"/>
              <a:gd name="connsiteX11" fmla="*/ 1152066 w 8312794"/>
              <a:gd name="connsiteY11" fmla="*/ 1806619 h 2999232"/>
              <a:gd name="connsiteX12" fmla="*/ 1156156 w 8312794"/>
              <a:gd name="connsiteY12" fmla="*/ 1806619 h 2999232"/>
              <a:gd name="connsiteX13" fmla="*/ 1156156 w 8312794"/>
              <a:gd name="connsiteY13" fmla="*/ 1798575 h 2999232"/>
              <a:gd name="connsiteX14" fmla="*/ 1157179 w 8312794"/>
              <a:gd name="connsiteY14" fmla="*/ 1798575 h 2999232"/>
              <a:gd name="connsiteX15" fmla="*/ 1159955 w 8312794"/>
              <a:gd name="connsiteY15" fmla="*/ 1799437 h 2999232"/>
              <a:gd name="connsiteX16" fmla="*/ 1162731 w 8312794"/>
              <a:gd name="connsiteY16" fmla="*/ 1803459 h 2999232"/>
              <a:gd name="connsiteX17" fmla="*/ 1164484 w 8312794"/>
              <a:gd name="connsiteY17" fmla="*/ 1806619 h 2999232"/>
              <a:gd name="connsiteX18" fmla="*/ 1169451 w 8312794"/>
              <a:gd name="connsiteY18" fmla="*/ 1806619 h 2999232"/>
              <a:gd name="connsiteX19" fmla="*/ 1167114 w 8312794"/>
              <a:gd name="connsiteY19" fmla="*/ 1802597 h 2999232"/>
              <a:gd name="connsiteX20" fmla="*/ 1165653 w 8312794"/>
              <a:gd name="connsiteY20" fmla="*/ 1800155 h 2999232"/>
              <a:gd name="connsiteX21" fmla="*/ 1164338 w 8312794"/>
              <a:gd name="connsiteY21" fmla="*/ 1798575 h 2999232"/>
              <a:gd name="connsiteX22" fmla="*/ 1162877 w 8312794"/>
              <a:gd name="connsiteY22" fmla="*/ 1797857 h 2999232"/>
              <a:gd name="connsiteX23" fmla="*/ 1166821 w 8312794"/>
              <a:gd name="connsiteY23" fmla="*/ 1795989 h 2999232"/>
              <a:gd name="connsiteX24" fmla="*/ 1168282 w 8312794"/>
              <a:gd name="connsiteY24" fmla="*/ 1792398 h 2999232"/>
              <a:gd name="connsiteX25" fmla="*/ 1167552 w 8312794"/>
              <a:gd name="connsiteY25" fmla="*/ 1789525 h 2999232"/>
              <a:gd name="connsiteX26" fmla="*/ 1165653 w 8312794"/>
              <a:gd name="connsiteY26" fmla="*/ 1787657 h 2999232"/>
              <a:gd name="connsiteX27" fmla="*/ 1162439 w 8312794"/>
              <a:gd name="connsiteY27" fmla="*/ 1786939 h 2999232"/>
              <a:gd name="connsiteX28" fmla="*/ 1156010 w 8312794"/>
              <a:gd name="connsiteY28" fmla="*/ 1786939 h 2999232"/>
              <a:gd name="connsiteX29" fmla="*/ 1160539 w 8312794"/>
              <a:gd name="connsiteY29" fmla="*/ 1781767 h 2999232"/>
              <a:gd name="connsiteX30" fmla="*/ 1167990 w 8312794"/>
              <a:gd name="connsiteY30" fmla="*/ 1783635 h 2999232"/>
              <a:gd name="connsiteX31" fmla="*/ 1173688 w 8312794"/>
              <a:gd name="connsiteY31" fmla="*/ 1789094 h 2999232"/>
              <a:gd name="connsiteX32" fmla="*/ 1175733 w 8312794"/>
              <a:gd name="connsiteY32" fmla="*/ 1796564 h 2999232"/>
              <a:gd name="connsiteX33" fmla="*/ 1173688 w 8312794"/>
              <a:gd name="connsiteY33" fmla="*/ 1804034 h 2999232"/>
              <a:gd name="connsiteX34" fmla="*/ 1168136 w 8312794"/>
              <a:gd name="connsiteY34" fmla="*/ 1809492 h 2999232"/>
              <a:gd name="connsiteX35" fmla="*/ 1160539 w 8312794"/>
              <a:gd name="connsiteY35" fmla="*/ 1811504 h 2999232"/>
              <a:gd name="connsiteX36" fmla="*/ 1152942 w 8312794"/>
              <a:gd name="connsiteY36" fmla="*/ 1809492 h 2999232"/>
              <a:gd name="connsiteX37" fmla="*/ 1147391 w 8312794"/>
              <a:gd name="connsiteY37" fmla="*/ 1804034 h 2999232"/>
              <a:gd name="connsiteX38" fmla="*/ 1145345 w 8312794"/>
              <a:gd name="connsiteY38" fmla="*/ 1796564 h 2999232"/>
              <a:gd name="connsiteX39" fmla="*/ 1147391 w 8312794"/>
              <a:gd name="connsiteY39" fmla="*/ 1789094 h 2999232"/>
              <a:gd name="connsiteX40" fmla="*/ 1153088 w 8312794"/>
              <a:gd name="connsiteY40" fmla="*/ 1783635 h 2999232"/>
              <a:gd name="connsiteX41" fmla="*/ 1160539 w 8312794"/>
              <a:gd name="connsiteY41" fmla="*/ 1781767 h 2999232"/>
              <a:gd name="connsiteX42" fmla="*/ 1160539 w 8312794"/>
              <a:gd name="connsiteY42" fmla="*/ 1778176 h 2999232"/>
              <a:gd name="connsiteX43" fmla="*/ 1151189 w 8312794"/>
              <a:gd name="connsiteY43" fmla="*/ 1780618 h 2999232"/>
              <a:gd name="connsiteX44" fmla="*/ 1144177 w 8312794"/>
              <a:gd name="connsiteY44" fmla="*/ 1787513 h 2999232"/>
              <a:gd name="connsiteX45" fmla="*/ 1141693 w 8312794"/>
              <a:gd name="connsiteY45" fmla="*/ 1796851 h 2999232"/>
              <a:gd name="connsiteX46" fmla="*/ 1144177 w 8312794"/>
              <a:gd name="connsiteY46" fmla="*/ 1806045 h 2999232"/>
              <a:gd name="connsiteX47" fmla="*/ 1151189 w 8312794"/>
              <a:gd name="connsiteY47" fmla="*/ 1812940 h 2999232"/>
              <a:gd name="connsiteX48" fmla="*/ 1160539 w 8312794"/>
              <a:gd name="connsiteY48" fmla="*/ 1815382 h 2999232"/>
              <a:gd name="connsiteX49" fmla="*/ 1169889 w 8312794"/>
              <a:gd name="connsiteY49" fmla="*/ 1812940 h 2999232"/>
              <a:gd name="connsiteX50" fmla="*/ 1176902 w 8312794"/>
              <a:gd name="connsiteY50" fmla="*/ 1806045 h 2999232"/>
              <a:gd name="connsiteX51" fmla="*/ 1179386 w 8312794"/>
              <a:gd name="connsiteY51" fmla="*/ 1796851 h 2999232"/>
              <a:gd name="connsiteX52" fmla="*/ 1176902 w 8312794"/>
              <a:gd name="connsiteY52" fmla="*/ 1787513 h 2999232"/>
              <a:gd name="connsiteX53" fmla="*/ 1169889 w 8312794"/>
              <a:gd name="connsiteY53" fmla="*/ 1780618 h 2999232"/>
              <a:gd name="connsiteX54" fmla="*/ 1160539 w 8312794"/>
              <a:gd name="connsiteY54" fmla="*/ 1778176 h 2999232"/>
              <a:gd name="connsiteX55" fmla="*/ 615603 w 8312794"/>
              <a:gd name="connsiteY55" fmla="*/ 1524915 h 2999232"/>
              <a:gd name="connsiteX56" fmla="*/ 615457 w 8312794"/>
              <a:gd name="connsiteY56" fmla="*/ 1525059 h 2999232"/>
              <a:gd name="connsiteX57" fmla="*/ 468047 w 8312794"/>
              <a:gd name="connsiteY57" fmla="*/ 1670005 h 2999232"/>
              <a:gd name="connsiteX58" fmla="*/ 615603 w 8312794"/>
              <a:gd name="connsiteY58" fmla="*/ 1814808 h 2999232"/>
              <a:gd name="connsiteX59" fmla="*/ 763014 w 8312794"/>
              <a:gd name="connsiteY59" fmla="*/ 1669861 h 2999232"/>
              <a:gd name="connsiteX60" fmla="*/ 615603 w 8312794"/>
              <a:gd name="connsiteY60" fmla="*/ 1524915 h 2999232"/>
              <a:gd name="connsiteX61" fmla="*/ 614781 w 8312794"/>
              <a:gd name="connsiteY61" fmla="*/ 1115180 h 2999232"/>
              <a:gd name="connsiteX62" fmla="*/ 510561 w 8312794"/>
              <a:gd name="connsiteY62" fmla="*/ 1157737 h 2999232"/>
              <a:gd name="connsiteX63" fmla="*/ 510561 w 8312794"/>
              <a:gd name="connsiteY63" fmla="*/ 1362731 h 2999232"/>
              <a:gd name="connsiteX64" fmla="*/ 719039 w 8312794"/>
              <a:gd name="connsiteY64" fmla="*/ 1362731 h 2999232"/>
              <a:gd name="connsiteX65" fmla="*/ 927663 w 8312794"/>
              <a:gd name="connsiteY65" fmla="*/ 1362731 h 2999232"/>
              <a:gd name="connsiteX66" fmla="*/ 927663 w 8312794"/>
              <a:gd name="connsiteY66" fmla="*/ 1567868 h 2999232"/>
              <a:gd name="connsiteX67" fmla="*/ 927663 w 8312794"/>
              <a:gd name="connsiteY67" fmla="*/ 1772862 h 2999232"/>
              <a:gd name="connsiteX68" fmla="*/ 1136288 w 8312794"/>
              <a:gd name="connsiteY68" fmla="*/ 1772862 h 2999232"/>
              <a:gd name="connsiteX69" fmla="*/ 1136288 w 8312794"/>
              <a:gd name="connsiteY69" fmla="*/ 1567868 h 2999232"/>
              <a:gd name="connsiteX70" fmla="*/ 1136288 w 8312794"/>
              <a:gd name="connsiteY70" fmla="*/ 1362731 h 2999232"/>
              <a:gd name="connsiteX71" fmla="*/ 1136142 w 8312794"/>
              <a:gd name="connsiteY71" fmla="*/ 1362731 h 2999232"/>
              <a:gd name="connsiteX72" fmla="*/ 1136142 w 8312794"/>
              <a:gd name="connsiteY72" fmla="*/ 1157737 h 2999232"/>
              <a:gd name="connsiteX73" fmla="*/ 927517 w 8312794"/>
              <a:gd name="connsiteY73" fmla="*/ 1157737 h 2999232"/>
              <a:gd name="connsiteX74" fmla="*/ 718893 w 8312794"/>
              <a:gd name="connsiteY74" fmla="*/ 1157737 h 2999232"/>
              <a:gd name="connsiteX75" fmla="*/ 614781 w 8312794"/>
              <a:gd name="connsiteY75" fmla="*/ 1115180 h 2999232"/>
              <a:gd name="connsiteX76" fmla="*/ 0 w 8312794"/>
              <a:gd name="connsiteY76" fmla="*/ 0 h 2999232"/>
              <a:gd name="connsiteX77" fmla="*/ 3017522 w 8312794"/>
              <a:gd name="connsiteY77" fmla="*/ 0 h 2999232"/>
              <a:gd name="connsiteX78" fmla="*/ 5019853 w 8312794"/>
              <a:gd name="connsiteY78" fmla="*/ 0 h 2999232"/>
              <a:gd name="connsiteX79" fmla="*/ 8037375 w 8312794"/>
              <a:gd name="connsiteY79" fmla="*/ 0 h 2999232"/>
              <a:gd name="connsiteX80" fmla="*/ 8312794 w 8312794"/>
              <a:gd name="connsiteY80" fmla="*/ 275419 h 2999232"/>
              <a:gd name="connsiteX81" fmla="*/ 8312794 w 8312794"/>
              <a:gd name="connsiteY81" fmla="*/ 2723813 h 2999232"/>
              <a:gd name="connsiteX82" fmla="*/ 8037375 w 8312794"/>
              <a:gd name="connsiteY82" fmla="*/ 2999232 h 2999232"/>
              <a:gd name="connsiteX83" fmla="*/ 5019853 w 8312794"/>
              <a:gd name="connsiteY83" fmla="*/ 2999232 h 2999232"/>
              <a:gd name="connsiteX84" fmla="*/ 3017522 w 8312794"/>
              <a:gd name="connsiteY84" fmla="*/ 2999232 h 2999232"/>
              <a:gd name="connsiteX85" fmla="*/ 0 w 8312794"/>
              <a:gd name="connsiteY85" fmla="*/ 2999232 h 299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8312794" h="2999232">
                <a:moveTo>
                  <a:pt x="1156010" y="1790099"/>
                </a:moveTo>
                <a:lnTo>
                  <a:pt x="1157617" y="1790099"/>
                </a:lnTo>
                <a:cubicBezTo>
                  <a:pt x="1159955" y="1790099"/>
                  <a:pt x="1161416" y="1790243"/>
                  <a:pt x="1162000" y="1790387"/>
                </a:cubicBezTo>
                <a:cubicBezTo>
                  <a:pt x="1162585" y="1790530"/>
                  <a:pt x="1163023" y="1790817"/>
                  <a:pt x="1163315" y="1791248"/>
                </a:cubicBezTo>
                <a:cubicBezTo>
                  <a:pt x="1163607" y="1791679"/>
                  <a:pt x="1163753" y="1792254"/>
                  <a:pt x="1163753" y="1792685"/>
                </a:cubicBezTo>
                <a:cubicBezTo>
                  <a:pt x="1163753" y="1793116"/>
                  <a:pt x="1163607" y="1793691"/>
                  <a:pt x="1163315" y="1794121"/>
                </a:cubicBezTo>
                <a:cubicBezTo>
                  <a:pt x="1163023" y="1794696"/>
                  <a:pt x="1162585" y="1794983"/>
                  <a:pt x="1162000" y="1795127"/>
                </a:cubicBezTo>
                <a:cubicBezTo>
                  <a:pt x="1161416" y="1795414"/>
                  <a:pt x="1159955" y="1795414"/>
                  <a:pt x="1157617" y="1795414"/>
                </a:cubicBezTo>
                <a:lnTo>
                  <a:pt x="1156010" y="1795414"/>
                </a:lnTo>
                <a:close/>
                <a:moveTo>
                  <a:pt x="1151920" y="1786939"/>
                </a:moveTo>
                <a:lnTo>
                  <a:pt x="1151920" y="1806619"/>
                </a:lnTo>
                <a:lnTo>
                  <a:pt x="1152066" y="1806619"/>
                </a:lnTo>
                <a:lnTo>
                  <a:pt x="1156156" y="1806619"/>
                </a:lnTo>
                <a:lnTo>
                  <a:pt x="1156156" y="1798575"/>
                </a:lnTo>
                <a:lnTo>
                  <a:pt x="1157179" y="1798575"/>
                </a:lnTo>
                <a:cubicBezTo>
                  <a:pt x="1158202" y="1798575"/>
                  <a:pt x="1159224" y="1798862"/>
                  <a:pt x="1159955" y="1799437"/>
                </a:cubicBezTo>
                <a:cubicBezTo>
                  <a:pt x="1160685" y="1800011"/>
                  <a:pt x="1161562" y="1801304"/>
                  <a:pt x="1162731" y="1803459"/>
                </a:cubicBezTo>
                <a:lnTo>
                  <a:pt x="1164484" y="1806619"/>
                </a:lnTo>
                <a:lnTo>
                  <a:pt x="1169451" y="1806619"/>
                </a:lnTo>
                <a:lnTo>
                  <a:pt x="1167114" y="1802597"/>
                </a:lnTo>
                <a:cubicBezTo>
                  <a:pt x="1166383" y="1801161"/>
                  <a:pt x="1165799" y="1800299"/>
                  <a:pt x="1165653" y="1800155"/>
                </a:cubicBezTo>
                <a:cubicBezTo>
                  <a:pt x="1165068" y="1799293"/>
                  <a:pt x="1164630" y="1798862"/>
                  <a:pt x="1164338" y="1798575"/>
                </a:cubicBezTo>
                <a:cubicBezTo>
                  <a:pt x="1163900" y="1798287"/>
                  <a:pt x="1163461" y="1798144"/>
                  <a:pt x="1162877" y="1797857"/>
                </a:cubicBezTo>
                <a:cubicBezTo>
                  <a:pt x="1164630" y="1797569"/>
                  <a:pt x="1165945" y="1796995"/>
                  <a:pt x="1166821" y="1795989"/>
                </a:cubicBezTo>
                <a:cubicBezTo>
                  <a:pt x="1167844" y="1794983"/>
                  <a:pt x="1168282" y="1793834"/>
                  <a:pt x="1168282" y="1792398"/>
                </a:cubicBezTo>
                <a:cubicBezTo>
                  <a:pt x="1168282" y="1791248"/>
                  <a:pt x="1167990" y="1790387"/>
                  <a:pt x="1167552" y="1789525"/>
                </a:cubicBezTo>
                <a:cubicBezTo>
                  <a:pt x="1166968" y="1788663"/>
                  <a:pt x="1166383" y="1788088"/>
                  <a:pt x="1165653" y="1787657"/>
                </a:cubicBezTo>
                <a:cubicBezTo>
                  <a:pt x="1164776" y="1787370"/>
                  <a:pt x="1163753" y="1786939"/>
                  <a:pt x="1162439" y="1786939"/>
                </a:cubicBezTo>
                <a:cubicBezTo>
                  <a:pt x="1162000" y="1786939"/>
                  <a:pt x="1159809" y="1786939"/>
                  <a:pt x="1156010" y="1786939"/>
                </a:cubicBezTo>
                <a:close/>
                <a:moveTo>
                  <a:pt x="1160539" y="1781767"/>
                </a:moveTo>
                <a:cubicBezTo>
                  <a:pt x="1163169" y="1781767"/>
                  <a:pt x="1165653" y="1782342"/>
                  <a:pt x="1167990" y="1783635"/>
                </a:cubicBezTo>
                <a:cubicBezTo>
                  <a:pt x="1170474" y="1784928"/>
                  <a:pt x="1172373" y="1786652"/>
                  <a:pt x="1173688" y="1789094"/>
                </a:cubicBezTo>
                <a:cubicBezTo>
                  <a:pt x="1175003" y="1791392"/>
                  <a:pt x="1175733" y="1793978"/>
                  <a:pt x="1175733" y="1796564"/>
                </a:cubicBezTo>
                <a:cubicBezTo>
                  <a:pt x="1175733" y="1799149"/>
                  <a:pt x="1175003" y="1801735"/>
                  <a:pt x="1173688" y="1804034"/>
                </a:cubicBezTo>
                <a:cubicBezTo>
                  <a:pt x="1172373" y="1806332"/>
                  <a:pt x="1170474" y="1808200"/>
                  <a:pt x="1168136" y="1809492"/>
                </a:cubicBezTo>
                <a:cubicBezTo>
                  <a:pt x="1165653" y="1810785"/>
                  <a:pt x="1163169" y="1811504"/>
                  <a:pt x="1160539" y="1811504"/>
                </a:cubicBezTo>
                <a:cubicBezTo>
                  <a:pt x="1157910" y="1811504"/>
                  <a:pt x="1155280" y="1810785"/>
                  <a:pt x="1152942" y="1809492"/>
                </a:cubicBezTo>
                <a:cubicBezTo>
                  <a:pt x="1150605" y="1808200"/>
                  <a:pt x="1148706" y="1806332"/>
                  <a:pt x="1147391" y="1804034"/>
                </a:cubicBezTo>
                <a:cubicBezTo>
                  <a:pt x="1146076" y="1801591"/>
                  <a:pt x="1145345" y="1799149"/>
                  <a:pt x="1145345" y="1796564"/>
                </a:cubicBezTo>
                <a:cubicBezTo>
                  <a:pt x="1145345" y="1793978"/>
                  <a:pt x="1146076" y="1791536"/>
                  <a:pt x="1147391" y="1789094"/>
                </a:cubicBezTo>
                <a:cubicBezTo>
                  <a:pt x="1148852" y="1786795"/>
                  <a:pt x="1150751" y="1784928"/>
                  <a:pt x="1153088" y="1783635"/>
                </a:cubicBezTo>
                <a:cubicBezTo>
                  <a:pt x="1155426" y="1782342"/>
                  <a:pt x="1157910" y="1781767"/>
                  <a:pt x="1160539" y="1781767"/>
                </a:cubicBezTo>
                <a:close/>
                <a:moveTo>
                  <a:pt x="1160539" y="1778176"/>
                </a:moveTo>
                <a:cubicBezTo>
                  <a:pt x="1157325" y="1778176"/>
                  <a:pt x="1154111" y="1779038"/>
                  <a:pt x="1151189" y="1780618"/>
                </a:cubicBezTo>
                <a:cubicBezTo>
                  <a:pt x="1148267" y="1782342"/>
                  <a:pt x="1145930" y="1784497"/>
                  <a:pt x="1144177" y="1787513"/>
                </a:cubicBezTo>
                <a:cubicBezTo>
                  <a:pt x="1142570" y="1790530"/>
                  <a:pt x="1141693" y="1793691"/>
                  <a:pt x="1141693" y="1796851"/>
                </a:cubicBezTo>
                <a:cubicBezTo>
                  <a:pt x="1141693" y="1800011"/>
                  <a:pt x="1142570" y="1803172"/>
                  <a:pt x="1144177" y="1806045"/>
                </a:cubicBezTo>
                <a:cubicBezTo>
                  <a:pt x="1145930" y="1809061"/>
                  <a:pt x="1148267" y="1811360"/>
                  <a:pt x="1151189" y="1812940"/>
                </a:cubicBezTo>
                <a:cubicBezTo>
                  <a:pt x="1154111" y="1814520"/>
                  <a:pt x="1157325" y="1815382"/>
                  <a:pt x="1160539" y="1815382"/>
                </a:cubicBezTo>
                <a:cubicBezTo>
                  <a:pt x="1163753" y="1815382"/>
                  <a:pt x="1166968" y="1814520"/>
                  <a:pt x="1169889" y="1812940"/>
                </a:cubicBezTo>
                <a:cubicBezTo>
                  <a:pt x="1172957" y="1811216"/>
                  <a:pt x="1175295" y="1808918"/>
                  <a:pt x="1176902" y="1806045"/>
                </a:cubicBezTo>
                <a:cubicBezTo>
                  <a:pt x="1178509" y="1803172"/>
                  <a:pt x="1179386" y="1800155"/>
                  <a:pt x="1179386" y="1796851"/>
                </a:cubicBezTo>
                <a:cubicBezTo>
                  <a:pt x="1179386" y="1793547"/>
                  <a:pt x="1178655" y="1790530"/>
                  <a:pt x="1176902" y="1787513"/>
                </a:cubicBezTo>
                <a:cubicBezTo>
                  <a:pt x="1175149" y="1784497"/>
                  <a:pt x="1172811" y="1782198"/>
                  <a:pt x="1169889" y="1780618"/>
                </a:cubicBezTo>
                <a:cubicBezTo>
                  <a:pt x="1166821" y="1779038"/>
                  <a:pt x="1163753" y="1778176"/>
                  <a:pt x="1160539" y="1778176"/>
                </a:cubicBezTo>
                <a:close/>
                <a:moveTo>
                  <a:pt x="615603" y="1524915"/>
                </a:moveTo>
                <a:lnTo>
                  <a:pt x="615457" y="1525059"/>
                </a:lnTo>
                <a:cubicBezTo>
                  <a:pt x="534082" y="1525059"/>
                  <a:pt x="468047" y="1589990"/>
                  <a:pt x="468047" y="1670005"/>
                </a:cubicBezTo>
                <a:cubicBezTo>
                  <a:pt x="468047" y="1750020"/>
                  <a:pt x="534228" y="1814808"/>
                  <a:pt x="615603" y="1814808"/>
                </a:cubicBezTo>
                <a:cubicBezTo>
                  <a:pt x="696979" y="1814808"/>
                  <a:pt x="763014" y="1749876"/>
                  <a:pt x="763014" y="1669861"/>
                </a:cubicBezTo>
                <a:cubicBezTo>
                  <a:pt x="763014" y="1589846"/>
                  <a:pt x="696979" y="1524915"/>
                  <a:pt x="615603" y="1524915"/>
                </a:cubicBezTo>
                <a:close/>
                <a:moveTo>
                  <a:pt x="614781" y="1115180"/>
                </a:moveTo>
                <a:cubicBezTo>
                  <a:pt x="577070" y="1115180"/>
                  <a:pt x="539341" y="1129365"/>
                  <a:pt x="510561" y="1157737"/>
                </a:cubicBezTo>
                <a:cubicBezTo>
                  <a:pt x="452853" y="1214337"/>
                  <a:pt x="452853" y="1306131"/>
                  <a:pt x="510561" y="1362731"/>
                </a:cubicBezTo>
                <a:cubicBezTo>
                  <a:pt x="568122" y="1419330"/>
                  <a:pt x="661477" y="1419330"/>
                  <a:pt x="719039" y="1362731"/>
                </a:cubicBezTo>
                <a:cubicBezTo>
                  <a:pt x="776601" y="1306131"/>
                  <a:pt x="869956" y="1306131"/>
                  <a:pt x="927663" y="1362731"/>
                </a:cubicBezTo>
                <a:cubicBezTo>
                  <a:pt x="985225" y="1419330"/>
                  <a:pt x="985225" y="1511125"/>
                  <a:pt x="927663" y="1567868"/>
                </a:cubicBezTo>
                <a:cubicBezTo>
                  <a:pt x="870102" y="1624467"/>
                  <a:pt x="870102" y="1716262"/>
                  <a:pt x="927663" y="1772862"/>
                </a:cubicBezTo>
                <a:cubicBezTo>
                  <a:pt x="985225" y="1829461"/>
                  <a:pt x="1078580" y="1829461"/>
                  <a:pt x="1136288" y="1772862"/>
                </a:cubicBezTo>
                <a:cubicBezTo>
                  <a:pt x="1193849" y="1716262"/>
                  <a:pt x="1193849" y="1624467"/>
                  <a:pt x="1136288" y="1567868"/>
                </a:cubicBezTo>
                <a:cubicBezTo>
                  <a:pt x="1079018" y="1510838"/>
                  <a:pt x="1079018" y="1419043"/>
                  <a:pt x="1136288" y="1362731"/>
                </a:cubicBezTo>
                <a:lnTo>
                  <a:pt x="1136142" y="1362731"/>
                </a:lnTo>
                <a:cubicBezTo>
                  <a:pt x="1193703" y="1306131"/>
                  <a:pt x="1193703" y="1214337"/>
                  <a:pt x="1136142" y="1157737"/>
                </a:cubicBezTo>
                <a:cubicBezTo>
                  <a:pt x="1078580" y="1101138"/>
                  <a:pt x="985225" y="1101138"/>
                  <a:pt x="927517" y="1157737"/>
                </a:cubicBezTo>
                <a:cubicBezTo>
                  <a:pt x="869956" y="1214337"/>
                  <a:pt x="776601" y="1214337"/>
                  <a:pt x="718893" y="1157737"/>
                </a:cubicBezTo>
                <a:cubicBezTo>
                  <a:pt x="690185" y="1129365"/>
                  <a:pt x="652492" y="1115180"/>
                  <a:pt x="614781" y="1115180"/>
                </a:cubicBezTo>
                <a:close/>
                <a:moveTo>
                  <a:pt x="0" y="0"/>
                </a:moveTo>
                <a:lnTo>
                  <a:pt x="3017522" y="0"/>
                </a:lnTo>
                <a:lnTo>
                  <a:pt x="5019853" y="0"/>
                </a:lnTo>
                <a:lnTo>
                  <a:pt x="8037375" y="0"/>
                </a:lnTo>
                <a:cubicBezTo>
                  <a:pt x="8189485" y="0"/>
                  <a:pt x="8312794" y="123309"/>
                  <a:pt x="8312794" y="275419"/>
                </a:cubicBezTo>
                <a:lnTo>
                  <a:pt x="8312794" y="2723813"/>
                </a:lnTo>
                <a:cubicBezTo>
                  <a:pt x="8312794" y="2875923"/>
                  <a:pt x="8189485" y="2999232"/>
                  <a:pt x="8037375" y="2999232"/>
                </a:cubicBezTo>
                <a:lnTo>
                  <a:pt x="5019853" y="2999232"/>
                </a:lnTo>
                <a:lnTo>
                  <a:pt x="3017522" y="2999232"/>
                </a:lnTo>
                <a:lnTo>
                  <a:pt x="0" y="2999232"/>
                </a:lnTo>
                <a:close/>
              </a:path>
            </a:pathLst>
          </a:custGeom>
          <a:solidFill>
            <a:schemeClr val="bg1">
              <a:alpha val="8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wrap="square" anchor="ctr" anchorCtr="0">
            <a:noAutofit/>
          </a:bodyPr>
          <a:lstStyle>
            <a:lvl1pPr marL="1508760" algn="l">
              <a:lnSpc>
                <a:spcPct val="85000"/>
              </a:lnSpc>
              <a:defRPr kumimoji="0" lang="en-US" sz="2800" b="1" i="0" u="none" strike="noStrike" cap="none" spc="0" normalizeH="0" baseline="0" dirty="0">
                <a:ln>
                  <a:noFill/>
                </a:ln>
                <a:solidFill>
                  <a:schemeClr val="tx2"/>
                </a:solidFill>
                <a:effectLst/>
                <a:uFillTx/>
                <a:latin typeface="Raleway" panose="020B0503030101060003" pitchFamily="34" charset="77"/>
                <a:ea typeface="Raleway" panose="020B0503030101060003" pitchFamily="34" charset="77"/>
                <a:cs typeface="Arial"/>
                <a:sym typeface="Arial"/>
              </a:defRPr>
            </a:lvl1pPr>
          </a:lstStyle>
          <a:p>
            <a:r>
              <a:rPr lang="en-US"/>
              <a:t>Click To Edit Title</a:t>
            </a:r>
          </a:p>
        </p:txBody>
      </p:sp>
      <p:sp>
        <p:nvSpPr>
          <p:cNvPr id="4" name="Freeform 3">
            <a:extLst>
              <a:ext uri="{FF2B5EF4-FFF2-40B4-BE49-F238E27FC236}">
                <a16:creationId xmlns:a16="http://schemas.microsoft.com/office/drawing/2014/main" id="{6E6F0B7F-0C3F-1E11-6C94-AC66DFE1EE68}"/>
              </a:ext>
            </a:extLst>
          </p:cNvPr>
          <p:cNvSpPr/>
          <p:nvPr/>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7" name="Footer Placeholder 6">
            <a:extLst>
              <a:ext uri="{FF2B5EF4-FFF2-40B4-BE49-F238E27FC236}">
                <a16:creationId xmlns:a16="http://schemas.microsoft.com/office/drawing/2014/main" id="{5A14651F-5B90-6D48-B155-7C269311F86A}"/>
              </a:ext>
            </a:extLst>
          </p:cNvPr>
          <p:cNvSpPr>
            <a:spLocks noGrp="1"/>
          </p:cNvSpPr>
          <p:nvPr>
            <p:ph type="ftr" sz="quarter" idx="15"/>
          </p:nvPr>
        </p:nvSpPr>
        <p:spPr/>
        <p:txBody>
          <a:bodyPr/>
          <a:lstStyle>
            <a:lvl1pPr>
              <a:defRPr>
                <a:solidFill>
                  <a:schemeClr val="bg1"/>
                </a:solidFill>
              </a:defRPr>
            </a:lvl1pPr>
          </a:lstStyle>
          <a:p>
            <a:r>
              <a:rPr lang="en-US" dirty="0"/>
              <a:t>Proprietary &amp; Confidential: Not for Distribution.</a:t>
            </a:r>
          </a:p>
        </p:txBody>
      </p:sp>
      <p:sp>
        <p:nvSpPr>
          <p:cNvPr id="9" name="Slide Number Placeholder 8">
            <a:extLst>
              <a:ext uri="{FF2B5EF4-FFF2-40B4-BE49-F238E27FC236}">
                <a16:creationId xmlns:a16="http://schemas.microsoft.com/office/drawing/2014/main" id="{4D81579E-2BE4-E4A1-C61E-DA9EEED954B6}"/>
              </a:ext>
            </a:extLst>
          </p:cNvPr>
          <p:cNvSpPr>
            <a:spLocks noGrp="1"/>
          </p:cNvSpPr>
          <p:nvPr>
            <p:ph type="sldNum" sz="quarter" idx="16"/>
          </p:nvPr>
        </p:nvSpPr>
        <p:spPr/>
        <p:txBody>
          <a:bodyPr/>
          <a:lstStyle/>
          <a:p>
            <a:fld id="{86CB4B4D-7CA3-9044-876B-883B54F8677D}" type="slidenum">
              <a:rPr lang="en-US" smtClean="0"/>
              <a:pPr/>
              <a:t>‹#›</a:t>
            </a:fld>
            <a:endParaRPr lang="en-US" dirty="0"/>
          </a:p>
        </p:txBody>
      </p:sp>
      <p:pic>
        <p:nvPicPr>
          <p:cNvPr id="12" name="Picture 6">
            <a:extLst>
              <a:ext uri="{FF2B5EF4-FFF2-40B4-BE49-F238E27FC236}">
                <a16:creationId xmlns:a16="http://schemas.microsoft.com/office/drawing/2014/main" id="{20A24ACA-D6C4-12C1-2FF9-65938E88F621}"/>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 r="79146"/>
          <a:stretch/>
        </p:blipFill>
        <p:spPr>
          <a:xfrm>
            <a:off x="456942" y="3044600"/>
            <a:ext cx="819634" cy="703902"/>
          </a:xfrm>
          <a:prstGeom prst="rect">
            <a:avLst/>
          </a:prstGeom>
        </p:spPr>
      </p:pic>
      <p:sp>
        <p:nvSpPr>
          <p:cNvPr id="3" name="Freeform 2">
            <a:extLst>
              <a:ext uri="{FF2B5EF4-FFF2-40B4-BE49-F238E27FC236}">
                <a16:creationId xmlns:a16="http://schemas.microsoft.com/office/drawing/2014/main" id="{B258903C-0FC2-BA03-6DC2-8AAC3BD5FFDB}"/>
              </a:ext>
            </a:extLst>
          </p:cNvPr>
          <p:cNvSpPr/>
          <p:nvPr userDrawn="1"/>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Freeform 22">
            <a:extLst>
              <a:ext uri="{FF2B5EF4-FFF2-40B4-BE49-F238E27FC236}">
                <a16:creationId xmlns:a16="http://schemas.microsoft.com/office/drawing/2014/main" id="{5D9EA8FB-8B43-8B3C-B130-2FA03C75BAAF}"/>
              </a:ext>
            </a:extLst>
          </p:cNvPr>
          <p:cNvSpPr/>
          <p:nvPr/>
        </p:nvSpPr>
        <p:spPr>
          <a:xfrm>
            <a:off x="456942" y="3044600"/>
            <a:ext cx="3922954" cy="700167"/>
          </a:xfrm>
          <a:custGeom>
            <a:avLst/>
            <a:gdLst>
              <a:gd name="connsiteX0" fmla="*/ 0 w 3922954"/>
              <a:gd name="connsiteY0" fmla="*/ 0 h 700167"/>
              <a:gd name="connsiteX1" fmla="*/ 3922955 w 3922954"/>
              <a:gd name="connsiteY1" fmla="*/ 0 h 700167"/>
              <a:gd name="connsiteX2" fmla="*/ 3922955 w 3922954"/>
              <a:gd name="connsiteY2" fmla="*/ 700167 h 700167"/>
              <a:gd name="connsiteX3" fmla="*/ 0 w 3922954"/>
              <a:gd name="connsiteY3" fmla="*/ 700167 h 700167"/>
            </a:gdLst>
            <a:ahLst/>
            <a:cxnLst>
              <a:cxn ang="0">
                <a:pos x="connsiteX0" y="connsiteY0"/>
              </a:cxn>
              <a:cxn ang="0">
                <a:pos x="connsiteX1" y="connsiteY1"/>
              </a:cxn>
              <a:cxn ang="0">
                <a:pos x="connsiteX2" y="connsiteY2"/>
              </a:cxn>
              <a:cxn ang="0">
                <a:pos x="connsiteX3" y="connsiteY3"/>
              </a:cxn>
            </a:cxnLst>
            <a:rect l="l" t="t" r="r" b="b"/>
            <a:pathLst>
              <a:path w="3922954" h="700167">
                <a:moveTo>
                  <a:pt x="0" y="0"/>
                </a:moveTo>
                <a:lnTo>
                  <a:pt x="3922955" y="0"/>
                </a:lnTo>
                <a:lnTo>
                  <a:pt x="3922955" y="700167"/>
                </a:lnTo>
                <a:lnTo>
                  <a:pt x="0" y="700167"/>
                </a:lnTo>
                <a:close/>
              </a:path>
            </a:pathLst>
          </a:custGeom>
          <a:noFill/>
          <a:ln w="3045"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B82231D1-64E0-888E-EA83-FD75385E883E}"/>
              </a:ext>
            </a:extLst>
          </p:cNvPr>
          <p:cNvSpPr/>
          <p:nvPr/>
        </p:nvSpPr>
        <p:spPr>
          <a:xfrm>
            <a:off x="456942" y="3044600"/>
            <a:ext cx="3922954" cy="700167"/>
          </a:xfrm>
          <a:custGeom>
            <a:avLst/>
            <a:gdLst>
              <a:gd name="connsiteX0" fmla="*/ 0 w 3922954"/>
              <a:gd name="connsiteY0" fmla="*/ 0 h 700167"/>
              <a:gd name="connsiteX1" fmla="*/ 3922955 w 3922954"/>
              <a:gd name="connsiteY1" fmla="*/ 0 h 700167"/>
              <a:gd name="connsiteX2" fmla="*/ 3922955 w 3922954"/>
              <a:gd name="connsiteY2" fmla="*/ 700167 h 700167"/>
              <a:gd name="connsiteX3" fmla="*/ 0 w 3922954"/>
              <a:gd name="connsiteY3" fmla="*/ 700167 h 700167"/>
            </a:gdLst>
            <a:ahLst/>
            <a:cxnLst>
              <a:cxn ang="0">
                <a:pos x="connsiteX0" y="connsiteY0"/>
              </a:cxn>
              <a:cxn ang="0">
                <a:pos x="connsiteX1" y="connsiteY1"/>
              </a:cxn>
              <a:cxn ang="0">
                <a:pos x="connsiteX2" y="connsiteY2"/>
              </a:cxn>
              <a:cxn ang="0">
                <a:pos x="connsiteX3" y="connsiteY3"/>
              </a:cxn>
            </a:cxnLst>
            <a:rect l="l" t="t" r="r" b="b"/>
            <a:pathLst>
              <a:path w="3922954" h="700167">
                <a:moveTo>
                  <a:pt x="0" y="0"/>
                </a:moveTo>
                <a:lnTo>
                  <a:pt x="3922955" y="0"/>
                </a:lnTo>
                <a:lnTo>
                  <a:pt x="3922955" y="700167"/>
                </a:lnTo>
                <a:lnTo>
                  <a:pt x="0" y="700167"/>
                </a:lnTo>
                <a:close/>
              </a:path>
            </a:pathLst>
          </a:custGeom>
          <a:noFill/>
          <a:ln w="3045" cap="flat">
            <a:noFill/>
            <a:prstDash val="solid"/>
            <a:miter/>
          </a:ln>
        </p:spPr>
        <p:txBody>
          <a:bodyPr rtlCol="0" anchor="ctr"/>
          <a:lstStyle/>
          <a:p>
            <a:endParaRPr lang="en-US" dirty="0"/>
          </a:p>
        </p:txBody>
      </p:sp>
      <p:sp>
        <p:nvSpPr>
          <p:cNvPr id="5" name="Text Placeholder 4">
            <a:extLst>
              <a:ext uri="{FF2B5EF4-FFF2-40B4-BE49-F238E27FC236}">
                <a16:creationId xmlns:a16="http://schemas.microsoft.com/office/drawing/2014/main" id="{EE26380B-83C1-C386-391F-E5ABCC393993}"/>
              </a:ext>
            </a:extLst>
          </p:cNvPr>
          <p:cNvSpPr>
            <a:spLocks noGrp="1"/>
          </p:cNvSpPr>
          <p:nvPr>
            <p:ph type="body" sz="quarter" idx="18"/>
          </p:nvPr>
        </p:nvSpPr>
        <p:spPr>
          <a:xfrm>
            <a:off x="1554162" y="3606800"/>
            <a:ext cx="6624637" cy="415925"/>
          </a:xfrm>
        </p:spPr>
        <p:txBody>
          <a:bodyPr/>
          <a:lstStyle>
            <a:lvl1pPr marL="0" indent="0">
              <a:lnSpc>
                <a:spcPct val="90000"/>
              </a:lnSpc>
              <a:buNone/>
              <a:defRPr cap="all" baseline="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1719416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eadership-with-Bios">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4AC5E762-9AA1-C460-317F-8D7F86C58BDC}"/>
              </a:ext>
            </a:extLst>
          </p:cNvPr>
          <p:cNvGraphicFramePr>
            <a:graphicFrameLocks noChangeAspect="1"/>
          </p:cNvGraphicFramePr>
          <p:nvPr>
            <p:custDataLst>
              <p:tags r:id="rId1"/>
            </p:custDataLst>
            <p:extLst>
              <p:ext uri="{D42A27DB-BD31-4B8C-83A1-F6EECF244321}">
                <p14:modId xmlns:p14="http://schemas.microsoft.com/office/powerpoint/2010/main" val="3873565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3" name="think-cell data - do not delete" hidden="1">
                        <a:extLst>
                          <a:ext uri="{FF2B5EF4-FFF2-40B4-BE49-F238E27FC236}">
                            <a16:creationId xmlns:a16="http://schemas.microsoft.com/office/drawing/2014/main" id="{4AC5E762-9AA1-C460-317F-8D7F86C58BD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4" name="Picture Placeholder 53">
            <a:extLst>
              <a:ext uri="{FF2B5EF4-FFF2-40B4-BE49-F238E27FC236}">
                <a16:creationId xmlns:a16="http://schemas.microsoft.com/office/drawing/2014/main" id="{0942437D-634B-D617-DBFE-14A87CDF3645}"/>
              </a:ext>
            </a:extLst>
          </p:cNvPr>
          <p:cNvSpPr>
            <a:spLocks noGrp="1" noChangeAspect="1"/>
          </p:cNvSpPr>
          <p:nvPr>
            <p:ph type="pic" sz="quarter" idx="26"/>
          </p:nvPr>
        </p:nvSpPr>
        <p:spPr>
          <a:xfrm>
            <a:off x="609600" y="1417320"/>
            <a:ext cx="1810512" cy="1810512"/>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lvl1pPr marL="0" indent="0">
              <a:buNone/>
              <a:defRPr/>
            </a:lvl1pPr>
          </a:lstStyle>
          <a:p>
            <a:r>
              <a:rPr lang="en-US" dirty="0"/>
              <a:t>Click icon to add picture</a:t>
            </a:r>
          </a:p>
        </p:txBody>
      </p:sp>
      <p:sp>
        <p:nvSpPr>
          <p:cNvPr id="56" name="Text Placeholder 55">
            <a:extLst>
              <a:ext uri="{FF2B5EF4-FFF2-40B4-BE49-F238E27FC236}">
                <a16:creationId xmlns:a16="http://schemas.microsoft.com/office/drawing/2014/main" id="{7A6BB25F-FCD9-88F0-4B78-31D6B9A04DE4}"/>
              </a:ext>
            </a:extLst>
          </p:cNvPr>
          <p:cNvSpPr>
            <a:spLocks noGrp="1"/>
          </p:cNvSpPr>
          <p:nvPr>
            <p:ph type="body" sz="quarter" idx="27" hasCustomPrompt="1"/>
          </p:nvPr>
        </p:nvSpPr>
        <p:spPr>
          <a:xfrm>
            <a:off x="486156" y="3311809"/>
            <a:ext cx="2057400" cy="520700"/>
          </a:xfrm>
        </p:spPr>
        <p:txBody>
          <a:bodyPr/>
          <a:lstStyle>
            <a:lvl1pPr marL="0" indent="0" algn="ctr">
              <a:lnSpc>
                <a:spcPct val="100000"/>
              </a:lnSpc>
              <a:buNone/>
              <a:defRPr sz="1400" b="1">
                <a:solidFill>
                  <a:schemeClr val="tx2"/>
                </a:solidFill>
              </a:defRPr>
            </a:lvl1pPr>
            <a:lvl2pPr marL="0" indent="0" algn="ctr">
              <a:lnSpc>
                <a:spcPct val="100000"/>
              </a:lnSpc>
              <a:spcBef>
                <a:spcPts val="200"/>
              </a:spcBef>
              <a:buNone/>
              <a:defRPr sz="12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9" name="Text Placeholder 8">
            <a:extLst>
              <a:ext uri="{FF2B5EF4-FFF2-40B4-BE49-F238E27FC236}">
                <a16:creationId xmlns:a16="http://schemas.microsoft.com/office/drawing/2014/main" id="{21C99AA3-D446-857F-9DEE-4B2D74DE1582}"/>
              </a:ext>
            </a:extLst>
          </p:cNvPr>
          <p:cNvSpPr>
            <a:spLocks noGrp="1"/>
          </p:cNvSpPr>
          <p:nvPr>
            <p:ph type="body" sz="quarter" idx="28"/>
          </p:nvPr>
        </p:nvSpPr>
        <p:spPr>
          <a:xfrm>
            <a:off x="486156" y="3801935"/>
            <a:ext cx="2057400" cy="2276739"/>
          </a:xfrm>
        </p:spPr>
        <p:txBody>
          <a:bodyPr/>
          <a:lstStyle>
            <a:lvl1pPr marL="137160" indent="-137160">
              <a:lnSpc>
                <a:spcPct val="120000"/>
              </a:lnSpc>
              <a:spcBef>
                <a:spcPts val="600"/>
              </a:spcBef>
              <a:buFont typeface="System Font Regular"/>
              <a:buChar char="+"/>
              <a:defRPr sz="1200"/>
            </a:lvl1pPr>
            <a:lvl2pPr indent="0">
              <a:lnSpc>
                <a:spcPct val="105000"/>
              </a:lnSpc>
              <a:buNone/>
              <a:defRPr/>
            </a:lvl2pPr>
            <a:lvl3pPr indent="0">
              <a:lnSpc>
                <a:spcPct val="105000"/>
              </a:lnSpc>
              <a:buNone/>
              <a:defRPr/>
            </a:lvl3pPr>
            <a:lvl4pPr indent="0">
              <a:lnSpc>
                <a:spcPct val="105000"/>
              </a:lnSpc>
              <a:buNone/>
              <a:defRPr/>
            </a:lvl4pPr>
            <a:lvl5pPr indent="0">
              <a:lnSpc>
                <a:spcPct val="105000"/>
              </a:lnSpc>
              <a:buNone/>
              <a:defRPr/>
            </a:lvl5pPr>
          </a:lstStyle>
          <a:p>
            <a:pPr lvl="0"/>
            <a:r>
              <a:rPr lang="en-US"/>
              <a:t>Click to edit Master text styles</a:t>
            </a:r>
          </a:p>
        </p:txBody>
      </p:sp>
      <p:sp>
        <p:nvSpPr>
          <p:cNvPr id="10" name="Picture Placeholder 53">
            <a:extLst>
              <a:ext uri="{FF2B5EF4-FFF2-40B4-BE49-F238E27FC236}">
                <a16:creationId xmlns:a16="http://schemas.microsoft.com/office/drawing/2014/main" id="{D6A30332-7C26-9FB9-82AF-815EF4B3517B}"/>
              </a:ext>
            </a:extLst>
          </p:cNvPr>
          <p:cNvSpPr>
            <a:spLocks noGrp="1" noChangeAspect="1"/>
          </p:cNvSpPr>
          <p:nvPr>
            <p:ph type="pic" sz="quarter" idx="29"/>
          </p:nvPr>
        </p:nvSpPr>
        <p:spPr>
          <a:xfrm>
            <a:off x="2942095" y="1417320"/>
            <a:ext cx="1810512" cy="1810512"/>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lvl1pPr marL="0" indent="0">
              <a:buNone/>
              <a:defRPr/>
            </a:lvl1pPr>
          </a:lstStyle>
          <a:p>
            <a:r>
              <a:rPr lang="en-US" dirty="0"/>
              <a:t>Click icon to add picture</a:t>
            </a:r>
          </a:p>
        </p:txBody>
      </p:sp>
      <p:sp>
        <p:nvSpPr>
          <p:cNvPr id="11" name="Text Placeholder 55">
            <a:extLst>
              <a:ext uri="{FF2B5EF4-FFF2-40B4-BE49-F238E27FC236}">
                <a16:creationId xmlns:a16="http://schemas.microsoft.com/office/drawing/2014/main" id="{2DA4D876-1D26-5B02-A950-8648B2B188EE}"/>
              </a:ext>
            </a:extLst>
          </p:cNvPr>
          <p:cNvSpPr>
            <a:spLocks noGrp="1"/>
          </p:cNvSpPr>
          <p:nvPr>
            <p:ph type="body" sz="quarter" idx="30" hasCustomPrompt="1"/>
          </p:nvPr>
        </p:nvSpPr>
        <p:spPr>
          <a:xfrm>
            <a:off x="2805127" y="3311809"/>
            <a:ext cx="2084448" cy="520700"/>
          </a:xfrm>
        </p:spPr>
        <p:txBody>
          <a:bodyPr/>
          <a:lstStyle>
            <a:lvl1pPr marL="0" indent="0" algn="ctr">
              <a:lnSpc>
                <a:spcPct val="100000"/>
              </a:lnSpc>
              <a:buNone/>
              <a:defRPr sz="1400" b="1">
                <a:solidFill>
                  <a:schemeClr val="tx2"/>
                </a:solidFill>
              </a:defRPr>
            </a:lvl1pPr>
            <a:lvl2pPr marL="0" indent="0" algn="ctr">
              <a:lnSpc>
                <a:spcPct val="100000"/>
              </a:lnSpc>
              <a:spcBef>
                <a:spcPts val="200"/>
              </a:spcBef>
              <a:buNone/>
              <a:defRPr sz="12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12" name="Text Placeholder 8">
            <a:extLst>
              <a:ext uri="{FF2B5EF4-FFF2-40B4-BE49-F238E27FC236}">
                <a16:creationId xmlns:a16="http://schemas.microsoft.com/office/drawing/2014/main" id="{06C12509-2712-75E8-82A7-6EA774622751}"/>
              </a:ext>
            </a:extLst>
          </p:cNvPr>
          <p:cNvSpPr>
            <a:spLocks noGrp="1"/>
          </p:cNvSpPr>
          <p:nvPr>
            <p:ph type="body" sz="quarter" idx="31"/>
          </p:nvPr>
        </p:nvSpPr>
        <p:spPr>
          <a:xfrm>
            <a:off x="2805127" y="3801935"/>
            <a:ext cx="2057400" cy="2276739"/>
          </a:xfrm>
        </p:spPr>
        <p:txBody>
          <a:bodyPr/>
          <a:lstStyle>
            <a:lvl1pPr marL="137160" indent="-137160">
              <a:lnSpc>
                <a:spcPct val="120000"/>
              </a:lnSpc>
              <a:spcBef>
                <a:spcPts val="600"/>
              </a:spcBef>
              <a:buFont typeface="System Font Regular"/>
              <a:buChar char="+"/>
              <a:defRPr sz="1200"/>
            </a:lvl1pPr>
            <a:lvl2pPr indent="0">
              <a:lnSpc>
                <a:spcPct val="105000"/>
              </a:lnSpc>
              <a:buNone/>
              <a:defRPr/>
            </a:lvl2pPr>
            <a:lvl3pPr indent="0">
              <a:lnSpc>
                <a:spcPct val="105000"/>
              </a:lnSpc>
              <a:buNone/>
              <a:defRPr/>
            </a:lvl3pPr>
            <a:lvl4pPr indent="0">
              <a:lnSpc>
                <a:spcPct val="105000"/>
              </a:lnSpc>
              <a:buNone/>
              <a:defRPr/>
            </a:lvl4pPr>
            <a:lvl5pPr indent="0">
              <a:lnSpc>
                <a:spcPct val="105000"/>
              </a:lnSpc>
              <a:buNone/>
              <a:defRPr/>
            </a:lvl5pPr>
          </a:lstStyle>
          <a:p>
            <a:pPr lvl="0"/>
            <a:r>
              <a:rPr lang="en-US"/>
              <a:t>Click to edit Master text styles</a:t>
            </a:r>
          </a:p>
        </p:txBody>
      </p:sp>
      <p:sp>
        <p:nvSpPr>
          <p:cNvPr id="13" name="Picture Placeholder 53">
            <a:extLst>
              <a:ext uri="{FF2B5EF4-FFF2-40B4-BE49-F238E27FC236}">
                <a16:creationId xmlns:a16="http://schemas.microsoft.com/office/drawing/2014/main" id="{DD322A38-099C-0F82-BF28-0CFFFB68EF63}"/>
              </a:ext>
            </a:extLst>
          </p:cNvPr>
          <p:cNvSpPr>
            <a:spLocks noGrp="1" noChangeAspect="1"/>
          </p:cNvSpPr>
          <p:nvPr>
            <p:ph type="pic" sz="quarter" idx="32"/>
          </p:nvPr>
        </p:nvSpPr>
        <p:spPr>
          <a:xfrm>
            <a:off x="5247540" y="1417320"/>
            <a:ext cx="1810512" cy="1810512"/>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lvl1pPr marL="0" indent="0">
              <a:buNone/>
              <a:defRPr/>
            </a:lvl1pPr>
          </a:lstStyle>
          <a:p>
            <a:r>
              <a:rPr lang="en-US" dirty="0"/>
              <a:t>Click icon to add picture</a:t>
            </a:r>
          </a:p>
        </p:txBody>
      </p:sp>
      <p:sp>
        <p:nvSpPr>
          <p:cNvPr id="14" name="Text Placeholder 55">
            <a:extLst>
              <a:ext uri="{FF2B5EF4-FFF2-40B4-BE49-F238E27FC236}">
                <a16:creationId xmlns:a16="http://schemas.microsoft.com/office/drawing/2014/main" id="{59E13BEE-3851-E7DD-2ED9-8EBE235BE83A}"/>
              </a:ext>
            </a:extLst>
          </p:cNvPr>
          <p:cNvSpPr>
            <a:spLocks noGrp="1"/>
          </p:cNvSpPr>
          <p:nvPr>
            <p:ph type="body" sz="quarter" idx="33" hasCustomPrompt="1"/>
          </p:nvPr>
        </p:nvSpPr>
        <p:spPr>
          <a:xfrm>
            <a:off x="5124097" y="3311809"/>
            <a:ext cx="2057399" cy="520700"/>
          </a:xfrm>
        </p:spPr>
        <p:txBody>
          <a:bodyPr/>
          <a:lstStyle>
            <a:lvl1pPr marL="0" indent="0" algn="ctr">
              <a:lnSpc>
                <a:spcPct val="100000"/>
              </a:lnSpc>
              <a:buNone/>
              <a:defRPr sz="1400" b="1">
                <a:solidFill>
                  <a:schemeClr val="tx2"/>
                </a:solidFill>
              </a:defRPr>
            </a:lvl1pPr>
            <a:lvl2pPr marL="0" indent="0" algn="ctr">
              <a:lnSpc>
                <a:spcPct val="100000"/>
              </a:lnSpc>
              <a:spcBef>
                <a:spcPts val="200"/>
              </a:spcBef>
              <a:buNone/>
              <a:defRPr sz="12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15" name="Text Placeholder 8">
            <a:extLst>
              <a:ext uri="{FF2B5EF4-FFF2-40B4-BE49-F238E27FC236}">
                <a16:creationId xmlns:a16="http://schemas.microsoft.com/office/drawing/2014/main" id="{DDA54C16-D4C9-013F-9C05-5BA929348A28}"/>
              </a:ext>
            </a:extLst>
          </p:cNvPr>
          <p:cNvSpPr>
            <a:spLocks noGrp="1"/>
          </p:cNvSpPr>
          <p:nvPr>
            <p:ph type="body" sz="quarter" idx="34"/>
          </p:nvPr>
        </p:nvSpPr>
        <p:spPr>
          <a:xfrm>
            <a:off x="5124098" y="3801935"/>
            <a:ext cx="2057400" cy="2276739"/>
          </a:xfrm>
        </p:spPr>
        <p:txBody>
          <a:bodyPr/>
          <a:lstStyle>
            <a:lvl1pPr marL="137160" indent="-137160">
              <a:lnSpc>
                <a:spcPct val="120000"/>
              </a:lnSpc>
              <a:spcBef>
                <a:spcPts val="600"/>
              </a:spcBef>
              <a:buFont typeface="System Font Regular"/>
              <a:buChar char="+"/>
              <a:defRPr sz="1200"/>
            </a:lvl1pPr>
            <a:lvl2pPr indent="0">
              <a:lnSpc>
                <a:spcPct val="105000"/>
              </a:lnSpc>
              <a:buNone/>
              <a:defRPr/>
            </a:lvl2pPr>
            <a:lvl3pPr indent="0">
              <a:lnSpc>
                <a:spcPct val="105000"/>
              </a:lnSpc>
              <a:buNone/>
              <a:defRPr/>
            </a:lvl3pPr>
            <a:lvl4pPr indent="0">
              <a:lnSpc>
                <a:spcPct val="105000"/>
              </a:lnSpc>
              <a:buNone/>
              <a:defRPr/>
            </a:lvl4pPr>
            <a:lvl5pPr indent="0">
              <a:lnSpc>
                <a:spcPct val="105000"/>
              </a:lnSpc>
              <a:buNone/>
              <a:defRPr/>
            </a:lvl5pPr>
          </a:lstStyle>
          <a:p>
            <a:pPr lvl="0"/>
            <a:r>
              <a:rPr lang="en-US"/>
              <a:t>Click to edit Master text styles</a:t>
            </a:r>
          </a:p>
        </p:txBody>
      </p:sp>
      <p:sp>
        <p:nvSpPr>
          <p:cNvPr id="16" name="Picture Placeholder 53">
            <a:extLst>
              <a:ext uri="{FF2B5EF4-FFF2-40B4-BE49-F238E27FC236}">
                <a16:creationId xmlns:a16="http://schemas.microsoft.com/office/drawing/2014/main" id="{2C8AF19C-474A-0378-B983-6A988C4459B0}"/>
              </a:ext>
            </a:extLst>
          </p:cNvPr>
          <p:cNvSpPr>
            <a:spLocks noGrp="1" noChangeAspect="1"/>
          </p:cNvSpPr>
          <p:nvPr>
            <p:ph type="pic" sz="quarter" idx="35"/>
          </p:nvPr>
        </p:nvSpPr>
        <p:spPr>
          <a:xfrm>
            <a:off x="7566510" y="1417320"/>
            <a:ext cx="1810512" cy="1810512"/>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lvl1pPr marL="0" indent="0">
              <a:buNone/>
              <a:defRPr/>
            </a:lvl1pPr>
          </a:lstStyle>
          <a:p>
            <a:r>
              <a:rPr lang="en-US" dirty="0"/>
              <a:t>Click icon to add picture</a:t>
            </a:r>
          </a:p>
        </p:txBody>
      </p:sp>
      <p:sp>
        <p:nvSpPr>
          <p:cNvPr id="17" name="Text Placeholder 55">
            <a:extLst>
              <a:ext uri="{FF2B5EF4-FFF2-40B4-BE49-F238E27FC236}">
                <a16:creationId xmlns:a16="http://schemas.microsoft.com/office/drawing/2014/main" id="{48A268B9-878E-5657-96F2-249FCA92B867}"/>
              </a:ext>
            </a:extLst>
          </p:cNvPr>
          <p:cNvSpPr>
            <a:spLocks noGrp="1"/>
          </p:cNvSpPr>
          <p:nvPr>
            <p:ph type="body" sz="quarter" idx="36" hasCustomPrompt="1"/>
          </p:nvPr>
        </p:nvSpPr>
        <p:spPr>
          <a:xfrm>
            <a:off x="7443067" y="3311809"/>
            <a:ext cx="2057399" cy="520700"/>
          </a:xfrm>
        </p:spPr>
        <p:txBody>
          <a:bodyPr/>
          <a:lstStyle>
            <a:lvl1pPr marL="0" indent="0" algn="ctr">
              <a:lnSpc>
                <a:spcPct val="100000"/>
              </a:lnSpc>
              <a:buNone/>
              <a:defRPr sz="1400" b="1">
                <a:solidFill>
                  <a:schemeClr val="tx2"/>
                </a:solidFill>
              </a:defRPr>
            </a:lvl1pPr>
            <a:lvl2pPr marL="0" indent="0" algn="ctr">
              <a:lnSpc>
                <a:spcPct val="100000"/>
              </a:lnSpc>
              <a:spcBef>
                <a:spcPts val="200"/>
              </a:spcBef>
              <a:buNone/>
              <a:defRPr sz="12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18" name="Text Placeholder 8">
            <a:extLst>
              <a:ext uri="{FF2B5EF4-FFF2-40B4-BE49-F238E27FC236}">
                <a16:creationId xmlns:a16="http://schemas.microsoft.com/office/drawing/2014/main" id="{7DE601EC-CBCB-9E89-BE07-B69DBC543AFC}"/>
              </a:ext>
            </a:extLst>
          </p:cNvPr>
          <p:cNvSpPr>
            <a:spLocks noGrp="1"/>
          </p:cNvSpPr>
          <p:nvPr>
            <p:ph type="body" sz="quarter" idx="37"/>
          </p:nvPr>
        </p:nvSpPr>
        <p:spPr>
          <a:xfrm>
            <a:off x="7443069" y="3801935"/>
            <a:ext cx="2057400" cy="2276739"/>
          </a:xfrm>
        </p:spPr>
        <p:txBody>
          <a:bodyPr/>
          <a:lstStyle>
            <a:lvl1pPr marL="137160" indent="-137160">
              <a:lnSpc>
                <a:spcPct val="120000"/>
              </a:lnSpc>
              <a:spcBef>
                <a:spcPts val="600"/>
              </a:spcBef>
              <a:buFont typeface="System Font Regular"/>
              <a:buChar char="+"/>
              <a:defRPr sz="1200"/>
            </a:lvl1pPr>
            <a:lvl2pPr indent="0">
              <a:lnSpc>
                <a:spcPct val="105000"/>
              </a:lnSpc>
              <a:buNone/>
              <a:defRPr/>
            </a:lvl2pPr>
            <a:lvl3pPr indent="0">
              <a:lnSpc>
                <a:spcPct val="105000"/>
              </a:lnSpc>
              <a:buNone/>
              <a:defRPr/>
            </a:lvl3pPr>
            <a:lvl4pPr indent="0">
              <a:lnSpc>
                <a:spcPct val="105000"/>
              </a:lnSpc>
              <a:buNone/>
              <a:defRPr/>
            </a:lvl4pPr>
            <a:lvl5pPr indent="0">
              <a:lnSpc>
                <a:spcPct val="105000"/>
              </a:lnSpc>
              <a:buNone/>
              <a:defRPr/>
            </a:lvl5pPr>
          </a:lstStyle>
          <a:p>
            <a:pPr lvl="0"/>
            <a:r>
              <a:rPr lang="en-US"/>
              <a:t>Click to edit Master text styles</a:t>
            </a:r>
          </a:p>
        </p:txBody>
      </p:sp>
      <p:sp>
        <p:nvSpPr>
          <p:cNvPr id="19" name="Picture Placeholder 53">
            <a:extLst>
              <a:ext uri="{FF2B5EF4-FFF2-40B4-BE49-F238E27FC236}">
                <a16:creationId xmlns:a16="http://schemas.microsoft.com/office/drawing/2014/main" id="{369A1F19-0D44-0FD0-E90C-A2C621E3E3EE}"/>
              </a:ext>
            </a:extLst>
          </p:cNvPr>
          <p:cNvSpPr>
            <a:spLocks noGrp="1" noChangeAspect="1"/>
          </p:cNvSpPr>
          <p:nvPr>
            <p:ph type="pic" sz="quarter" idx="38"/>
          </p:nvPr>
        </p:nvSpPr>
        <p:spPr>
          <a:xfrm>
            <a:off x="9885484" y="1417320"/>
            <a:ext cx="1810512" cy="1810512"/>
          </a:xfrm>
          <a:custGeom>
            <a:avLst/>
            <a:gdLst>
              <a:gd name="connsiteX0" fmla="*/ 602070 w 1204140"/>
              <a:gd name="connsiteY0" fmla="*/ 0 h 1204140"/>
              <a:gd name="connsiteX1" fmla="*/ 1204140 w 1204140"/>
              <a:gd name="connsiteY1" fmla="*/ 602070 h 1204140"/>
              <a:gd name="connsiteX2" fmla="*/ 602070 w 1204140"/>
              <a:gd name="connsiteY2" fmla="*/ 1204140 h 1204140"/>
              <a:gd name="connsiteX3" fmla="*/ 0 w 1204140"/>
              <a:gd name="connsiteY3" fmla="*/ 602070 h 1204140"/>
              <a:gd name="connsiteX4" fmla="*/ 602070 w 1204140"/>
              <a:gd name="connsiteY4" fmla="*/ 0 h 1204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4140" h="1204140">
                <a:moveTo>
                  <a:pt x="602070" y="0"/>
                </a:moveTo>
                <a:cubicBezTo>
                  <a:pt x="934585" y="0"/>
                  <a:pt x="1204140" y="269556"/>
                  <a:pt x="1204140" y="602070"/>
                </a:cubicBezTo>
                <a:cubicBezTo>
                  <a:pt x="1204140" y="934585"/>
                  <a:pt x="934585" y="1204140"/>
                  <a:pt x="602070" y="1204140"/>
                </a:cubicBezTo>
                <a:cubicBezTo>
                  <a:pt x="269556" y="1204140"/>
                  <a:pt x="0" y="934585"/>
                  <a:pt x="0" y="602070"/>
                </a:cubicBezTo>
                <a:cubicBezTo>
                  <a:pt x="0" y="269556"/>
                  <a:pt x="269556" y="0"/>
                  <a:pt x="602070" y="0"/>
                </a:cubicBezTo>
                <a:close/>
              </a:path>
            </a:pathLst>
          </a:cu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lvl1pPr marL="0" indent="0">
              <a:buNone/>
              <a:defRPr/>
            </a:lvl1pPr>
          </a:lstStyle>
          <a:p>
            <a:r>
              <a:rPr lang="en-US" dirty="0"/>
              <a:t>Click icon to add picture</a:t>
            </a:r>
          </a:p>
        </p:txBody>
      </p:sp>
      <p:sp>
        <p:nvSpPr>
          <p:cNvPr id="20" name="Text Placeholder 55">
            <a:extLst>
              <a:ext uri="{FF2B5EF4-FFF2-40B4-BE49-F238E27FC236}">
                <a16:creationId xmlns:a16="http://schemas.microsoft.com/office/drawing/2014/main" id="{09B69E67-6080-558E-26E2-D94A22ED03BC}"/>
              </a:ext>
            </a:extLst>
          </p:cNvPr>
          <p:cNvSpPr>
            <a:spLocks noGrp="1"/>
          </p:cNvSpPr>
          <p:nvPr>
            <p:ph type="body" sz="quarter" idx="39" hasCustomPrompt="1"/>
          </p:nvPr>
        </p:nvSpPr>
        <p:spPr>
          <a:xfrm>
            <a:off x="9774404" y="3311809"/>
            <a:ext cx="2045035" cy="520700"/>
          </a:xfrm>
        </p:spPr>
        <p:txBody>
          <a:bodyPr/>
          <a:lstStyle>
            <a:lvl1pPr marL="0" indent="0" algn="ctr">
              <a:lnSpc>
                <a:spcPct val="100000"/>
              </a:lnSpc>
              <a:buNone/>
              <a:defRPr sz="1400" b="1">
                <a:solidFill>
                  <a:schemeClr val="tx2"/>
                </a:solidFill>
              </a:defRPr>
            </a:lvl1pPr>
            <a:lvl2pPr marL="0" indent="0" algn="ctr">
              <a:lnSpc>
                <a:spcPct val="100000"/>
              </a:lnSpc>
              <a:spcBef>
                <a:spcPts val="200"/>
              </a:spcBef>
              <a:buNone/>
              <a:defRPr sz="1200"/>
            </a:lvl2pPr>
            <a:lvl3pPr marL="365760" indent="0" algn="ctr">
              <a:lnSpc>
                <a:spcPct val="100000"/>
              </a:lnSpc>
              <a:buNone/>
              <a:defRPr/>
            </a:lvl3pPr>
            <a:lvl4pPr marL="548640" indent="0" algn="ctr">
              <a:lnSpc>
                <a:spcPct val="100000"/>
              </a:lnSpc>
              <a:buNone/>
              <a:defRPr/>
            </a:lvl4pPr>
            <a:lvl5pPr marL="731520" indent="0" algn="ctr">
              <a:lnSpc>
                <a:spcPct val="100000"/>
              </a:lnSpc>
              <a:buNone/>
              <a:defRPr/>
            </a:lvl5pPr>
          </a:lstStyle>
          <a:p>
            <a:pPr lvl="0"/>
            <a:r>
              <a:rPr lang="en-US"/>
              <a:t>Click to edit Name</a:t>
            </a:r>
          </a:p>
          <a:p>
            <a:pPr lvl="1"/>
            <a:r>
              <a:rPr lang="en-US"/>
              <a:t>Second level Title</a:t>
            </a:r>
          </a:p>
        </p:txBody>
      </p:sp>
      <p:sp>
        <p:nvSpPr>
          <p:cNvPr id="21" name="Text Placeholder 8">
            <a:extLst>
              <a:ext uri="{FF2B5EF4-FFF2-40B4-BE49-F238E27FC236}">
                <a16:creationId xmlns:a16="http://schemas.microsoft.com/office/drawing/2014/main" id="{1ED05DC5-5823-F572-29F1-6C564966F7AE}"/>
              </a:ext>
            </a:extLst>
          </p:cNvPr>
          <p:cNvSpPr>
            <a:spLocks noGrp="1"/>
          </p:cNvSpPr>
          <p:nvPr>
            <p:ph type="body" sz="quarter" idx="40"/>
          </p:nvPr>
        </p:nvSpPr>
        <p:spPr>
          <a:xfrm>
            <a:off x="9762040" y="3801935"/>
            <a:ext cx="2057400" cy="2276739"/>
          </a:xfrm>
        </p:spPr>
        <p:txBody>
          <a:bodyPr/>
          <a:lstStyle>
            <a:lvl1pPr marL="137160" indent="-137160">
              <a:lnSpc>
                <a:spcPct val="120000"/>
              </a:lnSpc>
              <a:spcBef>
                <a:spcPts val="600"/>
              </a:spcBef>
              <a:buFont typeface="System Font Regular"/>
              <a:buChar char="+"/>
              <a:defRPr sz="1200"/>
            </a:lvl1pPr>
            <a:lvl2pPr indent="0">
              <a:lnSpc>
                <a:spcPct val="105000"/>
              </a:lnSpc>
              <a:buNone/>
              <a:defRPr/>
            </a:lvl2pPr>
            <a:lvl3pPr indent="0">
              <a:lnSpc>
                <a:spcPct val="105000"/>
              </a:lnSpc>
              <a:buNone/>
              <a:defRPr/>
            </a:lvl3pPr>
            <a:lvl4pPr indent="0">
              <a:lnSpc>
                <a:spcPct val="105000"/>
              </a:lnSpc>
              <a:buNone/>
              <a:defRPr/>
            </a:lvl4pPr>
            <a:lvl5pPr indent="0">
              <a:lnSpc>
                <a:spcPct val="105000"/>
              </a:lnSpc>
              <a:buNone/>
              <a:defRPr/>
            </a:lvl5pPr>
          </a:lstStyle>
          <a:p>
            <a:pPr lvl="0"/>
            <a:r>
              <a:rPr lang="en-US"/>
              <a:t>Click to edit Master text styles</a:t>
            </a:r>
          </a:p>
        </p:txBody>
      </p:sp>
      <p:graphicFrame>
        <p:nvGraphicFramePr>
          <p:cNvPr id="7" name="think-cell data - do not delete" hidden="1">
            <a:extLst>
              <a:ext uri="{FF2B5EF4-FFF2-40B4-BE49-F238E27FC236}">
                <a16:creationId xmlns:a16="http://schemas.microsoft.com/office/drawing/2014/main" id="{CB1DEB17-0768-B119-56F7-B6A6D6128D2B}"/>
              </a:ext>
            </a:extLst>
          </p:cNvPr>
          <p:cNvGraphicFramePr>
            <a:graphicFrameLocks noChangeAspect="1"/>
          </p:cNvGraphicFramePr>
          <p:nvPr userDrawn="1">
            <p:custDataLst>
              <p:tags r:id="rId2"/>
            </p:custDataLst>
            <p:extLst>
              <p:ext uri="{D42A27DB-BD31-4B8C-83A1-F6EECF244321}">
                <p14:modId xmlns:p14="http://schemas.microsoft.com/office/powerpoint/2010/main" val="3873565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CB1DEB17-0768-B119-56F7-B6A6D6128D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154DA6EB-CE30-5982-B3A7-9BA4ECBAD5ED}"/>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2C6AFE69-4781-132F-9EE9-17AF2BCE4BFB}"/>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64722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Takeaways-A-3-Takeaways">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F958E0FD-9B26-BA7D-12DA-403CB2E1DF19}"/>
              </a:ext>
            </a:extLst>
          </p:cNvPr>
          <p:cNvGraphicFramePr>
            <a:graphicFrameLocks noChangeAspect="1"/>
          </p:cNvGraphicFramePr>
          <p:nvPr>
            <p:custDataLst>
              <p:tags r:id="rId1"/>
            </p:custDataLst>
            <p:extLst>
              <p:ext uri="{D42A27DB-BD31-4B8C-83A1-F6EECF244321}">
                <p14:modId xmlns:p14="http://schemas.microsoft.com/office/powerpoint/2010/main" val="28137598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F958E0FD-9B26-BA7D-12DA-403CB2E1DF1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A2D2C3AA-DE08-082F-A8D8-D2B1F1A97A10}"/>
              </a:ext>
            </a:extLst>
          </p:cNvPr>
          <p:cNvSpPr>
            <a:spLocks noGrp="1"/>
          </p:cNvSpPr>
          <p:nvPr>
            <p:ph type="pic" sz="quarter" idx="29"/>
          </p:nvPr>
        </p:nvSpPr>
        <p:spPr>
          <a:xfrm>
            <a:off x="8570913" y="0"/>
            <a:ext cx="3621087" cy="6858000"/>
          </a:xfrm>
          <a:solidFill>
            <a:schemeClr val="bg1">
              <a:lumMod val="95000"/>
            </a:schemeClr>
          </a:solidFill>
        </p:spPr>
        <p:txBody>
          <a:bodyPr/>
          <a:lstStyle/>
          <a:p>
            <a:r>
              <a:rPr lang="en-US" dirty="0"/>
              <a:t>Click icon to add picture</a:t>
            </a:r>
          </a:p>
        </p:txBody>
      </p:sp>
      <p:sp>
        <p:nvSpPr>
          <p:cNvPr id="23" name="Text Placeholder 22">
            <a:extLst>
              <a:ext uri="{FF2B5EF4-FFF2-40B4-BE49-F238E27FC236}">
                <a16:creationId xmlns:a16="http://schemas.microsoft.com/office/drawing/2014/main" id="{B0FE1476-9976-E5FA-1BE0-35A9870B9CFC}"/>
              </a:ext>
            </a:extLst>
          </p:cNvPr>
          <p:cNvSpPr>
            <a:spLocks noGrp="1"/>
          </p:cNvSpPr>
          <p:nvPr>
            <p:ph type="body" sz="quarter" idx="26"/>
          </p:nvPr>
        </p:nvSpPr>
        <p:spPr>
          <a:xfrm>
            <a:off x="0" y="2310652"/>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24" name="Text Placeholder 23">
            <a:extLst>
              <a:ext uri="{FF2B5EF4-FFF2-40B4-BE49-F238E27FC236}">
                <a16:creationId xmlns:a16="http://schemas.microsoft.com/office/drawing/2014/main" id="{A5F15F26-71BA-420B-16BA-B179DC936C02}"/>
              </a:ext>
            </a:extLst>
          </p:cNvPr>
          <p:cNvSpPr>
            <a:spLocks noGrp="1"/>
          </p:cNvSpPr>
          <p:nvPr>
            <p:ph type="body" sz="quarter" idx="27"/>
          </p:nvPr>
        </p:nvSpPr>
        <p:spPr>
          <a:xfrm>
            <a:off x="0" y="3110752"/>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25" name="Text Placeholder 24">
            <a:extLst>
              <a:ext uri="{FF2B5EF4-FFF2-40B4-BE49-F238E27FC236}">
                <a16:creationId xmlns:a16="http://schemas.microsoft.com/office/drawing/2014/main" id="{0C80787E-D22F-CD92-DA43-E1BCD1FFF9FE}"/>
              </a:ext>
            </a:extLst>
          </p:cNvPr>
          <p:cNvSpPr>
            <a:spLocks noGrp="1"/>
          </p:cNvSpPr>
          <p:nvPr>
            <p:ph type="body" sz="quarter" idx="28"/>
          </p:nvPr>
        </p:nvSpPr>
        <p:spPr>
          <a:xfrm>
            <a:off x="0" y="3937229"/>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lvl1pPr>
              <a:defRPr>
                <a:solidFill>
                  <a:schemeClr val="bg1"/>
                </a:solidFill>
              </a:defRPr>
            </a:lvl1p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7326666"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aphicFrame>
        <p:nvGraphicFramePr>
          <p:cNvPr id="7" name="think-cell data - do not delete" hidden="1">
            <a:extLst>
              <a:ext uri="{FF2B5EF4-FFF2-40B4-BE49-F238E27FC236}">
                <a16:creationId xmlns:a16="http://schemas.microsoft.com/office/drawing/2014/main" id="{16704FA9-D7D4-F774-AA10-85B58AF386AF}"/>
              </a:ext>
            </a:extLst>
          </p:cNvPr>
          <p:cNvGraphicFramePr>
            <a:graphicFrameLocks noChangeAspect="1"/>
          </p:cNvGraphicFramePr>
          <p:nvPr userDrawn="1">
            <p:custDataLst>
              <p:tags r:id="rId2"/>
            </p:custDataLst>
            <p:extLst>
              <p:ext uri="{D42A27DB-BD31-4B8C-83A1-F6EECF244321}">
                <p14:modId xmlns:p14="http://schemas.microsoft.com/office/powerpoint/2010/main" val="28137598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16704FA9-D7D4-F774-AA10-85B58AF386A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C0AD0247-B704-688C-9FA6-8F195FDCC6BD}"/>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D91EA9D7-4D5E-370D-7B93-6B4B4AF3A90E}"/>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35095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Takeaways-A-4-Takeaways">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F958E0FD-9B26-BA7D-12DA-403CB2E1DF19}"/>
              </a:ext>
            </a:extLst>
          </p:cNvPr>
          <p:cNvGraphicFramePr>
            <a:graphicFrameLocks noChangeAspect="1"/>
          </p:cNvGraphicFramePr>
          <p:nvPr>
            <p:custDataLst>
              <p:tags r:id="rId1"/>
            </p:custDataLst>
            <p:extLst>
              <p:ext uri="{D42A27DB-BD31-4B8C-83A1-F6EECF244321}">
                <p14:modId xmlns:p14="http://schemas.microsoft.com/office/powerpoint/2010/main" val="18397951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F958E0FD-9B26-BA7D-12DA-403CB2E1DF1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9">
            <a:extLst>
              <a:ext uri="{FF2B5EF4-FFF2-40B4-BE49-F238E27FC236}">
                <a16:creationId xmlns:a16="http://schemas.microsoft.com/office/drawing/2014/main" id="{683E6E49-5F71-7BBE-5B4A-25C299F63C4E}"/>
              </a:ext>
            </a:extLst>
          </p:cNvPr>
          <p:cNvSpPr>
            <a:spLocks noGrp="1"/>
          </p:cNvSpPr>
          <p:nvPr>
            <p:ph type="pic" sz="quarter" idx="30"/>
          </p:nvPr>
        </p:nvSpPr>
        <p:spPr>
          <a:xfrm>
            <a:off x="8570913" y="0"/>
            <a:ext cx="3621087" cy="6858000"/>
          </a:xfrm>
          <a:solidFill>
            <a:schemeClr val="bg1">
              <a:lumMod val="95000"/>
            </a:schemeClr>
          </a:solidFill>
        </p:spPr>
        <p:txBody>
          <a:bodyPr/>
          <a:lstStyle/>
          <a:p>
            <a:r>
              <a:rPr lang="en-US" dirty="0"/>
              <a:t>Click icon to add picture</a:t>
            </a:r>
          </a:p>
        </p:txBody>
      </p:sp>
      <p:sp>
        <p:nvSpPr>
          <p:cNvPr id="23" name="Text Placeholder 22">
            <a:extLst>
              <a:ext uri="{FF2B5EF4-FFF2-40B4-BE49-F238E27FC236}">
                <a16:creationId xmlns:a16="http://schemas.microsoft.com/office/drawing/2014/main" id="{B0FE1476-9976-E5FA-1BE0-35A9870B9CFC}"/>
              </a:ext>
            </a:extLst>
          </p:cNvPr>
          <p:cNvSpPr>
            <a:spLocks noGrp="1"/>
          </p:cNvSpPr>
          <p:nvPr>
            <p:ph type="body" sz="quarter" idx="26"/>
          </p:nvPr>
        </p:nvSpPr>
        <p:spPr>
          <a:xfrm>
            <a:off x="0" y="2013083"/>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24" name="Text Placeholder 23">
            <a:extLst>
              <a:ext uri="{FF2B5EF4-FFF2-40B4-BE49-F238E27FC236}">
                <a16:creationId xmlns:a16="http://schemas.microsoft.com/office/drawing/2014/main" id="{A5F15F26-71BA-420B-16BA-B179DC936C02}"/>
              </a:ext>
            </a:extLst>
          </p:cNvPr>
          <p:cNvSpPr>
            <a:spLocks noGrp="1"/>
          </p:cNvSpPr>
          <p:nvPr>
            <p:ph type="body" sz="quarter" idx="27"/>
          </p:nvPr>
        </p:nvSpPr>
        <p:spPr>
          <a:xfrm>
            <a:off x="0" y="2813183"/>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25" name="Text Placeholder 24">
            <a:extLst>
              <a:ext uri="{FF2B5EF4-FFF2-40B4-BE49-F238E27FC236}">
                <a16:creationId xmlns:a16="http://schemas.microsoft.com/office/drawing/2014/main" id="{0C80787E-D22F-CD92-DA43-E1BCD1FFF9FE}"/>
              </a:ext>
            </a:extLst>
          </p:cNvPr>
          <p:cNvSpPr>
            <a:spLocks noGrp="1"/>
          </p:cNvSpPr>
          <p:nvPr>
            <p:ph type="body" sz="quarter" idx="28"/>
          </p:nvPr>
        </p:nvSpPr>
        <p:spPr>
          <a:xfrm>
            <a:off x="0" y="3639660"/>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26" name="Text Placeholder 24">
            <a:extLst>
              <a:ext uri="{FF2B5EF4-FFF2-40B4-BE49-F238E27FC236}">
                <a16:creationId xmlns:a16="http://schemas.microsoft.com/office/drawing/2014/main" id="{18B71A31-7A9F-EFB1-A060-DEA8D6E39380}"/>
              </a:ext>
            </a:extLst>
          </p:cNvPr>
          <p:cNvSpPr>
            <a:spLocks noGrp="1"/>
          </p:cNvSpPr>
          <p:nvPr>
            <p:ph type="body" sz="quarter" idx="29"/>
          </p:nvPr>
        </p:nvSpPr>
        <p:spPr>
          <a:xfrm>
            <a:off x="0" y="4422175"/>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lvl1pPr>
              <a:defRPr>
                <a:solidFill>
                  <a:schemeClr val="bg1"/>
                </a:solidFill>
              </a:defRPr>
            </a:lvl1p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aphicFrame>
        <p:nvGraphicFramePr>
          <p:cNvPr id="9" name="think-cell data - do not delete" hidden="1">
            <a:extLst>
              <a:ext uri="{FF2B5EF4-FFF2-40B4-BE49-F238E27FC236}">
                <a16:creationId xmlns:a16="http://schemas.microsoft.com/office/drawing/2014/main" id="{258D219E-0D75-CF72-A49D-B7108269990F}"/>
              </a:ext>
            </a:extLst>
          </p:cNvPr>
          <p:cNvGraphicFramePr>
            <a:graphicFrameLocks noChangeAspect="1"/>
          </p:cNvGraphicFramePr>
          <p:nvPr userDrawn="1">
            <p:custDataLst>
              <p:tags r:id="rId2"/>
            </p:custDataLst>
            <p:extLst>
              <p:ext uri="{D42A27DB-BD31-4B8C-83A1-F6EECF244321}">
                <p14:modId xmlns:p14="http://schemas.microsoft.com/office/powerpoint/2010/main" val="18397951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258D219E-0D75-CF72-A49D-B7108269990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A06397FE-D2D4-A20D-126C-C84AE35D5CEC}"/>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E0C9E1D9-6CBF-FD35-E821-53598CAEAC05}"/>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52562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Takeaways-A-5-Takeaways">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F958E0FD-9B26-BA7D-12DA-403CB2E1DF19}"/>
              </a:ext>
            </a:extLst>
          </p:cNvPr>
          <p:cNvGraphicFramePr>
            <a:graphicFrameLocks noChangeAspect="1"/>
          </p:cNvGraphicFramePr>
          <p:nvPr>
            <p:custDataLst>
              <p:tags r:id="rId1"/>
            </p:custDataLst>
            <p:extLst>
              <p:ext uri="{D42A27DB-BD31-4B8C-83A1-F6EECF244321}">
                <p14:modId xmlns:p14="http://schemas.microsoft.com/office/powerpoint/2010/main" val="30508481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F958E0FD-9B26-BA7D-12DA-403CB2E1DF1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9">
            <a:extLst>
              <a:ext uri="{FF2B5EF4-FFF2-40B4-BE49-F238E27FC236}">
                <a16:creationId xmlns:a16="http://schemas.microsoft.com/office/drawing/2014/main" id="{D5808CF2-3EEB-FD0E-E1F1-6CA632287CBF}"/>
              </a:ext>
            </a:extLst>
          </p:cNvPr>
          <p:cNvSpPr>
            <a:spLocks noGrp="1"/>
          </p:cNvSpPr>
          <p:nvPr>
            <p:ph type="pic" sz="quarter" idx="31"/>
          </p:nvPr>
        </p:nvSpPr>
        <p:spPr>
          <a:xfrm>
            <a:off x="8570913" y="0"/>
            <a:ext cx="3621087" cy="6858000"/>
          </a:xfrm>
          <a:solidFill>
            <a:schemeClr val="bg1">
              <a:lumMod val="95000"/>
            </a:schemeClr>
          </a:solidFill>
        </p:spPr>
        <p:txBody>
          <a:bodyPr/>
          <a:lstStyle/>
          <a:p>
            <a:r>
              <a:rPr lang="en-US" dirty="0"/>
              <a:t>Click icon to add picture</a:t>
            </a:r>
          </a:p>
        </p:txBody>
      </p:sp>
      <p:sp>
        <p:nvSpPr>
          <p:cNvPr id="23" name="Text Placeholder 22">
            <a:extLst>
              <a:ext uri="{FF2B5EF4-FFF2-40B4-BE49-F238E27FC236}">
                <a16:creationId xmlns:a16="http://schemas.microsoft.com/office/drawing/2014/main" id="{B0FE1476-9976-E5FA-1BE0-35A9870B9CFC}"/>
              </a:ext>
            </a:extLst>
          </p:cNvPr>
          <p:cNvSpPr>
            <a:spLocks noGrp="1"/>
          </p:cNvSpPr>
          <p:nvPr>
            <p:ph type="body" sz="quarter" idx="26"/>
          </p:nvPr>
        </p:nvSpPr>
        <p:spPr>
          <a:xfrm>
            <a:off x="0" y="1885242"/>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24" name="Text Placeholder 23">
            <a:extLst>
              <a:ext uri="{FF2B5EF4-FFF2-40B4-BE49-F238E27FC236}">
                <a16:creationId xmlns:a16="http://schemas.microsoft.com/office/drawing/2014/main" id="{A5F15F26-71BA-420B-16BA-B179DC936C02}"/>
              </a:ext>
            </a:extLst>
          </p:cNvPr>
          <p:cNvSpPr>
            <a:spLocks noGrp="1"/>
          </p:cNvSpPr>
          <p:nvPr>
            <p:ph type="body" sz="quarter" idx="27"/>
          </p:nvPr>
        </p:nvSpPr>
        <p:spPr>
          <a:xfrm>
            <a:off x="0" y="2685342"/>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25" name="Text Placeholder 24">
            <a:extLst>
              <a:ext uri="{FF2B5EF4-FFF2-40B4-BE49-F238E27FC236}">
                <a16:creationId xmlns:a16="http://schemas.microsoft.com/office/drawing/2014/main" id="{0C80787E-D22F-CD92-DA43-E1BCD1FFF9FE}"/>
              </a:ext>
            </a:extLst>
          </p:cNvPr>
          <p:cNvSpPr>
            <a:spLocks noGrp="1"/>
          </p:cNvSpPr>
          <p:nvPr>
            <p:ph type="body" sz="quarter" idx="28"/>
          </p:nvPr>
        </p:nvSpPr>
        <p:spPr>
          <a:xfrm>
            <a:off x="0" y="3511819"/>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26" name="Text Placeholder 24">
            <a:extLst>
              <a:ext uri="{FF2B5EF4-FFF2-40B4-BE49-F238E27FC236}">
                <a16:creationId xmlns:a16="http://schemas.microsoft.com/office/drawing/2014/main" id="{18B71A31-7A9F-EFB1-A060-DEA8D6E39380}"/>
              </a:ext>
            </a:extLst>
          </p:cNvPr>
          <p:cNvSpPr>
            <a:spLocks noGrp="1"/>
          </p:cNvSpPr>
          <p:nvPr>
            <p:ph type="body" sz="quarter" idx="29"/>
          </p:nvPr>
        </p:nvSpPr>
        <p:spPr>
          <a:xfrm>
            <a:off x="0" y="4294334"/>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30" name="Text Placeholder 24">
            <a:extLst>
              <a:ext uri="{FF2B5EF4-FFF2-40B4-BE49-F238E27FC236}">
                <a16:creationId xmlns:a16="http://schemas.microsoft.com/office/drawing/2014/main" id="{BF9AC5BC-B5BD-5AB1-00F3-0F87FE3376BA}"/>
              </a:ext>
            </a:extLst>
          </p:cNvPr>
          <p:cNvSpPr>
            <a:spLocks noGrp="1"/>
          </p:cNvSpPr>
          <p:nvPr>
            <p:ph type="body" sz="quarter" idx="30"/>
          </p:nvPr>
        </p:nvSpPr>
        <p:spPr>
          <a:xfrm>
            <a:off x="0" y="5112018"/>
            <a:ext cx="9162288" cy="640080"/>
          </a:xfrm>
          <a:custGeom>
            <a:avLst/>
            <a:gdLst>
              <a:gd name="connsiteX0" fmla="*/ 0 w 9162288"/>
              <a:gd name="connsiteY0" fmla="*/ 0 h 640080"/>
              <a:gd name="connsiteX1" fmla="*/ 8842248 w 9162288"/>
              <a:gd name="connsiteY1" fmla="*/ 0 h 640080"/>
              <a:gd name="connsiteX2" fmla="*/ 9162288 w 9162288"/>
              <a:gd name="connsiteY2" fmla="*/ 320040 h 640080"/>
              <a:gd name="connsiteX3" fmla="*/ 8842248 w 9162288"/>
              <a:gd name="connsiteY3" fmla="*/ 640080 h 640080"/>
              <a:gd name="connsiteX4" fmla="*/ 0 w 9162288"/>
              <a:gd name="connsiteY4" fmla="*/ 640080 h 640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2288" h="640080">
                <a:moveTo>
                  <a:pt x="0" y="0"/>
                </a:moveTo>
                <a:lnTo>
                  <a:pt x="8842248" y="0"/>
                </a:lnTo>
                <a:cubicBezTo>
                  <a:pt x="9019001" y="0"/>
                  <a:pt x="9162288" y="143287"/>
                  <a:pt x="9162288" y="320040"/>
                </a:cubicBezTo>
                <a:cubicBezTo>
                  <a:pt x="9162288" y="496793"/>
                  <a:pt x="9019001" y="640080"/>
                  <a:pt x="8842248" y="640080"/>
                </a:cubicBezTo>
                <a:lnTo>
                  <a:pt x="0" y="640080"/>
                </a:lnTo>
                <a:close/>
              </a:path>
            </a:pathLst>
          </a:custGeom>
          <a:solidFill>
            <a:schemeClr val="tx2"/>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58368" bIns="0" anchor="ctr" anchorCtr="0">
            <a:noAutofit/>
          </a:bodyPr>
          <a:lstStyle>
            <a:lvl1pPr marL="0" indent="0">
              <a:lnSpc>
                <a:spcPct val="105000"/>
              </a:lnSpc>
              <a:buNone/>
              <a:defRPr sz="2000" b="1">
                <a:solidFill>
                  <a:schemeClr val="bg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lvl1pPr>
              <a:defRPr>
                <a:solidFill>
                  <a:schemeClr val="bg1"/>
                </a:solidFill>
              </a:defRPr>
            </a:lvl1p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aphicFrame>
        <p:nvGraphicFramePr>
          <p:cNvPr id="9" name="think-cell data - do not delete" hidden="1">
            <a:extLst>
              <a:ext uri="{FF2B5EF4-FFF2-40B4-BE49-F238E27FC236}">
                <a16:creationId xmlns:a16="http://schemas.microsoft.com/office/drawing/2014/main" id="{3F027105-94F3-1265-43C9-3AAF138F4A9E}"/>
              </a:ext>
            </a:extLst>
          </p:cNvPr>
          <p:cNvGraphicFramePr>
            <a:graphicFrameLocks noChangeAspect="1"/>
          </p:cNvGraphicFramePr>
          <p:nvPr userDrawn="1">
            <p:custDataLst>
              <p:tags r:id="rId2"/>
            </p:custDataLst>
            <p:extLst>
              <p:ext uri="{D42A27DB-BD31-4B8C-83A1-F6EECF244321}">
                <p14:modId xmlns:p14="http://schemas.microsoft.com/office/powerpoint/2010/main" val="30508481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3F027105-94F3-1265-43C9-3AAF138F4A9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155A717F-2B1F-BF8A-B2FF-A1A46A328D63}"/>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B87B2388-36D3-1AD0-6083-6DFE8CF97359}"/>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87623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Takeaways-B-3 Takeaways">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F2A471D7-A92A-F588-655B-E7491CD725F4}"/>
              </a:ext>
            </a:extLst>
          </p:cNvPr>
          <p:cNvGraphicFramePr>
            <a:graphicFrameLocks noChangeAspect="1"/>
          </p:cNvGraphicFramePr>
          <p:nvPr>
            <p:custDataLst>
              <p:tags r:id="rId1"/>
            </p:custDataLst>
            <p:extLst>
              <p:ext uri="{D42A27DB-BD31-4B8C-83A1-F6EECF244321}">
                <p14:modId xmlns:p14="http://schemas.microsoft.com/office/powerpoint/2010/main" val="19779119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6" name="think-cell data - do not delete" hidden="1">
                        <a:extLst>
                          <a:ext uri="{FF2B5EF4-FFF2-40B4-BE49-F238E27FC236}">
                            <a16:creationId xmlns:a16="http://schemas.microsoft.com/office/drawing/2014/main" id="{F2A471D7-A92A-F588-655B-E7491CD725F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CB3D0E50-664A-67F8-2C9A-32B02B1AC3F3}"/>
              </a:ext>
            </a:extLst>
          </p:cNvPr>
          <p:cNvSpPr>
            <a:spLocks noGrp="1"/>
          </p:cNvSpPr>
          <p:nvPr>
            <p:ph type="body" sz="quarter" idx="26"/>
          </p:nvPr>
        </p:nvSpPr>
        <p:spPr>
          <a:xfrm>
            <a:off x="612648" y="1705708"/>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20" name="Text Placeholder 18">
            <a:extLst>
              <a:ext uri="{FF2B5EF4-FFF2-40B4-BE49-F238E27FC236}">
                <a16:creationId xmlns:a16="http://schemas.microsoft.com/office/drawing/2014/main" id="{C1269169-F09B-73C3-000E-C5D419E32081}"/>
              </a:ext>
            </a:extLst>
          </p:cNvPr>
          <p:cNvSpPr>
            <a:spLocks noGrp="1"/>
          </p:cNvSpPr>
          <p:nvPr>
            <p:ph type="body" sz="quarter" idx="27"/>
          </p:nvPr>
        </p:nvSpPr>
        <p:spPr>
          <a:xfrm>
            <a:off x="612648" y="2497016"/>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21" name="Text Placeholder 18">
            <a:extLst>
              <a:ext uri="{FF2B5EF4-FFF2-40B4-BE49-F238E27FC236}">
                <a16:creationId xmlns:a16="http://schemas.microsoft.com/office/drawing/2014/main" id="{C1F6FD04-0814-F6B7-0B70-81B92DEF44DF}"/>
              </a:ext>
            </a:extLst>
          </p:cNvPr>
          <p:cNvSpPr>
            <a:spLocks noGrp="1"/>
          </p:cNvSpPr>
          <p:nvPr>
            <p:ph type="body" sz="quarter" idx="28"/>
          </p:nvPr>
        </p:nvSpPr>
        <p:spPr>
          <a:xfrm>
            <a:off x="612648" y="3279532"/>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nvGrpSpPr>
          <p:cNvPr id="22" name="Group 21">
            <a:extLst>
              <a:ext uri="{FF2B5EF4-FFF2-40B4-BE49-F238E27FC236}">
                <a16:creationId xmlns:a16="http://schemas.microsoft.com/office/drawing/2014/main" id="{029261E1-3546-AF08-F3D1-A17545555AD4}"/>
              </a:ext>
            </a:extLst>
          </p:cNvPr>
          <p:cNvGrpSpPr/>
          <p:nvPr/>
        </p:nvGrpSpPr>
        <p:grpSpPr>
          <a:xfrm>
            <a:off x="-3" y="2462630"/>
            <a:ext cx="10149840" cy="0"/>
            <a:chOff x="-3" y="2462630"/>
            <a:chExt cx="10149840" cy="0"/>
          </a:xfrm>
        </p:grpSpPr>
        <p:cxnSp>
          <p:nvCxnSpPr>
            <p:cNvPr id="14" name="Straight Connector 13">
              <a:extLst>
                <a:ext uri="{FF2B5EF4-FFF2-40B4-BE49-F238E27FC236}">
                  <a16:creationId xmlns:a16="http://schemas.microsoft.com/office/drawing/2014/main" id="{259A171E-2F59-979E-079F-1B64184D22C4}"/>
                </a:ext>
              </a:extLst>
            </p:cNvPr>
            <p:cNvCxnSpPr/>
            <p:nvPr/>
          </p:nvCxnSpPr>
          <p:spPr>
            <a:xfrm>
              <a:off x="-3" y="2462630"/>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DA45D83E-ED04-F3FB-0632-5338D18755E6}"/>
                </a:ext>
              </a:extLst>
            </p:cNvPr>
            <p:cNvCxnSpPr/>
            <p:nvPr/>
          </p:nvCxnSpPr>
          <p:spPr>
            <a:xfrm>
              <a:off x="657446" y="2462630"/>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grpSp>
        <p:nvGrpSpPr>
          <p:cNvPr id="23" name="Group 22">
            <a:extLst>
              <a:ext uri="{FF2B5EF4-FFF2-40B4-BE49-F238E27FC236}">
                <a16:creationId xmlns:a16="http://schemas.microsoft.com/office/drawing/2014/main" id="{92CD1B6F-350A-F86F-5280-0783E0541DF7}"/>
              </a:ext>
            </a:extLst>
          </p:cNvPr>
          <p:cNvGrpSpPr/>
          <p:nvPr/>
        </p:nvGrpSpPr>
        <p:grpSpPr>
          <a:xfrm>
            <a:off x="-3" y="3251524"/>
            <a:ext cx="10149840" cy="3231"/>
            <a:chOff x="-3" y="3251524"/>
            <a:chExt cx="10149840" cy="3231"/>
          </a:xfrm>
        </p:grpSpPr>
        <p:cxnSp>
          <p:nvCxnSpPr>
            <p:cNvPr id="12" name="Straight Connector 11">
              <a:extLst>
                <a:ext uri="{FF2B5EF4-FFF2-40B4-BE49-F238E27FC236}">
                  <a16:creationId xmlns:a16="http://schemas.microsoft.com/office/drawing/2014/main" id="{13701ECF-0E62-6A4B-A31D-1523F35B38A5}"/>
                </a:ext>
              </a:extLst>
            </p:cNvPr>
            <p:cNvCxnSpPr/>
            <p:nvPr/>
          </p:nvCxnSpPr>
          <p:spPr>
            <a:xfrm>
              <a:off x="-3" y="3251524"/>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0A06E269-2D4D-815E-2C6D-CA06082DF4FE}"/>
                </a:ext>
              </a:extLst>
            </p:cNvPr>
            <p:cNvCxnSpPr/>
            <p:nvPr/>
          </p:nvCxnSpPr>
          <p:spPr>
            <a:xfrm>
              <a:off x="657446" y="3254755"/>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grpSp>
        <p:nvGrpSpPr>
          <p:cNvPr id="24" name="Group 23">
            <a:extLst>
              <a:ext uri="{FF2B5EF4-FFF2-40B4-BE49-F238E27FC236}">
                <a16:creationId xmlns:a16="http://schemas.microsoft.com/office/drawing/2014/main" id="{FC223406-0981-EE41-9265-960905C9F056}"/>
              </a:ext>
            </a:extLst>
          </p:cNvPr>
          <p:cNvGrpSpPr/>
          <p:nvPr/>
        </p:nvGrpSpPr>
        <p:grpSpPr>
          <a:xfrm>
            <a:off x="-3" y="4040418"/>
            <a:ext cx="10149840" cy="1146"/>
            <a:chOff x="-3" y="4040418"/>
            <a:chExt cx="10149840" cy="1146"/>
          </a:xfrm>
        </p:grpSpPr>
        <p:cxnSp>
          <p:nvCxnSpPr>
            <p:cNvPr id="13" name="Straight Connector 12">
              <a:extLst>
                <a:ext uri="{FF2B5EF4-FFF2-40B4-BE49-F238E27FC236}">
                  <a16:creationId xmlns:a16="http://schemas.microsoft.com/office/drawing/2014/main" id="{370A8120-F484-9896-6784-781480F7FD55}"/>
                </a:ext>
              </a:extLst>
            </p:cNvPr>
            <p:cNvCxnSpPr/>
            <p:nvPr/>
          </p:nvCxnSpPr>
          <p:spPr>
            <a:xfrm>
              <a:off x="-3" y="4040418"/>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17" name="Straight Connector 16">
              <a:extLst>
                <a:ext uri="{FF2B5EF4-FFF2-40B4-BE49-F238E27FC236}">
                  <a16:creationId xmlns:a16="http://schemas.microsoft.com/office/drawing/2014/main" id="{F213A324-48B3-9298-4FAD-B59A37CD9698}"/>
                </a:ext>
              </a:extLst>
            </p:cNvPr>
            <p:cNvCxnSpPr/>
            <p:nvPr/>
          </p:nvCxnSpPr>
          <p:spPr>
            <a:xfrm>
              <a:off x="657446" y="4041564"/>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sp>
        <p:nvSpPr>
          <p:cNvPr id="4" name="Text Placeholder 6">
            <a:extLst>
              <a:ext uri="{FF2B5EF4-FFF2-40B4-BE49-F238E27FC236}">
                <a16:creationId xmlns:a16="http://schemas.microsoft.com/office/drawing/2014/main" id="{70060AD1-B1E2-1672-94E0-0DEDC964F154}"/>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86876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ey Takeaways-B-4 Takeaways">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F2A471D7-A92A-F588-655B-E7491CD725F4}"/>
              </a:ext>
            </a:extLst>
          </p:cNvPr>
          <p:cNvGraphicFramePr>
            <a:graphicFrameLocks noChangeAspect="1"/>
          </p:cNvGraphicFramePr>
          <p:nvPr>
            <p:custDataLst>
              <p:tags r:id="rId1"/>
            </p:custDataLst>
            <p:extLst>
              <p:ext uri="{D42A27DB-BD31-4B8C-83A1-F6EECF244321}">
                <p14:modId xmlns:p14="http://schemas.microsoft.com/office/powerpoint/2010/main" val="19779119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6" name="think-cell data - do not delete" hidden="1">
                        <a:extLst>
                          <a:ext uri="{FF2B5EF4-FFF2-40B4-BE49-F238E27FC236}">
                            <a16:creationId xmlns:a16="http://schemas.microsoft.com/office/drawing/2014/main" id="{F2A471D7-A92A-F588-655B-E7491CD725F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CB3D0E50-664A-67F8-2C9A-32B02B1AC3F3}"/>
              </a:ext>
            </a:extLst>
          </p:cNvPr>
          <p:cNvSpPr>
            <a:spLocks noGrp="1"/>
          </p:cNvSpPr>
          <p:nvPr>
            <p:ph type="body" sz="quarter" idx="26"/>
          </p:nvPr>
        </p:nvSpPr>
        <p:spPr>
          <a:xfrm>
            <a:off x="612648" y="1705708"/>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20" name="Text Placeholder 18">
            <a:extLst>
              <a:ext uri="{FF2B5EF4-FFF2-40B4-BE49-F238E27FC236}">
                <a16:creationId xmlns:a16="http://schemas.microsoft.com/office/drawing/2014/main" id="{C1269169-F09B-73C3-000E-C5D419E32081}"/>
              </a:ext>
            </a:extLst>
          </p:cNvPr>
          <p:cNvSpPr>
            <a:spLocks noGrp="1"/>
          </p:cNvSpPr>
          <p:nvPr>
            <p:ph type="body" sz="quarter" idx="27"/>
          </p:nvPr>
        </p:nvSpPr>
        <p:spPr>
          <a:xfrm>
            <a:off x="612648" y="2497016"/>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21" name="Text Placeholder 18">
            <a:extLst>
              <a:ext uri="{FF2B5EF4-FFF2-40B4-BE49-F238E27FC236}">
                <a16:creationId xmlns:a16="http://schemas.microsoft.com/office/drawing/2014/main" id="{C1F6FD04-0814-F6B7-0B70-81B92DEF44DF}"/>
              </a:ext>
            </a:extLst>
          </p:cNvPr>
          <p:cNvSpPr>
            <a:spLocks noGrp="1"/>
          </p:cNvSpPr>
          <p:nvPr>
            <p:ph type="body" sz="quarter" idx="28"/>
          </p:nvPr>
        </p:nvSpPr>
        <p:spPr>
          <a:xfrm>
            <a:off x="612648" y="3279532"/>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nvGrpSpPr>
          <p:cNvPr id="22" name="Group 21">
            <a:extLst>
              <a:ext uri="{FF2B5EF4-FFF2-40B4-BE49-F238E27FC236}">
                <a16:creationId xmlns:a16="http://schemas.microsoft.com/office/drawing/2014/main" id="{029261E1-3546-AF08-F3D1-A17545555AD4}"/>
              </a:ext>
            </a:extLst>
          </p:cNvPr>
          <p:cNvGrpSpPr/>
          <p:nvPr/>
        </p:nvGrpSpPr>
        <p:grpSpPr>
          <a:xfrm>
            <a:off x="-3" y="2462630"/>
            <a:ext cx="10149840" cy="0"/>
            <a:chOff x="-3" y="2462630"/>
            <a:chExt cx="10149840" cy="0"/>
          </a:xfrm>
        </p:grpSpPr>
        <p:cxnSp>
          <p:nvCxnSpPr>
            <p:cNvPr id="14" name="Straight Connector 13">
              <a:extLst>
                <a:ext uri="{FF2B5EF4-FFF2-40B4-BE49-F238E27FC236}">
                  <a16:creationId xmlns:a16="http://schemas.microsoft.com/office/drawing/2014/main" id="{259A171E-2F59-979E-079F-1B64184D22C4}"/>
                </a:ext>
              </a:extLst>
            </p:cNvPr>
            <p:cNvCxnSpPr/>
            <p:nvPr/>
          </p:nvCxnSpPr>
          <p:spPr>
            <a:xfrm>
              <a:off x="-3" y="2462630"/>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DA45D83E-ED04-F3FB-0632-5338D18755E6}"/>
                </a:ext>
              </a:extLst>
            </p:cNvPr>
            <p:cNvCxnSpPr/>
            <p:nvPr/>
          </p:nvCxnSpPr>
          <p:spPr>
            <a:xfrm>
              <a:off x="657446" y="2462630"/>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grpSp>
        <p:nvGrpSpPr>
          <p:cNvPr id="23" name="Group 22">
            <a:extLst>
              <a:ext uri="{FF2B5EF4-FFF2-40B4-BE49-F238E27FC236}">
                <a16:creationId xmlns:a16="http://schemas.microsoft.com/office/drawing/2014/main" id="{92CD1B6F-350A-F86F-5280-0783E0541DF7}"/>
              </a:ext>
            </a:extLst>
          </p:cNvPr>
          <p:cNvGrpSpPr/>
          <p:nvPr/>
        </p:nvGrpSpPr>
        <p:grpSpPr>
          <a:xfrm>
            <a:off x="-3" y="3251524"/>
            <a:ext cx="10149840" cy="3231"/>
            <a:chOff x="-3" y="3251524"/>
            <a:chExt cx="10149840" cy="3231"/>
          </a:xfrm>
        </p:grpSpPr>
        <p:cxnSp>
          <p:nvCxnSpPr>
            <p:cNvPr id="12" name="Straight Connector 11">
              <a:extLst>
                <a:ext uri="{FF2B5EF4-FFF2-40B4-BE49-F238E27FC236}">
                  <a16:creationId xmlns:a16="http://schemas.microsoft.com/office/drawing/2014/main" id="{13701ECF-0E62-6A4B-A31D-1523F35B38A5}"/>
                </a:ext>
              </a:extLst>
            </p:cNvPr>
            <p:cNvCxnSpPr/>
            <p:nvPr/>
          </p:nvCxnSpPr>
          <p:spPr>
            <a:xfrm>
              <a:off x="-3" y="3251524"/>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0A06E269-2D4D-815E-2C6D-CA06082DF4FE}"/>
                </a:ext>
              </a:extLst>
            </p:cNvPr>
            <p:cNvCxnSpPr/>
            <p:nvPr/>
          </p:nvCxnSpPr>
          <p:spPr>
            <a:xfrm>
              <a:off x="657446" y="3254755"/>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grpSp>
        <p:nvGrpSpPr>
          <p:cNvPr id="24" name="Group 23">
            <a:extLst>
              <a:ext uri="{FF2B5EF4-FFF2-40B4-BE49-F238E27FC236}">
                <a16:creationId xmlns:a16="http://schemas.microsoft.com/office/drawing/2014/main" id="{FC223406-0981-EE41-9265-960905C9F056}"/>
              </a:ext>
            </a:extLst>
          </p:cNvPr>
          <p:cNvGrpSpPr/>
          <p:nvPr/>
        </p:nvGrpSpPr>
        <p:grpSpPr>
          <a:xfrm>
            <a:off x="-3" y="4040418"/>
            <a:ext cx="10149840" cy="1146"/>
            <a:chOff x="-3" y="4040418"/>
            <a:chExt cx="10149840" cy="1146"/>
          </a:xfrm>
        </p:grpSpPr>
        <p:cxnSp>
          <p:nvCxnSpPr>
            <p:cNvPr id="13" name="Straight Connector 12">
              <a:extLst>
                <a:ext uri="{FF2B5EF4-FFF2-40B4-BE49-F238E27FC236}">
                  <a16:creationId xmlns:a16="http://schemas.microsoft.com/office/drawing/2014/main" id="{370A8120-F484-9896-6784-781480F7FD55}"/>
                </a:ext>
              </a:extLst>
            </p:cNvPr>
            <p:cNvCxnSpPr/>
            <p:nvPr/>
          </p:nvCxnSpPr>
          <p:spPr>
            <a:xfrm>
              <a:off x="-3" y="4040418"/>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17" name="Straight Connector 16">
              <a:extLst>
                <a:ext uri="{FF2B5EF4-FFF2-40B4-BE49-F238E27FC236}">
                  <a16:creationId xmlns:a16="http://schemas.microsoft.com/office/drawing/2014/main" id="{F213A324-48B3-9298-4FAD-B59A37CD9698}"/>
                </a:ext>
              </a:extLst>
            </p:cNvPr>
            <p:cNvCxnSpPr/>
            <p:nvPr/>
          </p:nvCxnSpPr>
          <p:spPr>
            <a:xfrm>
              <a:off x="657446" y="4041564"/>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grpSp>
        <p:nvGrpSpPr>
          <p:cNvPr id="11" name="Group 10">
            <a:extLst>
              <a:ext uri="{FF2B5EF4-FFF2-40B4-BE49-F238E27FC236}">
                <a16:creationId xmlns:a16="http://schemas.microsoft.com/office/drawing/2014/main" id="{9B5AD379-3B96-BE11-A5DB-FA333B1EFC70}"/>
              </a:ext>
            </a:extLst>
          </p:cNvPr>
          <p:cNvGrpSpPr/>
          <p:nvPr/>
        </p:nvGrpSpPr>
        <p:grpSpPr>
          <a:xfrm>
            <a:off x="-3" y="4822934"/>
            <a:ext cx="10149840" cy="1146"/>
            <a:chOff x="-3" y="4040418"/>
            <a:chExt cx="10149840" cy="1146"/>
          </a:xfrm>
        </p:grpSpPr>
        <p:cxnSp>
          <p:nvCxnSpPr>
            <p:cNvPr id="18" name="Straight Connector 17">
              <a:extLst>
                <a:ext uri="{FF2B5EF4-FFF2-40B4-BE49-F238E27FC236}">
                  <a16:creationId xmlns:a16="http://schemas.microsoft.com/office/drawing/2014/main" id="{F1160EE7-EE0F-D861-82AC-BAD61D10458D}"/>
                </a:ext>
              </a:extLst>
            </p:cNvPr>
            <p:cNvCxnSpPr/>
            <p:nvPr/>
          </p:nvCxnSpPr>
          <p:spPr>
            <a:xfrm>
              <a:off x="-3" y="4040418"/>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25" name="Straight Connector 24">
              <a:extLst>
                <a:ext uri="{FF2B5EF4-FFF2-40B4-BE49-F238E27FC236}">
                  <a16:creationId xmlns:a16="http://schemas.microsoft.com/office/drawing/2014/main" id="{9216161C-7AC7-4EB1-B6BA-53CFE48E2B16}"/>
                </a:ext>
              </a:extLst>
            </p:cNvPr>
            <p:cNvCxnSpPr/>
            <p:nvPr/>
          </p:nvCxnSpPr>
          <p:spPr>
            <a:xfrm>
              <a:off x="657446" y="4041564"/>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sp>
        <p:nvSpPr>
          <p:cNvPr id="27" name="Text Placeholder 18">
            <a:extLst>
              <a:ext uri="{FF2B5EF4-FFF2-40B4-BE49-F238E27FC236}">
                <a16:creationId xmlns:a16="http://schemas.microsoft.com/office/drawing/2014/main" id="{0FBEA179-14E4-3C86-83A4-1BE0C7C519D4}"/>
              </a:ext>
            </a:extLst>
          </p:cNvPr>
          <p:cNvSpPr>
            <a:spLocks noGrp="1"/>
          </p:cNvSpPr>
          <p:nvPr>
            <p:ph type="body" sz="quarter" idx="29"/>
          </p:nvPr>
        </p:nvSpPr>
        <p:spPr>
          <a:xfrm>
            <a:off x="612648" y="4062047"/>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4" name="Text Placeholder 6">
            <a:extLst>
              <a:ext uri="{FF2B5EF4-FFF2-40B4-BE49-F238E27FC236}">
                <a16:creationId xmlns:a16="http://schemas.microsoft.com/office/drawing/2014/main" id="{8C0A9657-632B-278F-D20C-BB72070498FE}"/>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72439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Takeaways-B-5 Takeaways">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F2A471D7-A92A-F588-655B-E7491CD725F4}"/>
              </a:ext>
            </a:extLst>
          </p:cNvPr>
          <p:cNvGraphicFramePr>
            <a:graphicFrameLocks noChangeAspect="1"/>
          </p:cNvGraphicFramePr>
          <p:nvPr>
            <p:custDataLst>
              <p:tags r:id="rId1"/>
            </p:custDataLst>
            <p:extLst>
              <p:ext uri="{D42A27DB-BD31-4B8C-83A1-F6EECF244321}">
                <p14:modId xmlns:p14="http://schemas.microsoft.com/office/powerpoint/2010/main" val="19779119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6" name="think-cell data - do not delete" hidden="1">
                        <a:extLst>
                          <a:ext uri="{FF2B5EF4-FFF2-40B4-BE49-F238E27FC236}">
                            <a16:creationId xmlns:a16="http://schemas.microsoft.com/office/drawing/2014/main" id="{F2A471D7-A92A-F588-655B-E7491CD725F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CB3D0E50-664A-67F8-2C9A-32B02B1AC3F3}"/>
              </a:ext>
            </a:extLst>
          </p:cNvPr>
          <p:cNvSpPr>
            <a:spLocks noGrp="1"/>
          </p:cNvSpPr>
          <p:nvPr>
            <p:ph type="body" sz="quarter" idx="26"/>
          </p:nvPr>
        </p:nvSpPr>
        <p:spPr>
          <a:xfrm>
            <a:off x="612648" y="1705708"/>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20" name="Text Placeholder 18">
            <a:extLst>
              <a:ext uri="{FF2B5EF4-FFF2-40B4-BE49-F238E27FC236}">
                <a16:creationId xmlns:a16="http://schemas.microsoft.com/office/drawing/2014/main" id="{C1269169-F09B-73C3-000E-C5D419E32081}"/>
              </a:ext>
            </a:extLst>
          </p:cNvPr>
          <p:cNvSpPr>
            <a:spLocks noGrp="1"/>
          </p:cNvSpPr>
          <p:nvPr>
            <p:ph type="body" sz="quarter" idx="27"/>
          </p:nvPr>
        </p:nvSpPr>
        <p:spPr>
          <a:xfrm>
            <a:off x="612648" y="2497016"/>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21" name="Text Placeholder 18">
            <a:extLst>
              <a:ext uri="{FF2B5EF4-FFF2-40B4-BE49-F238E27FC236}">
                <a16:creationId xmlns:a16="http://schemas.microsoft.com/office/drawing/2014/main" id="{C1F6FD04-0814-F6B7-0B70-81B92DEF44DF}"/>
              </a:ext>
            </a:extLst>
          </p:cNvPr>
          <p:cNvSpPr>
            <a:spLocks noGrp="1"/>
          </p:cNvSpPr>
          <p:nvPr>
            <p:ph type="body" sz="quarter" idx="28"/>
          </p:nvPr>
        </p:nvSpPr>
        <p:spPr>
          <a:xfrm>
            <a:off x="612648" y="3279532"/>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nvGrpSpPr>
          <p:cNvPr id="22" name="Group 21">
            <a:extLst>
              <a:ext uri="{FF2B5EF4-FFF2-40B4-BE49-F238E27FC236}">
                <a16:creationId xmlns:a16="http://schemas.microsoft.com/office/drawing/2014/main" id="{029261E1-3546-AF08-F3D1-A17545555AD4}"/>
              </a:ext>
            </a:extLst>
          </p:cNvPr>
          <p:cNvGrpSpPr/>
          <p:nvPr/>
        </p:nvGrpSpPr>
        <p:grpSpPr>
          <a:xfrm>
            <a:off x="-3" y="2462630"/>
            <a:ext cx="10149840" cy="0"/>
            <a:chOff x="-3" y="2462630"/>
            <a:chExt cx="10149840" cy="0"/>
          </a:xfrm>
        </p:grpSpPr>
        <p:cxnSp>
          <p:nvCxnSpPr>
            <p:cNvPr id="14" name="Straight Connector 13">
              <a:extLst>
                <a:ext uri="{FF2B5EF4-FFF2-40B4-BE49-F238E27FC236}">
                  <a16:creationId xmlns:a16="http://schemas.microsoft.com/office/drawing/2014/main" id="{259A171E-2F59-979E-079F-1B64184D22C4}"/>
                </a:ext>
              </a:extLst>
            </p:cNvPr>
            <p:cNvCxnSpPr/>
            <p:nvPr/>
          </p:nvCxnSpPr>
          <p:spPr>
            <a:xfrm>
              <a:off x="-3" y="2462630"/>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DA45D83E-ED04-F3FB-0632-5338D18755E6}"/>
                </a:ext>
              </a:extLst>
            </p:cNvPr>
            <p:cNvCxnSpPr/>
            <p:nvPr/>
          </p:nvCxnSpPr>
          <p:spPr>
            <a:xfrm>
              <a:off x="657446" y="2462630"/>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grpSp>
        <p:nvGrpSpPr>
          <p:cNvPr id="23" name="Group 22">
            <a:extLst>
              <a:ext uri="{FF2B5EF4-FFF2-40B4-BE49-F238E27FC236}">
                <a16:creationId xmlns:a16="http://schemas.microsoft.com/office/drawing/2014/main" id="{92CD1B6F-350A-F86F-5280-0783E0541DF7}"/>
              </a:ext>
            </a:extLst>
          </p:cNvPr>
          <p:cNvGrpSpPr/>
          <p:nvPr/>
        </p:nvGrpSpPr>
        <p:grpSpPr>
          <a:xfrm>
            <a:off x="-3" y="3251524"/>
            <a:ext cx="10149840" cy="3231"/>
            <a:chOff x="-3" y="3251524"/>
            <a:chExt cx="10149840" cy="3231"/>
          </a:xfrm>
        </p:grpSpPr>
        <p:cxnSp>
          <p:nvCxnSpPr>
            <p:cNvPr id="12" name="Straight Connector 11">
              <a:extLst>
                <a:ext uri="{FF2B5EF4-FFF2-40B4-BE49-F238E27FC236}">
                  <a16:creationId xmlns:a16="http://schemas.microsoft.com/office/drawing/2014/main" id="{13701ECF-0E62-6A4B-A31D-1523F35B38A5}"/>
                </a:ext>
              </a:extLst>
            </p:cNvPr>
            <p:cNvCxnSpPr/>
            <p:nvPr/>
          </p:nvCxnSpPr>
          <p:spPr>
            <a:xfrm>
              <a:off x="-3" y="3251524"/>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0A06E269-2D4D-815E-2C6D-CA06082DF4FE}"/>
                </a:ext>
              </a:extLst>
            </p:cNvPr>
            <p:cNvCxnSpPr/>
            <p:nvPr/>
          </p:nvCxnSpPr>
          <p:spPr>
            <a:xfrm>
              <a:off x="657446" y="3254755"/>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grpSp>
        <p:nvGrpSpPr>
          <p:cNvPr id="24" name="Group 23">
            <a:extLst>
              <a:ext uri="{FF2B5EF4-FFF2-40B4-BE49-F238E27FC236}">
                <a16:creationId xmlns:a16="http://schemas.microsoft.com/office/drawing/2014/main" id="{FC223406-0981-EE41-9265-960905C9F056}"/>
              </a:ext>
            </a:extLst>
          </p:cNvPr>
          <p:cNvGrpSpPr/>
          <p:nvPr/>
        </p:nvGrpSpPr>
        <p:grpSpPr>
          <a:xfrm>
            <a:off x="-3" y="4040418"/>
            <a:ext cx="10149840" cy="1146"/>
            <a:chOff x="-3" y="4040418"/>
            <a:chExt cx="10149840" cy="1146"/>
          </a:xfrm>
        </p:grpSpPr>
        <p:cxnSp>
          <p:nvCxnSpPr>
            <p:cNvPr id="13" name="Straight Connector 12">
              <a:extLst>
                <a:ext uri="{FF2B5EF4-FFF2-40B4-BE49-F238E27FC236}">
                  <a16:creationId xmlns:a16="http://schemas.microsoft.com/office/drawing/2014/main" id="{370A8120-F484-9896-6784-781480F7FD55}"/>
                </a:ext>
              </a:extLst>
            </p:cNvPr>
            <p:cNvCxnSpPr/>
            <p:nvPr/>
          </p:nvCxnSpPr>
          <p:spPr>
            <a:xfrm>
              <a:off x="-3" y="4040418"/>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17" name="Straight Connector 16">
              <a:extLst>
                <a:ext uri="{FF2B5EF4-FFF2-40B4-BE49-F238E27FC236}">
                  <a16:creationId xmlns:a16="http://schemas.microsoft.com/office/drawing/2014/main" id="{F213A324-48B3-9298-4FAD-B59A37CD9698}"/>
                </a:ext>
              </a:extLst>
            </p:cNvPr>
            <p:cNvCxnSpPr/>
            <p:nvPr/>
          </p:nvCxnSpPr>
          <p:spPr>
            <a:xfrm>
              <a:off x="657446" y="4041564"/>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grpSp>
        <p:nvGrpSpPr>
          <p:cNvPr id="11" name="Group 10">
            <a:extLst>
              <a:ext uri="{FF2B5EF4-FFF2-40B4-BE49-F238E27FC236}">
                <a16:creationId xmlns:a16="http://schemas.microsoft.com/office/drawing/2014/main" id="{9B5AD379-3B96-BE11-A5DB-FA333B1EFC70}"/>
              </a:ext>
            </a:extLst>
          </p:cNvPr>
          <p:cNvGrpSpPr/>
          <p:nvPr/>
        </p:nvGrpSpPr>
        <p:grpSpPr>
          <a:xfrm>
            <a:off x="-3" y="4822934"/>
            <a:ext cx="10149840" cy="1146"/>
            <a:chOff x="-3" y="4040418"/>
            <a:chExt cx="10149840" cy="1146"/>
          </a:xfrm>
        </p:grpSpPr>
        <p:cxnSp>
          <p:nvCxnSpPr>
            <p:cNvPr id="18" name="Straight Connector 17">
              <a:extLst>
                <a:ext uri="{FF2B5EF4-FFF2-40B4-BE49-F238E27FC236}">
                  <a16:creationId xmlns:a16="http://schemas.microsoft.com/office/drawing/2014/main" id="{F1160EE7-EE0F-D861-82AC-BAD61D10458D}"/>
                </a:ext>
              </a:extLst>
            </p:cNvPr>
            <p:cNvCxnSpPr/>
            <p:nvPr/>
          </p:nvCxnSpPr>
          <p:spPr>
            <a:xfrm>
              <a:off x="-3" y="4040418"/>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25" name="Straight Connector 24">
              <a:extLst>
                <a:ext uri="{FF2B5EF4-FFF2-40B4-BE49-F238E27FC236}">
                  <a16:creationId xmlns:a16="http://schemas.microsoft.com/office/drawing/2014/main" id="{9216161C-7AC7-4EB1-B6BA-53CFE48E2B16}"/>
                </a:ext>
              </a:extLst>
            </p:cNvPr>
            <p:cNvCxnSpPr/>
            <p:nvPr/>
          </p:nvCxnSpPr>
          <p:spPr>
            <a:xfrm>
              <a:off x="657446" y="4041564"/>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sp>
        <p:nvSpPr>
          <p:cNvPr id="27" name="Text Placeholder 18">
            <a:extLst>
              <a:ext uri="{FF2B5EF4-FFF2-40B4-BE49-F238E27FC236}">
                <a16:creationId xmlns:a16="http://schemas.microsoft.com/office/drawing/2014/main" id="{0FBEA179-14E4-3C86-83A4-1BE0C7C519D4}"/>
              </a:ext>
            </a:extLst>
          </p:cNvPr>
          <p:cNvSpPr>
            <a:spLocks noGrp="1"/>
          </p:cNvSpPr>
          <p:nvPr>
            <p:ph type="body" sz="quarter" idx="29"/>
          </p:nvPr>
        </p:nvSpPr>
        <p:spPr>
          <a:xfrm>
            <a:off x="612648" y="4062047"/>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grpSp>
        <p:nvGrpSpPr>
          <p:cNvPr id="28" name="Group 27">
            <a:extLst>
              <a:ext uri="{FF2B5EF4-FFF2-40B4-BE49-F238E27FC236}">
                <a16:creationId xmlns:a16="http://schemas.microsoft.com/office/drawing/2014/main" id="{5EDADD40-D875-2615-C153-761601E4D99E}"/>
              </a:ext>
            </a:extLst>
          </p:cNvPr>
          <p:cNvGrpSpPr/>
          <p:nvPr/>
        </p:nvGrpSpPr>
        <p:grpSpPr>
          <a:xfrm>
            <a:off x="-3" y="5605450"/>
            <a:ext cx="10149840" cy="1146"/>
            <a:chOff x="-3" y="4040418"/>
            <a:chExt cx="10149840" cy="1146"/>
          </a:xfrm>
        </p:grpSpPr>
        <p:cxnSp>
          <p:nvCxnSpPr>
            <p:cNvPr id="29" name="Straight Connector 28">
              <a:extLst>
                <a:ext uri="{FF2B5EF4-FFF2-40B4-BE49-F238E27FC236}">
                  <a16:creationId xmlns:a16="http://schemas.microsoft.com/office/drawing/2014/main" id="{BBB5A1A9-0A2B-0109-266A-A16AA329835C}"/>
                </a:ext>
              </a:extLst>
            </p:cNvPr>
            <p:cNvCxnSpPr/>
            <p:nvPr/>
          </p:nvCxnSpPr>
          <p:spPr>
            <a:xfrm>
              <a:off x="-3" y="4040418"/>
              <a:ext cx="10149840" cy="0"/>
            </a:xfrm>
            <a:prstGeom prst="line">
              <a:avLst/>
            </a:prstGeom>
            <a:noFill/>
            <a:ln w="12700" cap="flat">
              <a:solidFill>
                <a:schemeClr val="accent6"/>
              </a:solidFill>
              <a:prstDash val="solid"/>
              <a:miter lim="800000"/>
              <a:tailEnd type="oval"/>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C6D0405B-E7D0-8235-1916-B643244C93B9}"/>
                </a:ext>
              </a:extLst>
            </p:cNvPr>
            <p:cNvCxnSpPr/>
            <p:nvPr/>
          </p:nvCxnSpPr>
          <p:spPr>
            <a:xfrm>
              <a:off x="657446" y="4041564"/>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grpSp>
      <p:sp>
        <p:nvSpPr>
          <p:cNvPr id="31" name="Text Placeholder 18">
            <a:extLst>
              <a:ext uri="{FF2B5EF4-FFF2-40B4-BE49-F238E27FC236}">
                <a16:creationId xmlns:a16="http://schemas.microsoft.com/office/drawing/2014/main" id="{8DF21C70-17FD-C834-F3EF-703DDA5B6198}"/>
              </a:ext>
            </a:extLst>
          </p:cNvPr>
          <p:cNvSpPr>
            <a:spLocks noGrp="1"/>
          </p:cNvSpPr>
          <p:nvPr>
            <p:ph type="body" sz="quarter" idx="30"/>
          </p:nvPr>
        </p:nvSpPr>
        <p:spPr>
          <a:xfrm>
            <a:off x="612648" y="4844562"/>
            <a:ext cx="9493250" cy="747713"/>
          </a:xfrm>
        </p:spPr>
        <p:txBody>
          <a:bodyPr anchor="ctr" anchorCtr="0"/>
          <a:lstStyle>
            <a:lvl1pPr marL="0" indent="0">
              <a:lnSpc>
                <a:spcPct val="105000"/>
              </a:lnSpc>
              <a:spcBef>
                <a:spcPts val="0"/>
              </a:spcBef>
              <a:buNone/>
              <a:defRPr sz="2400">
                <a:solidFill>
                  <a:schemeClr val="tx1"/>
                </a:solidFill>
              </a:defRPr>
            </a:lvl1pPr>
          </a:lstStyle>
          <a:p>
            <a:pPr lvl="0"/>
            <a:r>
              <a:rPr lang="en-US"/>
              <a:t>Click to edit Master text styles</a:t>
            </a:r>
          </a:p>
        </p:txBody>
      </p:sp>
      <p:sp>
        <p:nvSpPr>
          <p:cNvPr id="4" name="Text Placeholder 6">
            <a:extLst>
              <a:ext uri="{FF2B5EF4-FFF2-40B4-BE49-F238E27FC236}">
                <a16:creationId xmlns:a16="http://schemas.microsoft.com/office/drawing/2014/main" id="{5AA9E044-1F21-5A62-FFEA-70C7302FCFDB}"/>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20435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Takeaways-C-3 Takeaways">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F2A471D7-A92A-F588-655B-E7491CD725F4}"/>
              </a:ext>
            </a:extLst>
          </p:cNvPr>
          <p:cNvGraphicFramePr>
            <a:graphicFrameLocks noChangeAspect="1"/>
          </p:cNvGraphicFramePr>
          <p:nvPr>
            <p:custDataLst>
              <p:tags r:id="rId1"/>
            </p:custDataLst>
            <p:extLst>
              <p:ext uri="{D42A27DB-BD31-4B8C-83A1-F6EECF244321}">
                <p14:modId xmlns:p14="http://schemas.microsoft.com/office/powerpoint/2010/main" val="34851457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6" name="think-cell data - do not delete" hidden="1">
                        <a:extLst>
                          <a:ext uri="{FF2B5EF4-FFF2-40B4-BE49-F238E27FC236}">
                            <a16:creationId xmlns:a16="http://schemas.microsoft.com/office/drawing/2014/main" id="{F2A471D7-A92A-F588-655B-E7491CD725F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CB3D0E50-664A-67F8-2C9A-32B02B1AC3F3}"/>
              </a:ext>
            </a:extLst>
          </p:cNvPr>
          <p:cNvSpPr>
            <a:spLocks noGrp="1"/>
          </p:cNvSpPr>
          <p:nvPr>
            <p:ph type="body" sz="quarter" idx="26"/>
          </p:nvPr>
        </p:nvSpPr>
        <p:spPr>
          <a:xfrm>
            <a:off x="661817" y="1909729"/>
            <a:ext cx="10982127" cy="1185163"/>
          </a:xfrm>
        </p:spPr>
        <p:txBody>
          <a:bodyPr anchor="t" anchorCtr="0"/>
          <a:lstStyle>
            <a:lvl1pPr marL="640080" indent="-640080">
              <a:lnSpc>
                <a:spcPct val="100000"/>
              </a:lnSpc>
              <a:spcBef>
                <a:spcPts val="0"/>
              </a:spcBef>
              <a:buClr>
                <a:schemeClr val="tx2"/>
              </a:buClr>
              <a:buSzPct val="130000"/>
              <a:buFont typeface="Wingdings" pitchFamily="2" charset="2"/>
              <a:buChar char="ü"/>
              <a:defRPr sz="3600">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36" name="Text Placeholder 18">
            <a:extLst>
              <a:ext uri="{FF2B5EF4-FFF2-40B4-BE49-F238E27FC236}">
                <a16:creationId xmlns:a16="http://schemas.microsoft.com/office/drawing/2014/main" id="{2FA3E1F0-4F7F-CD6A-F822-1969103A7323}"/>
              </a:ext>
            </a:extLst>
          </p:cNvPr>
          <p:cNvSpPr>
            <a:spLocks noGrp="1"/>
          </p:cNvSpPr>
          <p:nvPr>
            <p:ph type="body" sz="quarter" idx="27"/>
          </p:nvPr>
        </p:nvSpPr>
        <p:spPr>
          <a:xfrm>
            <a:off x="661817" y="3290121"/>
            <a:ext cx="10982127" cy="1185163"/>
          </a:xfrm>
        </p:spPr>
        <p:txBody>
          <a:bodyPr anchor="t" anchorCtr="0"/>
          <a:lstStyle>
            <a:lvl1pPr marL="640080" indent="-640080">
              <a:lnSpc>
                <a:spcPct val="100000"/>
              </a:lnSpc>
              <a:spcBef>
                <a:spcPts val="0"/>
              </a:spcBef>
              <a:buClr>
                <a:schemeClr val="tx2"/>
              </a:buClr>
              <a:buSzPct val="130000"/>
              <a:buFont typeface="Wingdings" pitchFamily="2" charset="2"/>
              <a:buChar char="ü"/>
              <a:defRPr sz="3600">
                <a:solidFill>
                  <a:schemeClr val="tx1"/>
                </a:solidFill>
              </a:defRPr>
            </a:lvl1pPr>
          </a:lstStyle>
          <a:p>
            <a:pPr lvl="0"/>
            <a:r>
              <a:rPr lang="en-US"/>
              <a:t>Click to edit Master text styles</a:t>
            </a:r>
          </a:p>
        </p:txBody>
      </p:sp>
      <p:sp>
        <p:nvSpPr>
          <p:cNvPr id="37" name="Text Placeholder 18">
            <a:extLst>
              <a:ext uri="{FF2B5EF4-FFF2-40B4-BE49-F238E27FC236}">
                <a16:creationId xmlns:a16="http://schemas.microsoft.com/office/drawing/2014/main" id="{FADE5209-36D0-EF3A-2ADC-A95D6B5E014C}"/>
              </a:ext>
            </a:extLst>
          </p:cNvPr>
          <p:cNvSpPr>
            <a:spLocks noGrp="1"/>
          </p:cNvSpPr>
          <p:nvPr>
            <p:ph type="body" sz="quarter" idx="28"/>
          </p:nvPr>
        </p:nvSpPr>
        <p:spPr>
          <a:xfrm>
            <a:off x="661817" y="4180786"/>
            <a:ext cx="10982127" cy="1185163"/>
          </a:xfrm>
        </p:spPr>
        <p:txBody>
          <a:bodyPr anchor="t" anchorCtr="0"/>
          <a:lstStyle>
            <a:lvl1pPr marL="640080" indent="-640080">
              <a:lnSpc>
                <a:spcPct val="100000"/>
              </a:lnSpc>
              <a:spcBef>
                <a:spcPts val="0"/>
              </a:spcBef>
              <a:buClr>
                <a:schemeClr val="tx2"/>
              </a:buClr>
              <a:buSzPct val="130000"/>
              <a:buFont typeface="Wingdings" pitchFamily="2" charset="2"/>
              <a:buChar char="ü"/>
              <a:defRPr sz="3600">
                <a:solidFill>
                  <a:schemeClr val="tx2"/>
                </a:solidFill>
              </a:defRPr>
            </a:lvl1pPr>
          </a:lstStyle>
          <a:p>
            <a:pPr lvl="0"/>
            <a:r>
              <a:rPr lang="en-US"/>
              <a:t>Click to edit Master text styles</a:t>
            </a:r>
          </a:p>
        </p:txBody>
      </p:sp>
      <p:graphicFrame>
        <p:nvGraphicFramePr>
          <p:cNvPr id="7" name="think-cell data - do not delete" hidden="1">
            <a:extLst>
              <a:ext uri="{FF2B5EF4-FFF2-40B4-BE49-F238E27FC236}">
                <a16:creationId xmlns:a16="http://schemas.microsoft.com/office/drawing/2014/main" id="{83198554-7C3D-ACDC-4D9F-C45C06320E41}"/>
              </a:ext>
            </a:extLst>
          </p:cNvPr>
          <p:cNvGraphicFramePr>
            <a:graphicFrameLocks noChangeAspect="1"/>
          </p:cNvGraphicFramePr>
          <p:nvPr userDrawn="1">
            <p:custDataLst>
              <p:tags r:id="rId2"/>
            </p:custDataLst>
            <p:extLst>
              <p:ext uri="{D42A27DB-BD31-4B8C-83A1-F6EECF244321}">
                <p14:modId xmlns:p14="http://schemas.microsoft.com/office/powerpoint/2010/main" val="34851457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83198554-7C3D-ACDC-4D9F-C45C06320E4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C7393CCD-B120-9378-E05F-F22A2070FBD0}"/>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 name="Text Placeholder 6">
            <a:extLst>
              <a:ext uri="{FF2B5EF4-FFF2-40B4-BE49-F238E27FC236}">
                <a16:creationId xmlns:a16="http://schemas.microsoft.com/office/drawing/2014/main" id="{21DC294C-8F51-0852-B1FF-B3F54563B863}"/>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49161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Takeaways-C-3 Takeaways-Blue-Bkgd">
    <p:bg>
      <p:bgPr>
        <a:solidFill>
          <a:schemeClr val="tx2"/>
        </a:solidFill>
        <a:effectLst/>
      </p:bgPr>
    </p:bg>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F2A471D7-A92A-F588-655B-E7491CD725F4}"/>
              </a:ext>
            </a:extLst>
          </p:cNvPr>
          <p:cNvGraphicFramePr>
            <a:graphicFrameLocks noChangeAspect="1"/>
          </p:cNvGraphicFramePr>
          <p:nvPr>
            <p:custDataLst>
              <p:tags r:id="rId1"/>
            </p:custDataLst>
            <p:extLst>
              <p:ext uri="{D42A27DB-BD31-4B8C-83A1-F6EECF244321}">
                <p14:modId xmlns:p14="http://schemas.microsoft.com/office/powerpoint/2010/main" val="34851457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6" name="think-cell data - do not delete" hidden="1">
                        <a:extLst>
                          <a:ext uri="{FF2B5EF4-FFF2-40B4-BE49-F238E27FC236}">
                            <a16:creationId xmlns:a16="http://schemas.microsoft.com/office/drawing/2014/main" id="{F2A471D7-A92A-F588-655B-E7491CD725F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CB3D0E50-664A-67F8-2C9A-32B02B1AC3F3}"/>
              </a:ext>
            </a:extLst>
          </p:cNvPr>
          <p:cNvSpPr>
            <a:spLocks noGrp="1"/>
          </p:cNvSpPr>
          <p:nvPr>
            <p:ph type="body" sz="quarter" idx="26"/>
          </p:nvPr>
        </p:nvSpPr>
        <p:spPr>
          <a:xfrm>
            <a:off x="661817" y="1909729"/>
            <a:ext cx="10982127" cy="1185163"/>
          </a:xfrm>
        </p:spPr>
        <p:txBody>
          <a:bodyPr anchor="t" anchorCtr="0"/>
          <a:lstStyle>
            <a:lvl1pPr marL="640080" indent="-640080">
              <a:lnSpc>
                <a:spcPct val="100000"/>
              </a:lnSpc>
              <a:spcBef>
                <a:spcPts val="0"/>
              </a:spcBef>
              <a:buClr>
                <a:schemeClr val="accent5"/>
              </a:buClr>
              <a:buSzPct val="130000"/>
              <a:buFont typeface="Wingdings" pitchFamily="2" charset="2"/>
              <a:buChar char="ü"/>
              <a:defRPr sz="3600">
                <a:solidFill>
                  <a:schemeClr val="bg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9A50CCD-205D-EF84-57C2-94E2A40285CA}"/>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BC39A21E-9BDE-8087-E3D8-B0D87A21100F}"/>
              </a:ext>
            </a:extLst>
          </p:cNvPr>
          <p:cNvSpPr>
            <a:spLocks noGrp="1"/>
          </p:cNvSpPr>
          <p:nvPr>
            <p:ph type="sldNum" sz="quarter" idx="24"/>
          </p:nvPr>
        </p:nvSpPr>
        <p:spPr/>
        <p:txBody>
          <a:bodyPr/>
          <a:lstStyle>
            <a:lvl1pPr>
              <a:defRPr>
                <a:solidFill>
                  <a:schemeClr val="bg1"/>
                </a:solidFill>
              </a:defRPr>
            </a:lvl1pPr>
          </a:lstStyle>
          <a:p>
            <a:fld id="{86CB4B4D-7CA3-9044-876B-883B54F8677D}" type="slidenum">
              <a:rPr lang="en-US" smtClean="0"/>
              <a:pPr/>
              <a:t>‹#›</a:t>
            </a:fld>
            <a:endParaRPr lang="en-US" dirty="0"/>
          </a:p>
        </p:txBody>
      </p:sp>
      <p:sp>
        <p:nvSpPr>
          <p:cNvPr id="2" name="Title 1">
            <a:extLst>
              <a:ext uri="{FF2B5EF4-FFF2-40B4-BE49-F238E27FC236}">
                <a16:creationId xmlns:a16="http://schemas.microsoft.com/office/drawing/2014/main" id="{BA723A0C-3EF1-64D7-B5BC-4AA4378D142B}"/>
              </a:ext>
            </a:extLst>
          </p:cNvPr>
          <p:cNvSpPr>
            <a:spLocks noGrp="1"/>
          </p:cNvSpPr>
          <p:nvPr>
            <p:ph type="title"/>
          </p:nvPr>
        </p:nvSpPr>
        <p:spPr>
          <a:xfrm>
            <a:off x="612648" y="557784"/>
            <a:ext cx="10972800" cy="438912"/>
          </a:xfrm>
        </p:spPr>
        <p:txBody>
          <a:bodyPr vert="horz"/>
          <a:lstStyle>
            <a:lvl1pPr>
              <a:defRPr>
                <a:solidFill>
                  <a:schemeClr val="bg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4ABBB00F-DD63-E417-1077-0374F15BF261}"/>
              </a:ext>
            </a:extLst>
          </p:cNvPr>
          <p:cNvCxnSpPr/>
          <p:nvPr/>
        </p:nvCxnSpPr>
        <p:spPr>
          <a:xfrm>
            <a:off x="609600" y="1193352"/>
            <a:ext cx="676656" cy="0"/>
          </a:xfrm>
          <a:prstGeom prst="line">
            <a:avLst/>
          </a:prstGeom>
          <a:noFill/>
          <a:ln w="38100" cap="rnd">
            <a:solidFill>
              <a:schemeClr val="accent2"/>
            </a:solidFill>
            <a:prstDash val="solid"/>
            <a:miter lim="800000"/>
          </a:ln>
          <a:effectLst/>
          <a:sp3d/>
        </p:spPr>
        <p:style>
          <a:lnRef idx="0">
            <a:scrgbClr r="0" g="0" b="0"/>
          </a:lnRef>
          <a:fillRef idx="0">
            <a:scrgbClr r="0" g="0" b="0"/>
          </a:fillRef>
          <a:effectRef idx="0">
            <a:scrgbClr r="0" g="0" b="0"/>
          </a:effectRef>
          <a:fontRef idx="none"/>
        </p:style>
      </p:cxnSp>
      <p:sp>
        <p:nvSpPr>
          <p:cNvPr id="36" name="Text Placeholder 18">
            <a:extLst>
              <a:ext uri="{FF2B5EF4-FFF2-40B4-BE49-F238E27FC236}">
                <a16:creationId xmlns:a16="http://schemas.microsoft.com/office/drawing/2014/main" id="{2FA3E1F0-4F7F-CD6A-F822-1969103A7323}"/>
              </a:ext>
            </a:extLst>
          </p:cNvPr>
          <p:cNvSpPr>
            <a:spLocks noGrp="1"/>
          </p:cNvSpPr>
          <p:nvPr>
            <p:ph type="body" sz="quarter" idx="27"/>
          </p:nvPr>
        </p:nvSpPr>
        <p:spPr>
          <a:xfrm>
            <a:off x="661817" y="3290121"/>
            <a:ext cx="10982127" cy="1185163"/>
          </a:xfrm>
        </p:spPr>
        <p:txBody>
          <a:bodyPr anchor="t" anchorCtr="0"/>
          <a:lstStyle>
            <a:lvl1pPr marL="640080" indent="-640080">
              <a:lnSpc>
                <a:spcPct val="100000"/>
              </a:lnSpc>
              <a:spcBef>
                <a:spcPts val="0"/>
              </a:spcBef>
              <a:buClr>
                <a:schemeClr val="accent5"/>
              </a:buClr>
              <a:buSzPct val="130000"/>
              <a:buFont typeface="Wingdings" pitchFamily="2" charset="2"/>
              <a:buChar char="ü"/>
              <a:defRPr sz="3600">
                <a:solidFill>
                  <a:schemeClr val="bg1"/>
                </a:solidFill>
              </a:defRPr>
            </a:lvl1pPr>
          </a:lstStyle>
          <a:p>
            <a:pPr lvl="0"/>
            <a:r>
              <a:rPr lang="en-US"/>
              <a:t>Click to edit Master text styles</a:t>
            </a:r>
          </a:p>
        </p:txBody>
      </p:sp>
      <p:sp>
        <p:nvSpPr>
          <p:cNvPr id="37" name="Text Placeholder 18">
            <a:extLst>
              <a:ext uri="{FF2B5EF4-FFF2-40B4-BE49-F238E27FC236}">
                <a16:creationId xmlns:a16="http://schemas.microsoft.com/office/drawing/2014/main" id="{FADE5209-36D0-EF3A-2ADC-A95D6B5E014C}"/>
              </a:ext>
            </a:extLst>
          </p:cNvPr>
          <p:cNvSpPr>
            <a:spLocks noGrp="1"/>
          </p:cNvSpPr>
          <p:nvPr>
            <p:ph type="body" sz="quarter" idx="28"/>
          </p:nvPr>
        </p:nvSpPr>
        <p:spPr>
          <a:xfrm>
            <a:off x="661817" y="4180786"/>
            <a:ext cx="10982127" cy="1185163"/>
          </a:xfrm>
        </p:spPr>
        <p:txBody>
          <a:bodyPr anchor="t" anchorCtr="0"/>
          <a:lstStyle>
            <a:lvl1pPr marL="640080" indent="-640080">
              <a:lnSpc>
                <a:spcPct val="100000"/>
              </a:lnSpc>
              <a:spcBef>
                <a:spcPts val="0"/>
              </a:spcBef>
              <a:buClr>
                <a:schemeClr val="accent5"/>
              </a:buClr>
              <a:buSzPct val="130000"/>
              <a:buFont typeface="Wingdings" pitchFamily="2" charset="2"/>
              <a:buChar char="ü"/>
              <a:defRPr sz="3600">
                <a:solidFill>
                  <a:schemeClr val="bg1"/>
                </a:solidFill>
              </a:defRPr>
            </a:lvl1pPr>
          </a:lstStyle>
          <a:p>
            <a:pPr lvl="0"/>
            <a:r>
              <a:rPr lang="en-US"/>
              <a:t>Click to edit Master text styles</a:t>
            </a:r>
          </a:p>
        </p:txBody>
      </p:sp>
      <p:pic>
        <p:nvPicPr>
          <p:cNvPr id="7" name="Picture 6">
            <a:extLst>
              <a:ext uri="{FF2B5EF4-FFF2-40B4-BE49-F238E27FC236}">
                <a16:creationId xmlns:a16="http://schemas.microsoft.com/office/drawing/2014/main" id="{FF56D0DB-CC18-A863-2D42-00F282E14905}"/>
              </a:ext>
            </a:extLst>
          </p:cNvPr>
          <p:cNvPicPr>
            <a:picLocks noChangeAspect="1"/>
          </p:cNvPicPr>
          <p:nvPr/>
        </p:nvPicPr>
        <p:blipFill>
          <a:blip r:embed="rId6">
            <a:lum bright="100000"/>
            <a:extLst>
              <a:ext uri="{96DAC541-7B7A-43D3-8B79-37D633B846F1}">
                <asvg:svgBlip xmlns:asvg="http://schemas.microsoft.com/office/drawing/2016/SVG/main" r:embed="rId7"/>
              </a:ext>
            </a:extLst>
          </a:blip>
          <a:srcRect/>
          <a:stretch/>
        </p:blipFill>
        <p:spPr>
          <a:xfrm>
            <a:off x="10247390" y="6448208"/>
            <a:ext cx="1327409" cy="237744"/>
          </a:xfrm>
          <a:prstGeom prst="rect">
            <a:avLst/>
          </a:prstGeom>
        </p:spPr>
      </p:pic>
      <p:graphicFrame>
        <p:nvGraphicFramePr>
          <p:cNvPr id="9" name="think-cell data - do not delete" hidden="1">
            <a:extLst>
              <a:ext uri="{FF2B5EF4-FFF2-40B4-BE49-F238E27FC236}">
                <a16:creationId xmlns:a16="http://schemas.microsoft.com/office/drawing/2014/main" id="{5856C39F-5C62-5457-81DA-78EC118575F2}"/>
              </a:ext>
            </a:extLst>
          </p:cNvPr>
          <p:cNvGraphicFramePr>
            <a:graphicFrameLocks noChangeAspect="1"/>
          </p:cNvGraphicFramePr>
          <p:nvPr userDrawn="1">
            <p:custDataLst>
              <p:tags r:id="rId2"/>
            </p:custDataLst>
            <p:extLst>
              <p:ext uri="{D42A27DB-BD31-4B8C-83A1-F6EECF244321}">
                <p14:modId xmlns:p14="http://schemas.microsoft.com/office/powerpoint/2010/main" val="34851457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5856C39F-5C62-5457-81DA-78EC118575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8CB7DBEB-2316-AB70-3BC0-AF43592C3665}"/>
              </a:ext>
            </a:extLst>
          </p:cNvPr>
          <p:cNvCxnSpPr/>
          <p:nvPr userDrawn="1"/>
        </p:nvCxnSpPr>
        <p:spPr>
          <a:xfrm>
            <a:off x="609600" y="1193352"/>
            <a:ext cx="676656" cy="0"/>
          </a:xfrm>
          <a:prstGeom prst="line">
            <a:avLst/>
          </a:prstGeom>
          <a:noFill/>
          <a:ln w="38100" cap="rnd">
            <a:solidFill>
              <a:schemeClr val="bg1"/>
            </a:solidFill>
            <a:prstDash val="solid"/>
            <a:miter lim="800000"/>
          </a:ln>
          <a:effectLst/>
          <a:sp3d/>
        </p:spPr>
        <p:style>
          <a:lnRef idx="0">
            <a:scrgbClr r="0" g="0" b="0"/>
          </a:lnRef>
          <a:fillRef idx="0">
            <a:scrgbClr r="0" g="0" b="0"/>
          </a:fillRef>
          <a:effectRef idx="0">
            <a:scrgbClr r="0" g="0" b="0"/>
          </a:effectRef>
          <a:fontRef idx="none"/>
        </p:style>
      </p:cxnSp>
      <p:pic>
        <p:nvPicPr>
          <p:cNvPr id="11" name="Picture 6">
            <a:extLst>
              <a:ext uri="{FF2B5EF4-FFF2-40B4-BE49-F238E27FC236}">
                <a16:creationId xmlns:a16="http://schemas.microsoft.com/office/drawing/2014/main" id="{3C11F8D9-B4FD-D9E1-3616-F74C61407651}"/>
              </a:ext>
            </a:extLst>
          </p:cNvPr>
          <p:cNvPicPr>
            <a:picLocks noChangeAspect="1"/>
          </p:cNvPicPr>
          <p:nvPr userDrawn="1"/>
        </p:nvPicPr>
        <p:blipFill>
          <a:blip r:embed="rId6">
            <a:lum bright="100000"/>
            <a:extLst>
              <a:ext uri="{96DAC541-7B7A-43D3-8B79-37D633B846F1}">
                <asvg:svgBlip xmlns:asvg="http://schemas.microsoft.com/office/drawing/2016/SVG/main" r:embed="rId7"/>
              </a:ext>
            </a:extLst>
          </a:blip>
          <a:srcRect/>
          <a:stretch/>
        </p:blipFill>
        <p:spPr>
          <a:xfrm>
            <a:off x="10247390" y="6448208"/>
            <a:ext cx="1327409" cy="237744"/>
          </a:xfrm>
          <a:prstGeom prst="rect">
            <a:avLst/>
          </a:prstGeom>
        </p:spPr>
      </p:pic>
      <p:sp>
        <p:nvSpPr>
          <p:cNvPr id="4" name="Text Placeholder 6">
            <a:extLst>
              <a:ext uri="{FF2B5EF4-FFF2-40B4-BE49-F238E27FC236}">
                <a16:creationId xmlns:a16="http://schemas.microsoft.com/office/drawing/2014/main" id="{9ED4ECEA-DCE4-EB3F-04BA-9A50D6DE77DB}"/>
              </a:ext>
            </a:extLst>
          </p:cNvPr>
          <p:cNvSpPr>
            <a:spLocks noGrp="1"/>
          </p:cNvSpPr>
          <p:nvPr>
            <p:ph type="body" sz="quarter" idx="25"/>
          </p:nvPr>
        </p:nvSpPr>
        <p:spPr>
          <a:xfrm>
            <a:off x="606552" y="201051"/>
            <a:ext cx="10972800" cy="356733"/>
          </a:xfrm>
        </p:spPr>
        <p:txBody>
          <a:bodyPr anchor="b" anchorCtr="0"/>
          <a:lstStyle>
            <a:lvl1pPr marL="0" indent="0">
              <a:buFontTx/>
              <a:buNone/>
              <a:defRPr sz="1200" cap="all" baseline="0">
                <a:solidFill>
                  <a:schemeClr val="bg1"/>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406445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Takeaway-D-One-Major-Takeawa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CBBF99A-4798-0835-BE69-5A43E945DB36}"/>
              </a:ext>
            </a:extLst>
          </p:cNvPr>
          <p:cNvGraphicFramePr>
            <a:graphicFrameLocks noChangeAspect="1"/>
          </p:cNvGraphicFramePr>
          <p:nvPr>
            <p:custDataLst>
              <p:tags r:id="rId1"/>
            </p:custDataLst>
            <p:extLst>
              <p:ext uri="{D42A27DB-BD31-4B8C-83A1-F6EECF244321}">
                <p14:modId xmlns:p14="http://schemas.microsoft.com/office/powerpoint/2010/main" val="29752136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5CBBF99A-4798-0835-BE69-5A43E945DB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80CAE44E-15A0-5435-429B-3DD3BD2C5F78}"/>
              </a:ext>
            </a:extLst>
          </p:cNvPr>
          <p:cNvSpPr>
            <a:spLocks noGrp="1"/>
          </p:cNvSpPr>
          <p:nvPr>
            <p:ph type="body" sz="quarter" idx="13"/>
          </p:nvPr>
        </p:nvSpPr>
        <p:spPr>
          <a:xfrm>
            <a:off x="545123" y="694592"/>
            <a:ext cx="11421452" cy="5563333"/>
          </a:xfrm>
        </p:spPr>
        <p:txBody>
          <a:bodyPr/>
          <a:lstStyle>
            <a:lvl1pPr marL="0" indent="0">
              <a:lnSpc>
                <a:spcPct val="90000"/>
              </a:lnSpc>
              <a:spcBef>
                <a:spcPts val="0"/>
              </a:spcBef>
              <a:buNone/>
              <a:defRPr sz="6600">
                <a:solidFill>
                  <a:schemeClr val="tx2"/>
                </a:solidFill>
              </a:defRPr>
            </a:lvl1pPr>
          </a:lstStyle>
          <a:p>
            <a:pPr lvl="0"/>
            <a:r>
              <a:rPr lang="en-US"/>
              <a:t>Click to edit Master text styles</a:t>
            </a:r>
          </a:p>
        </p:txBody>
      </p:sp>
      <p:sp>
        <p:nvSpPr>
          <p:cNvPr id="10" name="Footer Placeholder 9">
            <a:extLst>
              <a:ext uri="{FF2B5EF4-FFF2-40B4-BE49-F238E27FC236}">
                <a16:creationId xmlns:a16="http://schemas.microsoft.com/office/drawing/2014/main" id="{A1B1A390-6F0B-223A-FB35-50EA27B38062}"/>
              </a:ext>
            </a:extLst>
          </p:cNvPr>
          <p:cNvSpPr>
            <a:spLocks noGrp="1"/>
          </p:cNvSpPr>
          <p:nvPr>
            <p:ph type="ftr" sz="quarter" idx="11"/>
          </p:nvPr>
        </p:nvSpPr>
        <p:spPr/>
        <p:txBody>
          <a:bodyPr/>
          <a:lstStyle/>
          <a:p>
            <a:r>
              <a:rPr lang="en-US" dirty="0"/>
              <a:t>Proprietary &amp; Confidential: Not for Distribution.</a:t>
            </a:r>
          </a:p>
        </p:txBody>
      </p:sp>
      <p:sp>
        <p:nvSpPr>
          <p:cNvPr id="11" name="Slide Number Placeholder 10">
            <a:extLst>
              <a:ext uri="{FF2B5EF4-FFF2-40B4-BE49-F238E27FC236}">
                <a16:creationId xmlns:a16="http://schemas.microsoft.com/office/drawing/2014/main" id="{08090002-83AD-2BB0-EC54-03A23D23A73D}"/>
              </a:ext>
            </a:extLst>
          </p:cNvPr>
          <p:cNvSpPr>
            <a:spLocks noGrp="1"/>
          </p:cNvSpPr>
          <p:nvPr>
            <p:ph type="sldNum" sz="quarter" idx="12"/>
          </p:nvPr>
        </p:nvSpPr>
        <p:spPr/>
        <p:txBody>
          <a:bodyPr/>
          <a:lstStyle/>
          <a:p>
            <a:fld id="{86CB4B4D-7CA3-9044-876B-883B54F8677D}" type="slidenum">
              <a:rPr lang="en-US" smtClean="0"/>
              <a:pPr/>
              <a:t>‹#›</a:t>
            </a:fld>
            <a:endParaRPr lang="en-US" dirty="0"/>
          </a:p>
        </p:txBody>
      </p:sp>
      <p:graphicFrame>
        <p:nvGraphicFramePr>
          <p:cNvPr id="2" name="think-cell data - do not delete" hidden="1">
            <a:extLst>
              <a:ext uri="{FF2B5EF4-FFF2-40B4-BE49-F238E27FC236}">
                <a16:creationId xmlns:a16="http://schemas.microsoft.com/office/drawing/2014/main" id="{0ED34543-A28C-EAD4-DBC1-6C9462289FCA}"/>
              </a:ext>
            </a:extLst>
          </p:cNvPr>
          <p:cNvGraphicFramePr>
            <a:graphicFrameLocks noChangeAspect="1"/>
          </p:cNvGraphicFramePr>
          <p:nvPr userDrawn="1">
            <p:custDataLst>
              <p:tags r:id="rId2"/>
            </p:custDataLst>
            <p:extLst>
              <p:ext uri="{D42A27DB-BD31-4B8C-83A1-F6EECF244321}">
                <p14:modId xmlns:p14="http://schemas.microsoft.com/office/powerpoint/2010/main" val="29752136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0ED34543-A28C-EAD4-DBC1-6C9462289F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83822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Slid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9D2A16-24A6-AA7D-BFB7-9E6C4A3A004A}"/>
              </a:ext>
            </a:extLst>
          </p:cNvPr>
          <p:cNvGraphicFramePr>
            <a:graphicFrameLocks noChangeAspect="1"/>
          </p:cNvGraphicFramePr>
          <p:nvPr>
            <p:custDataLst>
              <p:tags r:id="rId1"/>
            </p:custDataLst>
            <p:extLst>
              <p:ext uri="{D42A27DB-BD31-4B8C-83A1-F6EECF244321}">
                <p14:modId xmlns:p14="http://schemas.microsoft.com/office/powerpoint/2010/main" val="423308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A39D2A16-24A6-AA7D-BFB7-9E6C4A3A00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2DA09BC3-0B6A-EDF0-177B-071D33AC2277}"/>
              </a:ext>
            </a:extLst>
          </p:cNvPr>
          <p:cNvSpPr/>
          <p:nvPr/>
        </p:nvSpPr>
        <p:spPr>
          <a:xfrm>
            <a:off x="2" y="-7496"/>
            <a:ext cx="11961045" cy="6865497"/>
          </a:xfrm>
          <a:custGeom>
            <a:avLst/>
            <a:gdLst>
              <a:gd name="connsiteX0" fmla="*/ 0 w 11961045"/>
              <a:gd name="connsiteY0" fmla="*/ 0 h 6865497"/>
              <a:gd name="connsiteX1" fmla="*/ 11465408 w 11961045"/>
              <a:gd name="connsiteY1" fmla="*/ 0 h 6865497"/>
              <a:gd name="connsiteX2" fmla="*/ 11609808 w 11961045"/>
              <a:gd name="connsiteY2" fmla="*/ 524966 h 6865497"/>
              <a:gd name="connsiteX3" fmla="*/ 11961045 w 11961045"/>
              <a:gd name="connsiteY3" fmla="*/ 3436498 h 6865497"/>
              <a:gd name="connsiteX4" fmla="*/ 11609807 w 11961045"/>
              <a:gd name="connsiteY4" fmla="*/ 6348030 h 6865497"/>
              <a:gd name="connsiteX5" fmla="*/ 11467471 w 11961045"/>
              <a:gd name="connsiteY5" fmla="*/ 6865497 h 6865497"/>
              <a:gd name="connsiteX6" fmla="*/ 0 w 11961045"/>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1045" h="6865497">
                <a:moveTo>
                  <a:pt x="0" y="0"/>
                </a:moveTo>
                <a:lnTo>
                  <a:pt x="11465408" y="0"/>
                </a:lnTo>
                <a:lnTo>
                  <a:pt x="11609808" y="524966"/>
                </a:lnTo>
                <a:cubicBezTo>
                  <a:pt x="11837817" y="1441845"/>
                  <a:pt x="11961045" y="2420383"/>
                  <a:pt x="11961045" y="3436498"/>
                </a:cubicBezTo>
                <a:cubicBezTo>
                  <a:pt x="11961045" y="4452613"/>
                  <a:pt x="11837817" y="5431152"/>
                  <a:pt x="11609807" y="6348030"/>
                </a:cubicBezTo>
                <a:lnTo>
                  <a:pt x="11467471" y="6865497"/>
                </a:lnTo>
                <a:lnTo>
                  <a:pt x="0" y="6865497"/>
                </a:lnTo>
                <a:close/>
              </a:path>
            </a:pathLst>
          </a:custGeom>
          <a:solidFill>
            <a:schemeClr val="accent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4" name="Title 15">
            <a:extLst>
              <a:ext uri="{FF2B5EF4-FFF2-40B4-BE49-F238E27FC236}">
                <a16:creationId xmlns:a16="http://schemas.microsoft.com/office/drawing/2014/main" id="{C8BE9F64-2151-2DD1-49F3-BADCAF5CC5BF}"/>
              </a:ext>
            </a:extLst>
          </p:cNvPr>
          <p:cNvSpPr txBox="1">
            <a:spLocks/>
          </p:cNvSpPr>
          <p:nvPr userDrawn="1"/>
        </p:nvSpPr>
        <p:spPr>
          <a:xfrm>
            <a:off x="-50" y="1929384"/>
            <a:ext cx="5295272" cy="2999232"/>
          </a:xfrm>
          <a:custGeom>
            <a:avLst/>
            <a:gdLst>
              <a:gd name="connsiteX0" fmla="*/ 0 w 5295272"/>
              <a:gd name="connsiteY0" fmla="*/ 0 h 2934334"/>
              <a:gd name="connsiteX1" fmla="*/ 4975371 w 5295272"/>
              <a:gd name="connsiteY1" fmla="*/ 0 h 2934334"/>
              <a:gd name="connsiteX2" fmla="*/ 5295272 w 5295272"/>
              <a:gd name="connsiteY2" fmla="*/ 319901 h 2934334"/>
              <a:gd name="connsiteX3" fmla="*/ 5295272 w 5295272"/>
              <a:gd name="connsiteY3" fmla="*/ 2614433 h 2934334"/>
              <a:gd name="connsiteX4" fmla="*/ 4975371 w 5295272"/>
              <a:gd name="connsiteY4" fmla="*/ 2934334 h 2934334"/>
              <a:gd name="connsiteX5" fmla="*/ 0 w 5295272"/>
              <a:gd name="connsiteY5" fmla="*/ 2934334 h 29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95272" h="2934334">
                <a:moveTo>
                  <a:pt x="0" y="0"/>
                </a:moveTo>
                <a:lnTo>
                  <a:pt x="4975371" y="0"/>
                </a:lnTo>
                <a:cubicBezTo>
                  <a:pt x="5152047" y="0"/>
                  <a:pt x="5295272" y="143225"/>
                  <a:pt x="5295272" y="319901"/>
                </a:cubicBezTo>
                <a:lnTo>
                  <a:pt x="5295272" y="2614433"/>
                </a:lnTo>
                <a:cubicBezTo>
                  <a:pt x="5295272" y="2791109"/>
                  <a:pt x="5152047" y="2934334"/>
                  <a:pt x="4975371" y="2934334"/>
                </a:cubicBezTo>
                <a:lnTo>
                  <a:pt x="0" y="2934334"/>
                </a:lnTo>
                <a:close/>
              </a:path>
            </a:pathLst>
          </a:custGeom>
          <a:solidFill>
            <a:schemeClr val="bg1">
              <a:alpha val="8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wrap="square" lIns="0" tIns="0" rIns="0" bIns="0" anchor="ctr" anchorCtr="0">
            <a:noAutofit/>
          </a:bodyPr>
          <a:lstStyle>
            <a:lvl1pPr marL="1508760" marR="0" indent="0" algn="l" defTabSz="914400" rtl="0" eaLnBrk="1" latinLnBrk="0" hangingPunct="1">
              <a:lnSpc>
                <a:spcPct val="85000"/>
              </a:lnSpc>
              <a:spcBef>
                <a:spcPts val="0"/>
              </a:spcBef>
              <a:spcAft>
                <a:spcPts val="0"/>
              </a:spcAft>
              <a:buClrTx/>
              <a:buSzTx/>
              <a:buFontTx/>
              <a:buNone/>
              <a:tabLst/>
              <a:defRPr kumimoji="0" lang="en-US" sz="2800" b="1" i="0" u="none" strike="noStrike" cap="none" spc="0" normalizeH="0" baseline="0" dirty="0">
                <a:ln>
                  <a:noFill/>
                </a:ln>
                <a:solidFill>
                  <a:schemeClr val="tx2"/>
                </a:solidFill>
                <a:effectLst/>
                <a:uFillTx/>
                <a:latin typeface="Raleway" panose="020B0503030101060003" pitchFamily="34" charset="77"/>
                <a:ea typeface="Raleway" panose="020B0503030101060003" pitchFamily="34" charset="77"/>
                <a:cs typeface="Arial"/>
                <a:sym typeface="Arial"/>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a:lstStyle>
          <a:p>
            <a:r>
              <a:rPr lang="en-US" dirty="0"/>
              <a:t>Click To Edit Title</a:t>
            </a:r>
          </a:p>
        </p:txBody>
      </p:sp>
      <p:sp>
        <p:nvSpPr>
          <p:cNvPr id="29" name="Title 15">
            <a:extLst>
              <a:ext uri="{FF2B5EF4-FFF2-40B4-BE49-F238E27FC236}">
                <a16:creationId xmlns:a16="http://schemas.microsoft.com/office/drawing/2014/main" id="{6E661BD8-0BD0-E622-DA77-BF825911E5CF}"/>
              </a:ext>
            </a:extLst>
          </p:cNvPr>
          <p:cNvSpPr txBox="1">
            <a:spLocks/>
          </p:cNvSpPr>
          <p:nvPr userDrawn="1"/>
        </p:nvSpPr>
        <p:spPr>
          <a:xfrm>
            <a:off x="-50" y="1929384"/>
            <a:ext cx="5295272" cy="2999232"/>
          </a:xfrm>
          <a:custGeom>
            <a:avLst/>
            <a:gdLst>
              <a:gd name="connsiteX0" fmla="*/ 0 w 5295272"/>
              <a:gd name="connsiteY0" fmla="*/ 0 h 2934334"/>
              <a:gd name="connsiteX1" fmla="*/ 4975371 w 5295272"/>
              <a:gd name="connsiteY1" fmla="*/ 0 h 2934334"/>
              <a:gd name="connsiteX2" fmla="*/ 5295272 w 5295272"/>
              <a:gd name="connsiteY2" fmla="*/ 319901 h 2934334"/>
              <a:gd name="connsiteX3" fmla="*/ 5295272 w 5295272"/>
              <a:gd name="connsiteY3" fmla="*/ 2614433 h 2934334"/>
              <a:gd name="connsiteX4" fmla="*/ 4975371 w 5295272"/>
              <a:gd name="connsiteY4" fmla="*/ 2934334 h 2934334"/>
              <a:gd name="connsiteX5" fmla="*/ 0 w 5295272"/>
              <a:gd name="connsiteY5" fmla="*/ 2934334 h 29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95272" h="2934334">
                <a:moveTo>
                  <a:pt x="0" y="0"/>
                </a:moveTo>
                <a:lnTo>
                  <a:pt x="4975371" y="0"/>
                </a:lnTo>
                <a:cubicBezTo>
                  <a:pt x="5152047" y="0"/>
                  <a:pt x="5295272" y="143225"/>
                  <a:pt x="5295272" y="319901"/>
                </a:cubicBezTo>
                <a:lnTo>
                  <a:pt x="5295272" y="2614433"/>
                </a:lnTo>
                <a:cubicBezTo>
                  <a:pt x="5295272" y="2791109"/>
                  <a:pt x="5152047" y="2934334"/>
                  <a:pt x="4975371" y="2934334"/>
                </a:cubicBezTo>
                <a:lnTo>
                  <a:pt x="0" y="2934334"/>
                </a:lnTo>
                <a:close/>
              </a:path>
            </a:pathLst>
          </a:custGeom>
          <a:solidFill>
            <a:schemeClr val="bg1">
              <a:alpha val="8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wrap="square" lIns="0" tIns="0" rIns="0" bIns="0" anchor="ctr" anchorCtr="0">
            <a:noAutofit/>
          </a:bodyPr>
          <a:lstStyle>
            <a:lvl1pPr marL="1508760" marR="0" indent="0" algn="l" defTabSz="914400" rtl="0" eaLnBrk="1" latinLnBrk="0" hangingPunct="1">
              <a:lnSpc>
                <a:spcPct val="85000"/>
              </a:lnSpc>
              <a:spcBef>
                <a:spcPts val="0"/>
              </a:spcBef>
              <a:spcAft>
                <a:spcPts val="0"/>
              </a:spcAft>
              <a:buClrTx/>
              <a:buSzTx/>
              <a:buFontTx/>
              <a:buNone/>
              <a:tabLst/>
              <a:defRPr kumimoji="0" lang="en-US" sz="2800" b="1" i="0" u="none" strike="noStrike" cap="none" spc="0" normalizeH="0" baseline="0" dirty="0">
                <a:ln>
                  <a:noFill/>
                </a:ln>
                <a:solidFill>
                  <a:schemeClr val="tx2"/>
                </a:solidFill>
                <a:effectLst/>
                <a:uFillTx/>
                <a:latin typeface="Raleway" panose="020B0503030101060003" pitchFamily="34" charset="77"/>
                <a:ea typeface="Raleway" panose="020B0503030101060003" pitchFamily="34" charset="77"/>
                <a:cs typeface="Arial"/>
                <a:sym typeface="Arial"/>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a:lstStyle>
          <a:p>
            <a:r>
              <a:rPr lang="en-US" dirty="0"/>
              <a:t>Click To Edit Title</a:t>
            </a:r>
          </a:p>
        </p:txBody>
      </p:sp>
      <p:sp>
        <p:nvSpPr>
          <p:cNvPr id="2" name="Freeform 1">
            <a:extLst>
              <a:ext uri="{FF2B5EF4-FFF2-40B4-BE49-F238E27FC236}">
                <a16:creationId xmlns:a16="http://schemas.microsoft.com/office/drawing/2014/main" id="{5AB67882-AC10-7D66-E32E-B59CDA91C234}"/>
              </a:ext>
            </a:extLst>
          </p:cNvPr>
          <p:cNvSpPr/>
          <p:nvPr userDrawn="1"/>
        </p:nvSpPr>
        <p:spPr>
          <a:xfrm>
            <a:off x="2" y="-7496"/>
            <a:ext cx="11961045" cy="6865497"/>
          </a:xfrm>
          <a:custGeom>
            <a:avLst/>
            <a:gdLst>
              <a:gd name="connsiteX0" fmla="*/ 0 w 11961045"/>
              <a:gd name="connsiteY0" fmla="*/ 0 h 6865497"/>
              <a:gd name="connsiteX1" fmla="*/ 11465408 w 11961045"/>
              <a:gd name="connsiteY1" fmla="*/ 0 h 6865497"/>
              <a:gd name="connsiteX2" fmla="*/ 11609808 w 11961045"/>
              <a:gd name="connsiteY2" fmla="*/ 524966 h 6865497"/>
              <a:gd name="connsiteX3" fmla="*/ 11961045 w 11961045"/>
              <a:gd name="connsiteY3" fmla="*/ 3436498 h 6865497"/>
              <a:gd name="connsiteX4" fmla="*/ 11609807 w 11961045"/>
              <a:gd name="connsiteY4" fmla="*/ 6348030 h 6865497"/>
              <a:gd name="connsiteX5" fmla="*/ 11467471 w 11961045"/>
              <a:gd name="connsiteY5" fmla="*/ 6865497 h 6865497"/>
              <a:gd name="connsiteX6" fmla="*/ 0 w 11961045"/>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1045" h="6865497">
                <a:moveTo>
                  <a:pt x="0" y="0"/>
                </a:moveTo>
                <a:lnTo>
                  <a:pt x="11465408" y="0"/>
                </a:lnTo>
                <a:lnTo>
                  <a:pt x="11609808" y="524966"/>
                </a:lnTo>
                <a:cubicBezTo>
                  <a:pt x="11837817" y="1441845"/>
                  <a:pt x="11961045" y="2420383"/>
                  <a:pt x="11961045" y="3436498"/>
                </a:cubicBezTo>
                <a:cubicBezTo>
                  <a:pt x="11961045" y="4452613"/>
                  <a:pt x="11837817" y="5431152"/>
                  <a:pt x="11609807" y="6348030"/>
                </a:cubicBezTo>
                <a:lnTo>
                  <a:pt x="11467471" y="6865497"/>
                </a:lnTo>
                <a:lnTo>
                  <a:pt x="0" y="6865497"/>
                </a:lnTo>
                <a:close/>
              </a:path>
            </a:pathLst>
          </a:custGeom>
          <a:solidFill>
            <a:schemeClr val="accent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4" name="Freeform 3">
            <a:extLst>
              <a:ext uri="{FF2B5EF4-FFF2-40B4-BE49-F238E27FC236}">
                <a16:creationId xmlns:a16="http://schemas.microsoft.com/office/drawing/2014/main" id="{6E6F0B7F-0C3F-1E11-6C94-AC66DFE1EE68}"/>
              </a:ext>
            </a:extLst>
          </p:cNvPr>
          <p:cNvSpPr/>
          <p:nvPr/>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itle 35">
            <a:extLst>
              <a:ext uri="{FF2B5EF4-FFF2-40B4-BE49-F238E27FC236}">
                <a16:creationId xmlns:a16="http://schemas.microsoft.com/office/drawing/2014/main" id="{6B1C5762-FE9A-29A0-0881-83290F6AA734}"/>
              </a:ext>
            </a:extLst>
          </p:cNvPr>
          <p:cNvSpPr>
            <a:spLocks noGrp="1"/>
          </p:cNvSpPr>
          <p:nvPr>
            <p:ph type="ctrTitle" hasCustomPrompt="1"/>
          </p:nvPr>
        </p:nvSpPr>
        <p:spPr>
          <a:xfrm>
            <a:off x="-50" y="1929384"/>
            <a:ext cx="5295272" cy="2999232"/>
          </a:xfrm>
          <a:custGeom>
            <a:avLst/>
            <a:gdLst>
              <a:gd name="connsiteX0" fmla="*/ 1156058 w 5295272"/>
              <a:gd name="connsiteY0" fmla="*/ 1790099 h 2999232"/>
              <a:gd name="connsiteX1" fmla="*/ 1157665 w 5295272"/>
              <a:gd name="connsiteY1" fmla="*/ 1790099 h 2999232"/>
              <a:gd name="connsiteX2" fmla="*/ 1162048 w 5295272"/>
              <a:gd name="connsiteY2" fmla="*/ 1790387 h 2999232"/>
              <a:gd name="connsiteX3" fmla="*/ 1163363 w 5295272"/>
              <a:gd name="connsiteY3" fmla="*/ 1791248 h 2999232"/>
              <a:gd name="connsiteX4" fmla="*/ 1163801 w 5295272"/>
              <a:gd name="connsiteY4" fmla="*/ 1792685 h 2999232"/>
              <a:gd name="connsiteX5" fmla="*/ 1163363 w 5295272"/>
              <a:gd name="connsiteY5" fmla="*/ 1794121 h 2999232"/>
              <a:gd name="connsiteX6" fmla="*/ 1162048 w 5295272"/>
              <a:gd name="connsiteY6" fmla="*/ 1795127 h 2999232"/>
              <a:gd name="connsiteX7" fmla="*/ 1157665 w 5295272"/>
              <a:gd name="connsiteY7" fmla="*/ 1795414 h 2999232"/>
              <a:gd name="connsiteX8" fmla="*/ 1156058 w 5295272"/>
              <a:gd name="connsiteY8" fmla="*/ 1795414 h 2999232"/>
              <a:gd name="connsiteX9" fmla="*/ 1151968 w 5295272"/>
              <a:gd name="connsiteY9" fmla="*/ 1786939 h 2999232"/>
              <a:gd name="connsiteX10" fmla="*/ 1151968 w 5295272"/>
              <a:gd name="connsiteY10" fmla="*/ 1806619 h 2999232"/>
              <a:gd name="connsiteX11" fmla="*/ 1152114 w 5295272"/>
              <a:gd name="connsiteY11" fmla="*/ 1806619 h 2999232"/>
              <a:gd name="connsiteX12" fmla="*/ 1156204 w 5295272"/>
              <a:gd name="connsiteY12" fmla="*/ 1806619 h 2999232"/>
              <a:gd name="connsiteX13" fmla="*/ 1156204 w 5295272"/>
              <a:gd name="connsiteY13" fmla="*/ 1798575 h 2999232"/>
              <a:gd name="connsiteX14" fmla="*/ 1157227 w 5295272"/>
              <a:gd name="connsiteY14" fmla="*/ 1798575 h 2999232"/>
              <a:gd name="connsiteX15" fmla="*/ 1160003 w 5295272"/>
              <a:gd name="connsiteY15" fmla="*/ 1799437 h 2999232"/>
              <a:gd name="connsiteX16" fmla="*/ 1162779 w 5295272"/>
              <a:gd name="connsiteY16" fmla="*/ 1803459 h 2999232"/>
              <a:gd name="connsiteX17" fmla="*/ 1164532 w 5295272"/>
              <a:gd name="connsiteY17" fmla="*/ 1806619 h 2999232"/>
              <a:gd name="connsiteX18" fmla="*/ 1169499 w 5295272"/>
              <a:gd name="connsiteY18" fmla="*/ 1806619 h 2999232"/>
              <a:gd name="connsiteX19" fmla="*/ 1167162 w 5295272"/>
              <a:gd name="connsiteY19" fmla="*/ 1802597 h 2999232"/>
              <a:gd name="connsiteX20" fmla="*/ 1165701 w 5295272"/>
              <a:gd name="connsiteY20" fmla="*/ 1800155 h 2999232"/>
              <a:gd name="connsiteX21" fmla="*/ 1164386 w 5295272"/>
              <a:gd name="connsiteY21" fmla="*/ 1798575 h 2999232"/>
              <a:gd name="connsiteX22" fmla="*/ 1162925 w 5295272"/>
              <a:gd name="connsiteY22" fmla="*/ 1797857 h 2999232"/>
              <a:gd name="connsiteX23" fmla="*/ 1166869 w 5295272"/>
              <a:gd name="connsiteY23" fmla="*/ 1795989 h 2999232"/>
              <a:gd name="connsiteX24" fmla="*/ 1168330 w 5295272"/>
              <a:gd name="connsiteY24" fmla="*/ 1792398 h 2999232"/>
              <a:gd name="connsiteX25" fmla="*/ 1167600 w 5295272"/>
              <a:gd name="connsiteY25" fmla="*/ 1789525 h 2999232"/>
              <a:gd name="connsiteX26" fmla="*/ 1165701 w 5295272"/>
              <a:gd name="connsiteY26" fmla="*/ 1787657 h 2999232"/>
              <a:gd name="connsiteX27" fmla="*/ 1162487 w 5295272"/>
              <a:gd name="connsiteY27" fmla="*/ 1786939 h 2999232"/>
              <a:gd name="connsiteX28" fmla="*/ 1156058 w 5295272"/>
              <a:gd name="connsiteY28" fmla="*/ 1786939 h 2999232"/>
              <a:gd name="connsiteX29" fmla="*/ 1160587 w 5295272"/>
              <a:gd name="connsiteY29" fmla="*/ 1781767 h 2999232"/>
              <a:gd name="connsiteX30" fmla="*/ 1168038 w 5295272"/>
              <a:gd name="connsiteY30" fmla="*/ 1783635 h 2999232"/>
              <a:gd name="connsiteX31" fmla="*/ 1173736 w 5295272"/>
              <a:gd name="connsiteY31" fmla="*/ 1789094 h 2999232"/>
              <a:gd name="connsiteX32" fmla="*/ 1175781 w 5295272"/>
              <a:gd name="connsiteY32" fmla="*/ 1796564 h 2999232"/>
              <a:gd name="connsiteX33" fmla="*/ 1173736 w 5295272"/>
              <a:gd name="connsiteY33" fmla="*/ 1804034 h 2999232"/>
              <a:gd name="connsiteX34" fmla="*/ 1168184 w 5295272"/>
              <a:gd name="connsiteY34" fmla="*/ 1809492 h 2999232"/>
              <a:gd name="connsiteX35" fmla="*/ 1160587 w 5295272"/>
              <a:gd name="connsiteY35" fmla="*/ 1811504 h 2999232"/>
              <a:gd name="connsiteX36" fmla="*/ 1152990 w 5295272"/>
              <a:gd name="connsiteY36" fmla="*/ 1809492 h 2999232"/>
              <a:gd name="connsiteX37" fmla="*/ 1147439 w 5295272"/>
              <a:gd name="connsiteY37" fmla="*/ 1804034 h 2999232"/>
              <a:gd name="connsiteX38" fmla="*/ 1145393 w 5295272"/>
              <a:gd name="connsiteY38" fmla="*/ 1796564 h 2999232"/>
              <a:gd name="connsiteX39" fmla="*/ 1147439 w 5295272"/>
              <a:gd name="connsiteY39" fmla="*/ 1789094 h 2999232"/>
              <a:gd name="connsiteX40" fmla="*/ 1153136 w 5295272"/>
              <a:gd name="connsiteY40" fmla="*/ 1783635 h 2999232"/>
              <a:gd name="connsiteX41" fmla="*/ 1160587 w 5295272"/>
              <a:gd name="connsiteY41" fmla="*/ 1781767 h 2999232"/>
              <a:gd name="connsiteX42" fmla="*/ 1160587 w 5295272"/>
              <a:gd name="connsiteY42" fmla="*/ 1778176 h 2999232"/>
              <a:gd name="connsiteX43" fmla="*/ 1151237 w 5295272"/>
              <a:gd name="connsiteY43" fmla="*/ 1780618 h 2999232"/>
              <a:gd name="connsiteX44" fmla="*/ 1144225 w 5295272"/>
              <a:gd name="connsiteY44" fmla="*/ 1787513 h 2999232"/>
              <a:gd name="connsiteX45" fmla="*/ 1141741 w 5295272"/>
              <a:gd name="connsiteY45" fmla="*/ 1796851 h 2999232"/>
              <a:gd name="connsiteX46" fmla="*/ 1144225 w 5295272"/>
              <a:gd name="connsiteY46" fmla="*/ 1806045 h 2999232"/>
              <a:gd name="connsiteX47" fmla="*/ 1151237 w 5295272"/>
              <a:gd name="connsiteY47" fmla="*/ 1812940 h 2999232"/>
              <a:gd name="connsiteX48" fmla="*/ 1160587 w 5295272"/>
              <a:gd name="connsiteY48" fmla="*/ 1815382 h 2999232"/>
              <a:gd name="connsiteX49" fmla="*/ 1169937 w 5295272"/>
              <a:gd name="connsiteY49" fmla="*/ 1812940 h 2999232"/>
              <a:gd name="connsiteX50" fmla="*/ 1176950 w 5295272"/>
              <a:gd name="connsiteY50" fmla="*/ 1806045 h 2999232"/>
              <a:gd name="connsiteX51" fmla="*/ 1179434 w 5295272"/>
              <a:gd name="connsiteY51" fmla="*/ 1796851 h 2999232"/>
              <a:gd name="connsiteX52" fmla="*/ 1176950 w 5295272"/>
              <a:gd name="connsiteY52" fmla="*/ 1787513 h 2999232"/>
              <a:gd name="connsiteX53" fmla="*/ 1169937 w 5295272"/>
              <a:gd name="connsiteY53" fmla="*/ 1780618 h 2999232"/>
              <a:gd name="connsiteX54" fmla="*/ 1160587 w 5295272"/>
              <a:gd name="connsiteY54" fmla="*/ 1778176 h 2999232"/>
              <a:gd name="connsiteX55" fmla="*/ 615651 w 5295272"/>
              <a:gd name="connsiteY55" fmla="*/ 1524915 h 2999232"/>
              <a:gd name="connsiteX56" fmla="*/ 615505 w 5295272"/>
              <a:gd name="connsiteY56" fmla="*/ 1525059 h 2999232"/>
              <a:gd name="connsiteX57" fmla="*/ 468095 w 5295272"/>
              <a:gd name="connsiteY57" fmla="*/ 1670005 h 2999232"/>
              <a:gd name="connsiteX58" fmla="*/ 615651 w 5295272"/>
              <a:gd name="connsiteY58" fmla="*/ 1814808 h 2999232"/>
              <a:gd name="connsiteX59" fmla="*/ 763062 w 5295272"/>
              <a:gd name="connsiteY59" fmla="*/ 1669861 h 2999232"/>
              <a:gd name="connsiteX60" fmla="*/ 615651 w 5295272"/>
              <a:gd name="connsiteY60" fmla="*/ 1524915 h 2999232"/>
              <a:gd name="connsiteX61" fmla="*/ 614829 w 5295272"/>
              <a:gd name="connsiteY61" fmla="*/ 1115180 h 2999232"/>
              <a:gd name="connsiteX62" fmla="*/ 510609 w 5295272"/>
              <a:gd name="connsiteY62" fmla="*/ 1157737 h 2999232"/>
              <a:gd name="connsiteX63" fmla="*/ 510609 w 5295272"/>
              <a:gd name="connsiteY63" fmla="*/ 1362731 h 2999232"/>
              <a:gd name="connsiteX64" fmla="*/ 719087 w 5295272"/>
              <a:gd name="connsiteY64" fmla="*/ 1362731 h 2999232"/>
              <a:gd name="connsiteX65" fmla="*/ 927711 w 5295272"/>
              <a:gd name="connsiteY65" fmla="*/ 1362731 h 2999232"/>
              <a:gd name="connsiteX66" fmla="*/ 927711 w 5295272"/>
              <a:gd name="connsiteY66" fmla="*/ 1567868 h 2999232"/>
              <a:gd name="connsiteX67" fmla="*/ 927711 w 5295272"/>
              <a:gd name="connsiteY67" fmla="*/ 1772862 h 2999232"/>
              <a:gd name="connsiteX68" fmla="*/ 1136336 w 5295272"/>
              <a:gd name="connsiteY68" fmla="*/ 1772862 h 2999232"/>
              <a:gd name="connsiteX69" fmla="*/ 1136336 w 5295272"/>
              <a:gd name="connsiteY69" fmla="*/ 1567868 h 2999232"/>
              <a:gd name="connsiteX70" fmla="*/ 1136336 w 5295272"/>
              <a:gd name="connsiteY70" fmla="*/ 1362731 h 2999232"/>
              <a:gd name="connsiteX71" fmla="*/ 1136190 w 5295272"/>
              <a:gd name="connsiteY71" fmla="*/ 1362731 h 2999232"/>
              <a:gd name="connsiteX72" fmla="*/ 1136190 w 5295272"/>
              <a:gd name="connsiteY72" fmla="*/ 1157737 h 2999232"/>
              <a:gd name="connsiteX73" fmla="*/ 927565 w 5295272"/>
              <a:gd name="connsiteY73" fmla="*/ 1157737 h 2999232"/>
              <a:gd name="connsiteX74" fmla="*/ 718941 w 5295272"/>
              <a:gd name="connsiteY74" fmla="*/ 1157737 h 2999232"/>
              <a:gd name="connsiteX75" fmla="*/ 614829 w 5295272"/>
              <a:gd name="connsiteY75" fmla="*/ 1115180 h 2999232"/>
              <a:gd name="connsiteX76" fmla="*/ 0 w 5295272"/>
              <a:gd name="connsiteY76" fmla="*/ 0 h 2999232"/>
              <a:gd name="connsiteX77" fmla="*/ 4975371 w 5295272"/>
              <a:gd name="connsiteY77" fmla="*/ 0 h 2999232"/>
              <a:gd name="connsiteX78" fmla="*/ 5295272 w 5295272"/>
              <a:gd name="connsiteY78" fmla="*/ 326976 h 2999232"/>
              <a:gd name="connsiteX79" fmla="*/ 5295272 w 5295272"/>
              <a:gd name="connsiteY79" fmla="*/ 2672256 h 2999232"/>
              <a:gd name="connsiteX80" fmla="*/ 4975371 w 5295272"/>
              <a:gd name="connsiteY80" fmla="*/ 2999232 h 2999232"/>
              <a:gd name="connsiteX81" fmla="*/ 0 w 5295272"/>
              <a:gd name="connsiteY81" fmla="*/ 2999232 h 299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295272" h="2999232">
                <a:moveTo>
                  <a:pt x="1156058" y="1790099"/>
                </a:moveTo>
                <a:lnTo>
                  <a:pt x="1157665" y="1790099"/>
                </a:lnTo>
                <a:cubicBezTo>
                  <a:pt x="1160003" y="1790099"/>
                  <a:pt x="1161464" y="1790243"/>
                  <a:pt x="1162048" y="1790387"/>
                </a:cubicBezTo>
                <a:cubicBezTo>
                  <a:pt x="1162633" y="1790530"/>
                  <a:pt x="1163071" y="1790817"/>
                  <a:pt x="1163363" y="1791248"/>
                </a:cubicBezTo>
                <a:cubicBezTo>
                  <a:pt x="1163655" y="1791679"/>
                  <a:pt x="1163801" y="1792254"/>
                  <a:pt x="1163801" y="1792685"/>
                </a:cubicBezTo>
                <a:cubicBezTo>
                  <a:pt x="1163801" y="1793116"/>
                  <a:pt x="1163655" y="1793691"/>
                  <a:pt x="1163363" y="1794121"/>
                </a:cubicBezTo>
                <a:cubicBezTo>
                  <a:pt x="1163071" y="1794696"/>
                  <a:pt x="1162633" y="1794983"/>
                  <a:pt x="1162048" y="1795127"/>
                </a:cubicBezTo>
                <a:cubicBezTo>
                  <a:pt x="1161464" y="1795414"/>
                  <a:pt x="1160003" y="1795414"/>
                  <a:pt x="1157665" y="1795414"/>
                </a:cubicBezTo>
                <a:lnTo>
                  <a:pt x="1156058" y="1795414"/>
                </a:lnTo>
                <a:close/>
                <a:moveTo>
                  <a:pt x="1151968" y="1786939"/>
                </a:moveTo>
                <a:lnTo>
                  <a:pt x="1151968" y="1806619"/>
                </a:lnTo>
                <a:lnTo>
                  <a:pt x="1152114" y="1806619"/>
                </a:lnTo>
                <a:lnTo>
                  <a:pt x="1156204" y="1806619"/>
                </a:lnTo>
                <a:lnTo>
                  <a:pt x="1156204" y="1798575"/>
                </a:lnTo>
                <a:lnTo>
                  <a:pt x="1157227" y="1798575"/>
                </a:lnTo>
                <a:cubicBezTo>
                  <a:pt x="1158250" y="1798575"/>
                  <a:pt x="1159272" y="1798862"/>
                  <a:pt x="1160003" y="1799437"/>
                </a:cubicBezTo>
                <a:cubicBezTo>
                  <a:pt x="1160733" y="1800011"/>
                  <a:pt x="1161610" y="1801304"/>
                  <a:pt x="1162779" y="1803459"/>
                </a:cubicBezTo>
                <a:lnTo>
                  <a:pt x="1164532" y="1806619"/>
                </a:lnTo>
                <a:lnTo>
                  <a:pt x="1169499" y="1806619"/>
                </a:lnTo>
                <a:lnTo>
                  <a:pt x="1167162" y="1802597"/>
                </a:lnTo>
                <a:cubicBezTo>
                  <a:pt x="1166431" y="1801161"/>
                  <a:pt x="1165847" y="1800299"/>
                  <a:pt x="1165701" y="1800155"/>
                </a:cubicBezTo>
                <a:cubicBezTo>
                  <a:pt x="1165116" y="1799293"/>
                  <a:pt x="1164678" y="1798862"/>
                  <a:pt x="1164386" y="1798575"/>
                </a:cubicBezTo>
                <a:cubicBezTo>
                  <a:pt x="1163948" y="1798287"/>
                  <a:pt x="1163509" y="1798144"/>
                  <a:pt x="1162925" y="1797857"/>
                </a:cubicBezTo>
                <a:cubicBezTo>
                  <a:pt x="1164678" y="1797569"/>
                  <a:pt x="1165993" y="1796995"/>
                  <a:pt x="1166869" y="1795989"/>
                </a:cubicBezTo>
                <a:cubicBezTo>
                  <a:pt x="1167892" y="1794983"/>
                  <a:pt x="1168330" y="1793834"/>
                  <a:pt x="1168330" y="1792398"/>
                </a:cubicBezTo>
                <a:cubicBezTo>
                  <a:pt x="1168330" y="1791248"/>
                  <a:pt x="1168038" y="1790387"/>
                  <a:pt x="1167600" y="1789525"/>
                </a:cubicBezTo>
                <a:cubicBezTo>
                  <a:pt x="1167016" y="1788663"/>
                  <a:pt x="1166431" y="1788088"/>
                  <a:pt x="1165701" y="1787657"/>
                </a:cubicBezTo>
                <a:cubicBezTo>
                  <a:pt x="1164824" y="1787370"/>
                  <a:pt x="1163801" y="1786939"/>
                  <a:pt x="1162487" y="1786939"/>
                </a:cubicBezTo>
                <a:cubicBezTo>
                  <a:pt x="1162048" y="1786939"/>
                  <a:pt x="1159857" y="1786939"/>
                  <a:pt x="1156058" y="1786939"/>
                </a:cubicBezTo>
                <a:close/>
                <a:moveTo>
                  <a:pt x="1160587" y="1781767"/>
                </a:moveTo>
                <a:cubicBezTo>
                  <a:pt x="1163217" y="1781767"/>
                  <a:pt x="1165701" y="1782342"/>
                  <a:pt x="1168038" y="1783635"/>
                </a:cubicBezTo>
                <a:cubicBezTo>
                  <a:pt x="1170522" y="1784928"/>
                  <a:pt x="1172421" y="1786652"/>
                  <a:pt x="1173736" y="1789094"/>
                </a:cubicBezTo>
                <a:cubicBezTo>
                  <a:pt x="1175051" y="1791392"/>
                  <a:pt x="1175781" y="1793978"/>
                  <a:pt x="1175781" y="1796564"/>
                </a:cubicBezTo>
                <a:cubicBezTo>
                  <a:pt x="1175781" y="1799149"/>
                  <a:pt x="1175051" y="1801735"/>
                  <a:pt x="1173736" y="1804034"/>
                </a:cubicBezTo>
                <a:cubicBezTo>
                  <a:pt x="1172421" y="1806332"/>
                  <a:pt x="1170522" y="1808200"/>
                  <a:pt x="1168184" y="1809492"/>
                </a:cubicBezTo>
                <a:cubicBezTo>
                  <a:pt x="1165701" y="1810785"/>
                  <a:pt x="1163217" y="1811504"/>
                  <a:pt x="1160587" y="1811504"/>
                </a:cubicBezTo>
                <a:cubicBezTo>
                  <a:pt x="1157958" y="1811504"/>
                  <a:pt x="1155328" y="1810785"/>
                  <a:pt x="1152990" y="1809492"/>
                </a:cubicBezTo>
                <a:cubicBezTo>
                  <a:pt x="1150653" y="1808200"/>
                  <a:pt x="1148754" y="1806332"/>
                  <a:pt x="1147439" y="1804034"/>
                </a:cubicBezTo>
                <a:cubicBezTo>
                  <a:pt x="1146124" y="1801591"/>
                  <a:pt x="1145393" y="1799149"/>
                  <a:pt x="1145393" y="1796564"/>
                </a:cubicBezTo>
                <a:cubicBezTo>
                  <a:pt x="1145393" y="1793978"/>
                  <a:pt x="1146124" y="1791536"/>
                  <a:pt x="1147439" y="1789094"/>
                </a:cubicBezTo>
                <a:cubicBezTo>
                  <a:pt x="1148900" y="1786795"/>
                  <a:pt x="1150799" y="1784928"/>
                  <a:pt x="1153136" y="1783635"/>
                </a:cubicBezTo>
                <a:cubicBezTo>
                  <a:pt x="1155474" y="1782342"/>
                  <a:pt x="1157958" y="1781767"/>
                  <a:pt x="1160587" y="1781767"/>
                </a:cubicBezTo>
                <a:close/>
                <a:moveTo>
                  <a:pt x="1160587" y="1778176"/>
                </a:moveTo>
                <a:cubicBezTo>
                  <a:pt x="1157373" y="1778176"/>
                  <a:pt x="1154159" y="1779038"/>
                  <a:pt x="1151237" y="1780618"/>
                </a:cubicBezTo>
                <a:cubicBezTo>
                  <a:pt x="1148315" y="1782342"/>
                  <a:pt x="1145978" y="1784497"/>
                  <a:pt x="1144225" y="1787513"/>
                </a:cubicBezTo>
                <a:cubicBezTo>
                  <a:pt x="1142618" y="1790530"/>
                  <a:pt x="1141741" y="1793691"/>
                  <a:pt x="1141741" y="1796851"/>
                </a:cubicBezTo>
                <a:cubicBezTo>
                  <a:pt x="1141741" y="1800011"/>
                  <a:pt x="1142618" y="1803172"/>
                  <a:pt x="1144225" y="1806045"/>
                </a:cubicBezTo>
                <a:cubicBezTo>
                  <a:pt x="1145978" y="1809061"/>
                  <a:pt x="1148315" y="1811360"/>
                  <a:pt x="1151237" y="1812940"/>
                </a:cubicBezTo>
                <a:cubicBezTo>
                  <a:pt x="1154159" y="1814520"/>
                  <a:pt x="1157373" y="1815382"/>
                  <a:pt x="1160587" y="1815382"/>
                </a:cubicBezTo>
                <a:cubicBezTo>
                  <a:pt x="1163801" y="1815382"/>
                  <a:pt x="1167016" y="1814520"/>
                  <a:pt x="1169937" y="1812940"/>
                </a:cubicBezTo>
                <a:cubicBezTo>
                  <a:pt x="1173005" y="1811216"/>
                  <a:pt x="1175343" y="1808918"/>
                  <a:pt x="1176950" y="1806045"/>
                </a:cubicBezTo>
                <a:cubicBezTo>
                  <a:pt x="1178557" y="1803172"/>
                  <a:pt x="1179434" y="1800155"/>
                  <a:pt x="1179434" y="1796851"/>
                </a:cubicBezTo>
                <a:cubicBezTo>
                  <a:pt x="1179434" y="1793547"/>
                  <a:pt x="1178703" y="1790530"/>
                  <a:pt x="1176950" y="1787513"/>
                </a:cubicBezTo>
                <a:cubicBezTo>
                  <a:pt x="1175197" y="1784497"/>
                  <a:pt x="1172859" y="1782198"/>
                  <a:pt x="1169937" y="1780618"/>
                </a:cubicBezTo>
                <a:cubicBezTo>
                  <a:pt x="1166869" y="1779038"/>
                  <a:pt x="1163801" y="1778176"/>
                  <a:pt x="1160587" y="1778176"/>
                </a:cubicBezTo>
                <a:close/>
                <a:moveTo>
                  <a:pt x="615651" y="1524915"/>
                </a:moveTo>
                <a:lnTo>
                  <a:pt x="615505" y="1525059"/>
                </a:lnTo>
                <a:cubicBezTo>
                  <a:pt x="534130" y="1525059"/>
                  <a:pt x="468095" y="1589990"/>
                  <a:pt x="468095" y="1670005"/>
                </a:cubicBezTo>
                <a:cubicBezTo>
                  <a:pt x="468095" y="1750020"/>
                  <a:pt x="534276" y="1814808"/>
                  <a:pt x="615651" y="1814808"/>
                </a:cubicBezTo>
                <a:cubicBezTo>
                  <a:pt x="697027" y="1814808"/>
                  <a:pt x="763062" y="1749876"/>
                  <a:pt x="763062" y="1669861"/>
                </a:cubicBezTo>
                <a:cubicBezTo>
                  <a:pt x="763062" y="1589846"/>
                  <a:pt x="697027" y="1524915"/>
                  <a:pt x="615651" y="1524915"/>
                </a:cubicBezTo>
                <a:close/>
                <a:moveTo>
                  <a:pt x="614829" y="1115180"/>
                </a:moveTo>
                <a:cubicBezTo>
                  <a:pt x="577118" y="1115180"/>
                  <a:pt x="539389" y="1129365"/>
                  <a:pt x="510609" y="1157737"/>
                </a:cubicBezTo>
                <a:cubicBezTo>
                  <a:pt x="452901" y="1214337"/>
                  <a:pt x="452901" y="1306131"/>
                  <a:pt x="510609" y="1362731"/>
                </a:cubicBezTo>
                <a:cubicBezTo>
                  <a:pt x="568170" y="1419330"/>
                  <a:pt x="661525" y="1419330"/>
                  <a:pt x="719087" y="1362731"/>
                </a:cubicBezTo>
                <a:cubicBezTo>
                  <a:pt x="776649" y="1306131"/>
                  <a:pt x="870004" y="1306131"/>
                  <a:pt x="927711" y="1362731"/>
                </a:cubicBezTo>
                <a:cubicBezTo>
                  <a:pt x="985273" y="1419330"/>
                  <a:pt x="985273" y="1511125"/>
                  <a:pt x="927711" y="1567868"/>
                </a:cubicBezTo>
                <a:cubicBezTo>
                  <a:pt x="870150" y="1624467"/>
                  <a:pt x="870150" y="1716262"/>
                  <a:pt x="927711" y="1772862"/>
                </a:cubicBezTo>
                <a:cubicBezTo>
                  <a:pt x="985273" y="1829461"/>
                  <a:pt x="1078628" y="1829461"/>
                  <a:pt x="1136336" y="1772862"/>
                </a:cubicBezTo>
                <a:cubicBezTo>
                  <a:pt x="1193897" y="1716262"/>
                  <a:pt x="1193897" y="1624467"/>
                  <a:pt x="1136336" y="1567868"/>
                </a:cubicBezTo>
                <a:cubicBezTo>
                  <a:pt x="1079066" y="1510838"/>
                  <a:pt x="1079066" y="1419043"/>
                  <a:pt x="1136336" y="1362731"/>
                </a:cubicBezTo>
                <a:lnTo>
                  <a:pt x="1136190" y="1362731"/>
                </a:lnTo>
                <a:cubicBezTo>
                  <a:pt x="1193751" y="1306131"/>
                  <a:pt x="1193751" y="1214337"/>
                  <a:pt x="1136190" y="1157737"/>
                </a:cubicBezTo>
                <a:cubicBezTo>
                  <a:pt x="1078628" y="1101138"/>
                  <a:pt x="985273" y="1101138"/>
                  <a:pt x="927565" y="1157737"/>
                </a:cubicBezTo>
                <a:cubicBezTo>
                  <a:pt x="870004" y="1214337"/>
                  <a:pt x="776649" y="1214337"/>
                  <a:pt x="718941" y="1157737"/>
                </a:cubicBezTo>
                <a:cubicBezTo>
                  <a:pt x="690233" y="1129365"/>
                  <a:pt x="652540" y="1115180"/>
                  <a:pt x="614829" y="1115180"/>
                </a:cubicBezTo>
                <a:close/>
                <a:moveTo>
                  <a:pt x="0" y="0"/>
                </a:moveTo>
                <a:lnTo>
                  <a:pt x="4975371" y="0"/>
                </a:lnTo>
                <a:cubicBezTo>
                  <a:pt x="5152047" y="0"/>
                  <a:pt x="5295272" y="146393"/>
                  <a:pt x="5295272" y="326976"/>
                </a:cubicBezTo>
                <a:lnTo>
                  <a:pt x="5295272" y="2672256"/>
                </a:lnTo>
                <a:cubicBezTo>
                  <a:pt x="5295272" y="2852839"/>
                  <a:pt x="5152047" y="2999232"/>
                  <a:pt x="4975371" y="2999232"/>
                </a:cubicBezTo>
                <a:lnTo>
                  <a:pt x="0" y="2999232"/>
                </a:lnTo>
                <a:close/>
              </a:path>
            </a:pathLst>
          </a:custGeom>
          <a:solidFill>
            <a:schemeClr val="bg1">
              <a:alpha val="8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wrap="square" anchor="ctr" anchorCtr="0">
            <a:noAutofit/>
          </a:bodyPr>
          <a:lstStyle>
            <a:lvl1pPr marL="1508760" algn="l">
              <a:lnSpc>
                <a:spcPct val="85000"/>
              </a:lnSpc>
              <a:defRPr kumimoji="0" lang="en-US" sz="2800" b="1" i="0" u="none" strike="noStrike" cap="none" spc="0" normalizeH="0" baseline="0" dirty="0">
                <a:ln>
                  <a:noFill/>
                </a:ln>
                <a:solidFill>
                  <a:schemeClr val="tx2"/>
                </a:solidFill>
                <a:effectLst/>
                <a:uFillTx/>
                <a:latin typeface="Raleway" panose="020B0503030101060003" pitchFamily="34" charset="77"/>
                <a:ea typeface="Raleway" panose="020B0503030101060003" pitchFamily="34" charset="77"/>
                <a:cs typeface="Arial"/>
                <a:sym typeface="Arial"/>
              </a:defRPr>
            </a:lvl1pPr>
          </a:lstStyle>
          <a:p>
            <a:r>
              <a:rPr lang="en-US"/>
              <a:t>Click To Edit Title</a:t>
            </a:r>
          </a:p>
        </p:txBody>
      </p:sp>
      <p:sp>
        <p:nvSpPr>
          <p:cNvPr id="7" name="Footer Placeholder 6">
            <a:extLst>
              <a:ext uri="{FF2B5EF4-FFF2-40B4-BE49-F238E27FC236}">
                <a16:creationId xmlns:a16="http://schemas.microsoft.com/office/drawing/2014/main" id="{5A14651F-5B90-6D48-B155-7C269311F86A}"/>
              </a:ext>
            </a:extLst>
          </p:cNvPr>
          <p:cNvSpPr>
            <a:spLocks noGrp="1"/>
          </p:cNvSpPr>
          <p:nvPr>
            <p:ph type="ftr" sz="quarter" idx="15"/>
          </p:nvPr>
        </p:nvSpPr>
        <p:spPr/>
        <p:txBody>
          <a:bodyPr/>
          <a:lstStyle>
            <a:lvl1pPr>
              <a:defRPr>
                <a:solidFill>
                  <a:schemeClr val="bg1"/>
                </a:solidFill>
              </a:defRPr>
            </a:lvl1pPr>
          </a:lstStyle>
          <a:p>
            <a:r>
              <a:rPr lang="en-US" dirty="0"/>
              <a:t>Proprietary &amp; Confidential: Not for Distribution.</a:t>
            </a:r>
          </a:p>
        </p:txBody>
      </p:sp>
      <p:sp>
        <p:nvSpPr>
          <p:cNvPr id="9" name="Slide Number Placeholder 8">
            <a:extLst>
              <a:ext uri="{FF2B5EF4-FFF2-40B4-BE49-F238E27FC236}">
                <a16:creationId xmlns:a16="http://schemas.microsoft.com/office/drawing/2014/main" id="{4D81579E-2BE4-E4A1-C61E-DA9EEED954B6}"/>
              </a:ext>
            </a:extLst>
          </p:cNvPr>
          <p:cNvSpPr>
            <a:spLocks noGrp="1"/>
          </p:cNvSpPr>
          <p:nvPr>
            <p:ph type="sldNum" sz="quarter" idx="16"/>
          </p:nvPr>
        </p:nvSpPr>
        <p:spPr/>
        <p:txBody>
          <a:bodyPr/>
          <a:lstStyle/>
          <a:p>
            <a:fld id="{86CB4B4D-7CA3-9044-876B-883B54F8677D}" type="slidenum">
              <a:rPr lang="en-US" smtClean="0"/>
              <a:pPr/>
              <a:t>‹#›</a:t>
            </a:fld>
            <a:endParaRPr lang="en-US" dirty="0"/>
          </a:p>
        </p:txBody>
      </p:sp>
      <p:sp>
        <p:nvSpPr>
          <p:cNvPr id="10" name="Freeform 9">
            <a:extLst>
              <a:ext uri="{FF2B5EF4-FFF2-40B4-BE49-F238E27FC236}">
                <a16:creationId xmlns:a16="http://schemas.microsoft.com/office/drawing/2014/main" id="{9CF0D29E-B890-3988-F336-F8E0876FEE0C}"/>
              </a:ext>
            </a:extLst>
          </p:cNvPr>
          <p:cNvSpPr/>
          <p:nvPr userDrawn="1"/>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25">
            <a:extLst>
              <a:ext uri="{FF2B5EF4-FFF2-40B4-BE49-F238E27FC236}">
                <a16:creationId xmlns:a16="http://schemas.microsoft.com/office/drawing/2014/main" id="{A01D1284-8FE1-0032-FA28-81D4392A934B}"/>
              </a:ext>
            </a:extLst>
          </p:cNvPr>
          <p:cNvSpPr/>
          <p:nvPr/>
        </p:nvSpPr>
        <p:spPr>
          <a:xfrm>
            <a:off x="456942" y="3044600"/>
            <a:ext cx="3922954" cy="700167"/>
          </a:xfrm>
          <a:custGeom>
            <a:avLst/>
            <a:gdLst>
              <a:gd name="connsiteX0" fmla="*/ 0 w 3922954"/>
              <a:gd name="connsiteY0" fmla="*/ 0 h 700167"/>
              <a:gd name="connsiteX1" fmla="*/ 3922955 w 3922954"/>
              <a:gd name="connsiteY1" fmla="*/ 0 h 700167"/>
              <a:gd name="connsiteX2" fmla="*/ 3922955 w 3922954"/>
              <a:gd name="connsiteY2" fmla="*/ 700167 h 700167"/>
              <a:gd name="connsiteX3" fmla="*/ 0 w 3922954"/>
              <a:gd name="connsiteY3" fmla="*/ 700167 h 700167"/>
            </a:gdLst>
            <a:ahLst/>
            <a:cxnLst>
              <a:cxn ang="0">
                <a:pos x="connsiteX0" y="connsiteY0"/>
              </a:cxn>
              <a:cxn ang="0">
                <a:pos x="connsiteX1" y="connsiteY1"/>
              </a:cxn>
              <a:cxn ang="0">
                <a:pos x="connsiteX2" y="connsiteY2"/>
              </a:cxn>
              <a:cxn ang="0">
                <a:pos x="connsiteX3" y="connsiteY3"/>
              </a:cxn>
            </a:cxnLst>
            <a:rect l="l" t="t" r="r" b="b"/>
            <a:pathLst>
              <a:path w="3922954" h="700167">
                <a:moveTo>
                  <a:pt x="0" y="0"/>
                </a:moveTo>
                <a:lnTo>
                  <a:pt x="3922955" y="0"/>
                </a:lnTo>
                <a:lnTo>
                  <a:pt x="3922955" y="700167"/>
                </a:lnTo>
                <a:lnTo>
                  <a:pt x="0" y="700167"/>
                </a:lnTo>
                <a:close/>
              </a:path>
            </a:pathLst>
          </a:custGeom>
          <a:noFill/>
          <a:ln w="3045" cap="flat">
            <a:noFill/>
            <a:prstDash val="solid"/>
            <a:miter/>
          </a:ln>
        </p:spPr>
        <p:txBody>
          <a:bodyPr rtlCol="0" anchor="ctr"/>
          <a:lstStyle/>
          <a:p>
            <a:endParaRPr lang="en-US" dirty="0"/>
          </a:p>
        </p:txBody>
      </p:sp>
      <p:pic>
        <p:nvPicPr>
          <p:cNvPr id="12" name="Picture 6">
            <a:extLst>
              <a:ext uri="{FF2B5EF4-FFF2-40B4-BE49-F238E27FC236}">
                <a16:creationId xmlns:a16="http://schemas.microsoft.com/office/drawing/2014/main" id="{C7D31966-4AC7-95B3-B891-2CA626F83B90}"/>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 r="79146"/>
          <a:stretch/>
        </p:blipFill>
        <p:spPr>
          <a:xfrm>
            <a:off x="456942" y="3044600"/>
            <a:ext cx="819634" cy="703902"/>
          </a:xfrm>
          <a:prstGeom prst="rect">
            <a:avLst/>
          </a:prstGeom>
        </p:spPr>
      </p:pic>
      <p:sp>
        <p:nvSpPr>
          <p:cNvPr id="3" name="Text Placeholder 4">
            <a:extLst>
              <a:ext uri="{FF2B5EF4-FFF2-40B4-BE49-F238E27FC236}">
                <a16:creationId xmlns:a16="http://schemas.microsoft.com/office/drawing/2014/main" id="{F750D489-EE04-46D3-0BA9-3FC2F9E02EEB}"/>
              </a:ext>
            </a:extLst>
          </p:cNvPr>
          <p:cNvSpPr>
            <a:spLocks noGrp="1"/>
          </p:cNvSpPr>
          <p:nvPr>
            <p:ph type="body" sz="quarter" idx="18"/>
          </p:nvPr>
        </p:nvSpPr>
        <p:spPr>
          <a:xfrm>
            <a:off x="1554163" y="3602736"/>
            <a:ext cx="3607117" cy="415925"/>
          </a:xfrm>
        </p:spPr>
        <p:txBody>
          <a:bodyPr/>
          <a:lstStyle>
            <a:lvl1pPr marL="0" indent="0">
              <a:lnSpc>
                <a:spcPct val="90000"/>
              </a:lnSpc>
              <a:buNone/>
              <a:defRPr cap="all" baseline="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398160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3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Key Takeaway-D-One-Major-Takeaway-Blue Bkgd">
    <p:bg>
      <p:bgPr>
        <a:solidFill>
          <a:schemeClr val="tx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CBBF99A-4798-0835-BE69-5A43E945DB36}"/>
              </a:ext>
            </a:extLst>
          </p:cNvPr>
          <p:cNvGraphicFramePr>
            <a:graphicFrameLocks noChangeAspect="1"/>
          </p:cNvGraphicFramePr>
          <p:nvPr>
            <p:custDataLst>
              <p:tags r:id="rId1"/>
            </p:custDataLst>
            <p:extLst>
              <p:ext uri="{D42A27DB-BD31-4B8C-83A1-F6EECF244321}">
                <p14:modId xmlns:p14="http://schemas.microsoft.com/office/powerpoint/2010/main" val="29752136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5CBBF99A-4798-0835-BE69-5A43E945DB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80CAE44E-15A0-5435-429B-3DD3BD2C5F78}"/>
              </a:ext>
            </a:extLst>
          </p:cNvPr>
          <p:cNvSpPr>
            <a:spLocks noGrp="1"/>
          </p:cNvSpPr>
          <p:nvPr>
            <p:ph type="body" sz="quarter" idx="13"/>
          </p:nvPr>
        </p:nvSpPr>
        <p:spPr>
          <a:xfrm>
            <a:off x="545123" y="694592"/>
            <a:ext cx="11421452" cy="5563333"/>
          </a:xfrm>
        </p:spPr>
        <p:txBody>
          <a:bodyPr/>
          <a:lstStyle>
            <a:lvl1pPr marL="0" indent="0">
              <a:lnSpc>
                <a:spcPct val="90000"/>
              </a:lnSpc>
              <a:spcBef>
                <a:spcPts val="0"/>
              </a:spcBef>
              <a:buNone/>
              <a:defRPr sz="6600">
                <a:solidFill>
                  <a:schemeClr val="bg1"/>
                </a:solidFill>
              </a:defRPr>
            </a:lvl1pPr>
          </a:lstStyle>
          <a:p>
            <a:pPr lvl="0"/>
            <a:r>
              <a:rPr lang="en-US"/>
              <a:t>Click to edit Master text styles</a:t>
            </a:r>
          </a:p>
        </p:txBody>
      </p:sp>
      <p:sp>
        <p:nvSpPr>
          <p:cNvPr id="10" name="Footer Placeholder 9">
            <a:extLst>
              <a:ext uri="{FF2B5EF4-FFF2-40B4-BE49-F238E27FC236}">
                <a16:creationId xmlns:a16="http://schemas.microsoft.com/office/drawing/2014/main" id="{A1B1A390-6F0B-223A-FB35-50EA27B38062}"/>
              </a:ext>
            </a:extLst>
          </p:cNvPr>
          <p:cNvSpPr>
            <a:spLocks noGrp="1"/>
          </p:cNvSpPr>
          <p:nvPr>
            <p:ph type="ftr" sz="quarter" idx="11"/>
          </p:nvPr>
        </p:nvSpPr>
        <p:spPr/>
        <p:txBody>
          <a:bodyPr/>
          <a:lstStyle/>
          <a:p>
            <a:r>
              <a:rPr lang="en-US" dirty="0"/>
              <a:t>Proprietary &amp; Confidential: Not for Distribution.</a:t>
            </a:r>
          </a:p>
        </p:txBody>
      </p:sp>
      <p:sp>
        <p:nvSpPr>
          <p:cNvPr id="11" name="Slide Number Placeholder 10">
            <a:extLst>
              <a:ext uri="{FF2B5EF4-FFF2-40B4-BE49-F238E27FC236}">
                <a16:creationId xmlns:a16="http://schemas.microsoft.com/office/drawing/2014/main" id="{08090002-83AD-2BB0-EC54-03A23D23A73D}"/>
              </a:ext>
            </a:extLst>
          </p:cNvPr>
          <p:cNvSpPr>
            <a:spLocks noGrp="1"/>
          </p:cNvSpPr>
          <p:nvPr>
            <p:ph type="sldNum" sz="quarter" idx="12"/>
          </p:nvPr>
        </p:nvSpPr>
        <p:spPr/>
        <p:txBody>
          <a:bodyPr/>
          <a:lstStyle>
            <a:lvl1pPr>
              <a:defRPr>
                <a:solidFill>
                  <a:schemeClr val="bg1"/>
                </a:solidFill>
              </a:defRPr>
            </a:lvl1pPr>
          </a:lstStyle>
          <a:p>
            <a:fld id="{86CB4B4D-7CA3-9044-876B-883B54F8677D}" type="slidenum">
              <a:rPr lang="en-US" smtClean="0"/>
              <a:pPr/>
              <a:t>‹#›</a:t>
            </a:fld>
            <a:endParaRPr lang="en-US" dirty="0"/>
          </a:p>
        </p:txBody>
      </p:sp>
      <p:pic>
        <p:nvPicPr>
          <p:cNvPr id="2" name="Picture 6">
            <a:extLst>
              <a:ext uri="{FF2B5EF4-FFF2-40B4-BE49-F238E27FC236}">
                <a16:creationId xmlns:a16="http://schemas.microsoft.com/office/drawing/2014/main" id="{996AD954-312E-1FB4-511B-858B6C665512}"/>
              </a:ext>
            </a:extLst>
          </p:cNvPr>
          <p:cNvPicPr>
            <a:picLocks noChangeAspect="1"/>
          </p:cNvPicPr>
          <p:nvPr/>
        </p:nvPicPr>
        <p:blipFill>
          <a:blip r:embed="rId6">
            <a:lum bright="100000"/>
            <a:extLst>
              <a:ext uri="{96DAC541-7B7A-43D3-8B79-37D633B846F1}">
                <asvg:svgBlip xmlns:asvg="http://schemas.microsoft.com/office/drawing/2016/SVG/main" r:embed="rId7"/>
              </a:ext>
            </a:extLst>
          </a:blip>
          <a:srcRect/>
          <a:stretch/>
        </p:blipFill>
        <p:spPr>
          <a:xfrm>
            <a:off x="10247390" y="6448208"/>
            <a:ext cx="1327409" cy="237744"/>
          </a:xfrm>
          <a:prstGeom prst="rect">
            <a:avLst/>
          </a:prstGeom>
        </p:spPr>
      </p:pic>
      <p:graphicFrame>
        <p:nvGraphicFramePr>
          <p:cNvPr id="3" name="think-cell data - do not delete" hidden="1">
            <a:extLst>
              <a:ext uri="{FF2B5EF4-FFF2-40B4-BE49-F238E27FC236}">
                <a16:creationId xmlns:a16="http://schemas.microsoft.com/office/drawing/2014/main" id="{7C86C9CD-3B13-C52A-F8D2-71B360E268D4}"/>
              </a:ext>
            </a:extLst>
          </p:cNvPr>
          <p:cNvGraphicFramePr>
            <a:graphicFrameLocks noChangeAspect="1"/>
          </p:cNvGraphicFramePr>
          <p:nvPr userDrawn="1">
            <p:custDataLst>
              <p:tags r:id="rId2"/>
            </p:custDataLst>
            <p:extLst>
              <p:ext uri="{D42A27DB-BD31-4B8C-83A1-F6EECF244321}">
                <p14:modId xmlns:p14="http://schemas.microsoft.com/office/powerpoint/2010/main" val="29752136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7C86C9CD-3B13-C52A-F8D2-71B360E268D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Picture 6">
            <a:extLst>
              <a:ext uri="{FF2B5EF4-FFF2-40B4-BE49-F238E27FC236}">
                <a16:creationId xmlns:a16="http://schemas.microsoft.com/office/drawing/2014/main" id="{1D4EDE03-276D-100E-8857-3745516E4E10}"/>
              </a:ext>
            </a:extLst>
          </p:cNvPr>
          <p:cNvPicPr>
            <a:picLocks noChangeAspect="1"/>
          </p:cNvPicPr>
          <p:nvPr userDrawn="1"/>
        </p:nvPicPr>
        <p:blipFill>
          <a:blip r:embed="rId6">
            <a:lum bright="100000"/>
            <a:extLst>
              <a:ext uri="{96DAC541-7B7A-43D3-8B79-37D633B846F1}">
                <asvg:svgBlip xmlns:asvg="http://schemas.microsoft.com/office/drawing/2016/SVG/main" r:embed="rId7"/>
              </a:ext>
            </a:extLst>
          </a:blip>
          <a:srcRect/>
          <a:stretch/>
        </p:blipFill>
        <p:spPr>
          <a:xfrm>
            <a:off x="10247390" y="6448208"/>
            <a:ext cx="1327409" cy="237744"/>
          </a:xfrm>
          <a:prstGeom prst="rect">
            <a:avLst/>
          </a:prstGeom>
        </p:spPr>
      </p:pic>
    </p:spTree>
    <p:extLst>
      <p:ext uri="{BB962C8B-B14F-4D97-AF65-F5344CB8AC3E}">
        <p14:creationId xmlns:p14="http://schemas.microsoft.com/office/powerpoint/2010/main" val="378546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Layout-14">
    <p:spTree>
      <p:nvGrpSpPr>
        <p:cNvPr id="1" name=""/>
        <p:cNvGrpSpPr/>
        <p:nvPr/>
      </p:nvGrpSpPr>
      <p:grpSpPr>
        <a:xfrm>
          <a:off x="0" y="0"/>
          <a:ext cx="0" cy="0"/>
          <a:chOff x="0" y="0"/>
          <a:chExt cx="0" cy="0"/>
        </a:xfrm>
      </p:grpSpPr>
      <p:sp>
        <p:nvSpPr>
          <p:cNvPr id="202" name="Picture Placeholder 4"/>
          <p:cNvSpPr>
            <a:spLocks noGrp="1"/>
          </p:cNvSpPr>
          <p:nvPr>
            <p:ph type="pic" sz="half" idx="21"/>
          </p:nvPr>
        </p:nvSpPr>
        <p:spPr>
          <a:xfrm>
            <a:off x="0" y="0"/>
            <a:ext cx="3385655" cy="6858000"/>
          </a:xfrm>
          <a:prstGeom prst="rect">
            <a:avLst/>
          </a:prstGeom>
        </p:spPr>
        <p:txBody>
          <a:bodyPr lIns="91439" rIns="91439">
            <a:noAutofit/>
          </a:bodyPr>
          <a:lstStyle/>
          <a:p>
            <a:r>
              <a:rPr lang="en-US" dirty="0"/>
              <a:t>Click icon to add picture</a:t>
            </a:r>
            <a:endParaRPr dirty="0"/>
          </a:p>
        </p:txBody>
      </p:sp>
      <p:sp>
        <p:nvSpPr>
          <p:cNvPr id="5" name="Footer Placeholder 4">
            <a:extLst>
              <a:ext uri="{FF2B5EF4-FFF2-40B4-BE49-F238E27FC236}">
                <a16:creationId xmlns:a16="http://schemas.microsoft.com/office/drawing/2014/main" id="{9EA04D4B-3014-D00F-2C06-4B5F5B5A62E7}"/>
              </a:ext>
            </a:extLst>
          </p:cNvPr>
          <p:cNvSpPr>
            <a:spLocks noGrp="1"/>
          </p:cNvSpPr>
          <p:nvPr>
            <p:ph type="ftr" sz="quarter" idx="23"/>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51896E6C-72A9-3A9A-D8BE-1F2E8EE87417}"/>
              </a:ext>
            </a:extLst>
          </p:cNvPr>
          <p:cNvSpPr>
            <a:spLocks noGrp="1"/>
          </p:cNvSpPr>
          <p:nvPr>
            <p:ph type="sldNum" sz="quarter" idx="24"/>
          </p:nvPr>
        </p:nvSpPr>
        <p:spPr/>
        <p:txBody>
          <a:body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5584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Left-lcons-2-columns-Text">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CF4B5551-9F93-50BA-E2B8-C1E4ECB0D3C9}"/>
              </a:ext>
            </a:extLst>
          </p:cNvPr>
          <p:cNvGraphicFramePr>
            <a:graphicFrameLocks noChangeAspect="1"/>
          </p:cNvGraphicFramePr>
          <p:nvPr userDrawn="1">
            <p:custDataLst>
              <p:tags r:id="rId1"/>
            </p:custDataLst>
            <p:extLst>
              <p:ext uri="{D42A27DB-BD31-4B8C-83A1-F6EECF244321}">
                <p14:modId xmlns:p14="http://schemas.microsoft.com/office/powerpoint/2010/main" val="988457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2" name="think-cell data - do not delete" hidden="1">
                        <a:extLst>
                          <a:ext uri="{FF2B5EF4-FFF2-40B4-BE49-F238E27FC236}">
                            <a16:creationId xmlns:a16="http://schemas.microsoft.com/office/drawing/2014/main" id="{CF4B5551-9F93-50BA-E2B8-C1E4ECB0D3C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2" name="Picture Placeholder 4"/>
          <p:cNvSpPr>
            <a:spLocks noGrp="1"/>
          </p:cNvSpPr>
          <p:nvPr>
            <p:ph type="pic" sz="half" idx="21"/>
          </p:nvPr>
        </p:nvSpPr>
        <p:spPr>
          <a:xfrm>
            <a:off x="0" y="0"/>
            <a:ext cx="3385655" cy="6858000"/>
          </a:xfrm>
          <a:prstGeom prst="rect">
            <a:avLst/>
          </a:prstGeom>
          <a:solidFill>
            <a:schemeClr val="bg2"/>
          </a:solidFill>
        </p:spPr>
        <p:txBody>
          <a:bodyPr lIns="91439" rIns="91439">
            <a:noAutofit/>
          </a:bodyPr>
          <a:lstStyle/>
          <a:p>
            <a:r>
              <a:rPr lang="en-US" dirty="0"/>
              <a:t>Click icon to add picture</a:t>
            </a:r>
            <a:endParaRPr dirty="0"/>
          </a:p>
        </p:txBody>
      </p:sp>
      <p:sp>
        <p:nvSpPr>
          <p:cNvPr id="48" name="Text Placeholder 40">
            <a:extLst>
              <a:ext uri="{FF2B5EF4-FFF2-40B4-BE49-F238E27FC236}">
                <a16:creationId xmlns:a16="http://schemas.microsoft.com/office/drawing/2014/main" id="{82A1AEFA-415A-10E1-CD2A-A73CB08F4FD8}"/>
              </a:ext>
            </a:extLst>
          </p:cNvPr>
          <p:cNvSpPr>
            <a:spLocks noGrp="1"/>
          </p:cNvSpPr>
          <p:nvPr>
            <p:ph type="body" sz="quarter" idx="34"/>
          </p:nvPr>
        </p:nvSpPr>
        <p:spPr>
          <a:xfrm>
            <a:off x="8565871" y="3000648"/>
            <a:ext cx="3127688" cy="3023633"/>
          </a:xfrm>
        </p:spPr>
        <p:txBody>
          <a:bodyPr/>
          <a:lstStyle>
            <a:lvl1pPr marL="0" indent="0">
              <a:lnSpc>
                <a:spcPct val="150000"/>
              </a:lnSpc>
              <a:spcBef>
                <a:spcPts val="100"/>
              </a:spcBef>
              <a:buNone/>
              <a:defRPr>
                <a:solidFill>
                  <a:schemeClr val="accent3"/>
                </a:solidFill>
              </a:defRPr>
            </a:lvl1pPr>
            <a:lvl2pPr marL="182880" indent="0">
              <a:spcBef>
                <a:spcPts val="100"/>
              </a:spcBef>
              <a:buNone/>
              <a:defRPr/>
            </a:lvl2pPr>
            <a:lvl3pPr marL="365760" indent="0">
              <a:spcBef>
                <a:spcPts val="100"/>
              </a:spcBef>
              <a:buNone/>
              <a:defRPr/>
            </a:lvl3pPr>
          </a:lstStyle>
          <a:p>
            <a:pPr lvl="0"/>
            <a:r>
              <a:rPr lang="en-US"/>
              <a:t>Click to edit Master text styles</a:t>
            </a:r>
          </a:p>
        </p:txBody>
      </p:sp>
      <p:sp>
        <p:nvSpPr>
          <p:cNvPr id="39" name="Text Placeholder 38">
            <a:extLst>
              <a:ext uri="{FF2B5EF4-FFF2-40B4-BE49-F238E27FC236}">
                <a16:creationId xmlns:a16="http://schemas.microsoft.com/office/drawing/2014/main" id="{A9304B95-CEF1-E790-AE19-0473704A9949}"/>
              </a:ext>
            </a:extLst>
          </p:cNvPr>
          <p:cNvSpPr>
            <a:spLocks noGrp="1"/>
          </p:cNvSpPr>
          <p:nvPr>
            <p:ph type="body" sz="quarter" idx="28"/>
          </p:nvPr>
        </p:nvSpPr>
        <p:spPr>
          <a:xfrm>
            <a:off x="4369610" y="526673"/>
            <a:ext cx="3385616" cy="515938"/>
          </a:xfrm>
        </p:spPr>
        <p:txBody>
          <a:bodyPr anchor="b" anchorCtr="0"/>
          <a:lstStyle>
            <a:lvl1pPr marL="0" indent="0">
              <a:buNone/>
              <a:defRPr b="1">
                <a:solidFill>
                  <a:schemeClr val="tx2"/>
                </a:solidFill>
              </a:defRPr>
            </a:lvl1pPr>
          </a:lstStyle>
          <a:p>
            <a:pPr lvl="0"/>
            <a:r>
              <a:rPr lang="en-US"/>
              <a:t>Click to edit Master text styles</a:t>
            </a:r>
          </a:p>
        </p:txBody>
      </p:sp>
      <p:sp>
        <p:nvSpPr>
          <p:cNvPr id="42" name="Text Placeholder 38">
            <a:extLst>
              <a:ext uri="{FF2B5EF4-FFF2-40B4-BE49-F238E27FC236}">
                <a16:creationId xmlns:a16="http://schemas.microsoft.com/office/drawing/2014/main" id="{2112CB32-2EF8-2142-E6B7-847C2637D3C8}"/>
              </a:ext>
            </a:extLst>
          </p:cNvPr>
          <p:cNvSpPr>
            <a:spLocks noGrp="1"/>
          </p:cNvSpPr>
          <p:nvPr>
            <p:ph type="body" sz="quarter" idx="30"/>
          </p:nvPr>
        </p:nvSpPr>
        <p:spPr>
          <a:xfrm>
            <a:off x="4369610" y="2333958"/>
            <a:ext cx="3385616" cy="515938"/>
          </a:xfrm>
        </p:spPr>
        <p:txBody>
          <a:bodyPr anchor="b" anchorCtr="0"/>
          <a:lstStyle>
            <a:lvl1pPr marL="0" indent="0">
              <a:buNone/>
              <a:defRPr b="1">
                <a:solidFill>
                  <a:schemeClr val="tx2"/>
                </a:solidFill>
              </a:defRPr>
            </a:lvl1pPr>
          </a:lstStyle>
          <a:p>
            <a:pPr lvl="0"/>
            <a:r>
              <a:rPr lang="en-US"/>
              <a:t>Click to edit Master text styles</a:t>
            </a:r>
          </a:p>
        </p:txBody>
      </p:sp>
      <p:sp>
        <p:nvSpPr>
          <p:cNvPr id="43" name="Text Placeholder 40">
            <a:extLst>
              <a:ext uri="{FF2B5EF4-FFF2-40B4-BE49-F238E27FC236}">
                <a16:creationId xmlns:a16="http://schemas.microsoft.com/office/drawing/2014/main" id="{0CD70483-A0CA-641A-02EF-1B72354ED7F6}"/>
              </a:ext>
            </a:extLst>
          </p:cNvPr>
          <p:cNvSpPr>
            <a:spLocks noGrp="1"/>
          </p:cNvSpPr>
          <p:nvPr>
            <p:ph type="body" sz="quarter" idx="31"/>
          </p:nvPr>
        </p:nvSpPr>
        <p:spPr>
          <a:xfrm>
            <a:off x="4370388" y="2914588"/>
            <a:ext cx="3384550" cy="1424760"/>
          </a:xfrm>
        </p:spPr>
        <p:txBody>
          <a:bodyPr/>
          <a:lstStyle>
            <a:lvl1pPr>
              <a:lnSpc>
                <a:spcPct val="110000"/>
              </a:lnSpc>
              <a:spcBef>
                <a:spcPts val="0"/>
              </a:spcBef>
              <a:defRPr/>
            </a:lvl1pPr>
            <a:lvl2pPr>
              <a:lnSpc>
                <a:spcPct val="110000"/>
              </a:lnSpc>
              <a:spcBef>
                <a:spcPts val="0"/>
              </a:spcBef>
              <a:defRPr/>
            </a:lvl2pPr>
            <a:lvl3pPr marL="365760" indent="0">
              <a:spcBef>
                <a:spcPts val="100"/>
              </a:spcBef>
              <a:buNone/>
              <a:defRPr/>
            </a:lvl3pPr>
          </a:lstStyle>
          <a:p>
            <a:pPr lvl="0"/>
            <a:r>
              <a:rPr lang="en-US"/>
              <a:t>Click to edit Master text styles</a:t>
            </a:r>
          </a:p>
          <a:p>
            <a:pPr lvl="1"/>
            <a:r>
              <a:rPr lang="en-US"/>
              <a:t>Second level</a:t>
            </a:r>
          </a:p>
        </p:txBody>
      </p:sp>
      <p:sp>
        <p:nvSpPr>
          <p:cNvPr id="35" name="Picture Placeholder 34">
            <a:extLst>
              <a:ext uri="{FF2B5EF4-FFF2-40B4-BE49-F238E27FC236}">
                <a16:creationId xmlns:a16="http://schemas.microsoft.com/office/drawing/2014/main" id="{C04976C8-C0EA-8608-E03E-C4F22733B179}"/>
              </a:ext>
            </a:extLst>
          </p:cNvPr>
          <p:cNvSpPr>
            <a:spLocks noGrp="1"/>
          </p:cNvSpPr>
          <p:nvPr>
            <p:ph type="pic" sz="quarter" idx="25"/>
          </p:nvPr>
        </p:nvSpPr>
        <p:spPr>
          <a:xfrm>
            <a:off x="2833288" y="885664"/>
            <a:ext cx="1112196" cy="1112196"/>
          </a:xfrm>
          <a:custGeom>
            <a:avLst/>
            <a:gdLst>
              <a:gd name="connsiteX0" fmla="*/ 556098 w 1112196"/>
              <a:gd name="connsiteY0" fmla="*/ 0 h 1112196"/>
              <a:gd name="connsiteX1" fmla="*/ 1112196 w 1112196"/>
              <a:gd name="connsiteY1" fmla="*/ 556098 h 1112196"/>
              <a:gd name="connsiteX2" fmla="*/ 556098 w 1112196"/>
              <a:gd name="connsiteY2" fmla="*/ 1112196 h 1112196"/>
              <a:gd name="connsiteX3" fmla="*/ 0 w 1112196"/>
              <a:gd name="connsiteY3" fmla="*/ 556098 h 1112196"/>
              <a:gd name="connsiteX4" fmla="*/ 556098 w 1112196"/>
              <a:gd name="connsiteY4" fmla="*/ 0 h 1112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96" h="1112196">
                <a:moveTo>
                  <a:pt x="556098" y="0"/>
                </a:moveTo>
                <a:cubicBezTo>
                  <a:pt x="863222" y="0"/>
                  <a:pt x="1112196" y="248974"/>
                  <a:pt x="1112196" y="556098"/>
                </a:cubicBezTo>
                <a:cubicBezTo>
                  <a:pt x="1112196" y="863222"/>
                  <a:pt x="863222" y="1112196"/>
                  <a:pt x="556098" y="1112196"/>
                </a:cubicBezTo>
                <a:cubicBezTo>
                  <a:pt x="248974" y="1112196"/>
                  <a:pt x="0" y="863222"/>
                  <a:pt x="0" y="556098"/>
                </a:cubicBezTo>
                <a:cubicBezTo>
                  <a:pt x="0" y="248974"/>
                  <a:pt x="248974" y="0"/>
                  <a:pt x="556098" y="0"/>
                </a:cubicBezTo>
                <a:close/>
              </a:path>
            </a:pathLst>
          </a:custGeom>
          <a:solidFill>
            <a:schemeClr val="accent5"/>
          </a:solidFill>
          <a:ln w="57150">
            <a:solidFill>
              <a:schemeClr val="bg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36" name="Picture Placeholder 35">
            <a:extLst>
              <a:ext uri="{FF2B5EF4-FFF2-40B4-BE49-F238E27FC236}">
                <a16:creationId xmlns:a16="http://schemas.microsoft.com/office/drawing/2014/main" id="{E0A5CDAF-762D-C59B-C3B1-2B76A91139AB}"/>
              </a:ext>
            </a:extLst>
          </p:cNvPr>
          <p:cNvSpPr>
            <a:spLocks noGrp="1"/>
          </p:cNvSpPr>
          <p:nvPr>
            <p:ph type="pic" sz="quarter" idx="26"/>
          </p:nvPr>
        </p:nvSpPr>
        <p:spPr>
          <a:xfrm>
            <a:off x="2833288" y="2574615"/>
            <a:ext cx="1112196" cy="1112196"/>
          </a:xfrm>
          <a:custGeom>
            <a:avLst/>
            <a:gdLst>
              <a:gd name="connsiteX0" fmla="*/ 556098 w 1112196"/>
              <a:gd name="connsiteY0" fmla="*/ 0 h 1112196"/>
              <a:gd name="connsiteX1" fmla="*/ 1112196 w 1112196"/>
              <a:gd name="connsiteY1" fmla="*/ 556098 h 1112196"/>
              <a:gd name="connsiteX2" fmla="*/ 556098 w 1112196"/>
              <a:gd name="connsiteY2" fmla="*/ 1112196 h 1112196"/>
              <a:gd name="connsiteX3" fmla="*/ 0 w 1112196"/>
              <a:gd name="connsiteY3" fmla="*/ 556098 h 1112196"/>
              <a:gd name="connsiteX4" fmla="*/ 556098 w 1112196"/>
              <a:gd name="connsiteY4" fmla="*/ 0 h 1112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96" h="1112196">
                <a:moveTo>
                  <a:pt x="556098" y="0"/>
                </a:moveTo>
                <a:cubicBezTo>
                  <a:pt x="863222" y="0"/>
                  <a:pt x="1112196" y="248974"/>
                  <a:pt x="1112196" y="556098"/>
                </a:cubicBezTo>
                <a:cubicBezTo>
                  <a:pt x="1112196" y="863222"/>
                  <a:pt x="863222" y="1112196"/>
                  <a:pt x="556098" y="1112196"/>
                </a:cubicBezTo>
                <a:cubicBezTo>
                  <a:pt x="248974" y="1112196"/>
                  <a:pt x="0" y="863222"/>
                  <a:pt x="0" y="556098"/>
                </a:cubicBezTo>
                <a:cubicBezTo>
                  <a:pt x="0" y="248974"/>
                  <a:pt x="248974" y="0"/>
                  <a:pt x="556098" y="0"/>
                </a:cubicBezTo>
                <a:close/>
              </a:path>
            </a:pathLst>
          </a:custGeom>
          <a:solidFill>
            <a:schemeClr val="accent5"/>
          </a:solidFill>
          <a:ln w="57150">
            <a:solidFill>
              <a:schemeClr val="bg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37" name="Picture Placeholder 36">
            <a:extLst>
              <a:ext uri="{FF2B5EF4-FFF2-40B4-BE49-F238E27FC236}">
                <a16:creationId xmlns:a16="http://schemas.microsoft.com/office/drawing/2014/main" id="{1AAED0DD-8577-D4A6-BB9C-BBB2429A6F58}"/>
              </a:ext>
            </a:extLst>
          </p:cNvPr>
          <p:cNvSpPr>
            <a:spLocks noGrp="1"/>
          </p:cNvSpPr>
          <p:nvPr>
            <p:ph type="pic" sz="quarter" idx="27"/>
          </p:nvPr>
        </p:nvSpPr>
        <p:spPr>
          <a:xfrm>
            <a:off x="2833288" y="4478718"/>
            <a:ext cx="1112196" cy="1112196"/>
          </a:xfrm>
          <a:custGeom>
            <a:avLst/>
            <a:gdLst>
              <a:gd name="connsiteX0" fmla="*/ 556098 w 1112196"/>
              <a:gd name="connsiteY0" fmla="*/ 0 h 1112196"/>
              <a:gd name="connsiteX1" fmla="*/ 1112196 w 1112196"/>
              <a:gd name="connsiteY1" fmla="*/ 556098 h 1112196"/>
              <a:gd name="connsiteX2" fmla="*/ 556098 w 1112196"/>
              <a:gd name="connsiteY2" fmla="*/ 1112196 h 1112196"/>
              <a:gd name="connsiteX3" fmla="*/ 0 w 1112196"/>
              <a:gd name="connsiteY3" fmla="*/ 556098 h 1112196"/>
              <a:gd name="connsiteX4" fmla="*/ 556098 w 1112196"/>
              <a:gd name="connsiteY4" fmla="*/ 0 h 1112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96" h="1112196">
                <a:moveTo>
                  <a:pt x="556098" y="0"/>
                </a:moveTo>
                <a:cubicBezTo>
                  <a:pt x="863222" y="0"/>
                  <a:pt x="1112196" y="248974"/>
                  <a:pt x="1112196" y="556098"/>
                </a:cubicBezTo>
                <a:cubicBezTo>
                  <a:pt x="1112196" y="863222"/>
                  <a:pt x="863222" y="1112196"/>
                  <a:pt x="556098" y="1112196"/>
                </a:cubicBezTo>
                <a:cubicBezTo>
                  <a:pt x="248974" y="1112196"/>
                  <a:pt x="0" y="863222"/>
                  <a:pt x="0" y="556098"/>
                </a:cubicBezTo>
                <a:cubicBezTo>
                  <a:pt x="0" y="248974"/>
                  <a:pt x="248974" y="0"/>
                  <a:pt x="556098" y="0"/>
                </a:cubicBezTo>
                <a:close/>
              </a:path>
            </a:pathLst>
          </a:custGeom>
          <a:solidFill>
            <a:schemeClr val="accent5"/>
          </a:solidFill>
          <a:ln w="57150">
            <a:solidFill>
              <a:schemeClr val="bg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5" name="Footer Placeholder 4">
            <a:extLst>
              <a:ext uri="{FF2B5EF4-FFF2-40B4-BE49-F238E27FC236}">
                <a16:creationId xmlns:a16="http://schemas.microsoft.com/office/drawing/2014/main" id="{9EA04D4B-3014-D00F-2C06-4B5F5B5A62E7}"/>
              </a:ext>
            </a:extLst>
          </p:cNvPr>
          <p:cNvSpPr>
            <a:spLocks noGrp="1"/>
          </p:cNvSpPr>
          <p:nvPr>
            <p:ph type="ftr" sz="quarter" idx="23"/>
          </p:nvPr>
        </p:nvSpPr>
        <p:spPr/>
        <p:txBody>
          <a:bodyPr/>
          <a:lstStyle>
            <a:lvl1pPr>
              <a:defRPr>
                <a:solidFill>
                  <a:schemeClr val="bg1"/>
                </a:solidFill>
              </a:defRPr>
            </a:lvl1p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51896E6C-72A9-3A9A-D8BE-1F2E8EE87417}"/>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7" name="Straight Connector 10">
            <a:extLst>
              <a:ext uri="{FF2B5EF4-FFF2-40B4-BE49-F238E27FC236}">
                <a16:creationId xmlns:a16="http://schemas.microsoft.com/office/drawing/2014/main" id="{31371D21-1076-369B-643F-4AADD5396EC0}"/>
              </a:ext>
            </a:extLst>
          </p:cNvPr>
          <p:cNvSpPr/>
          <p:nvPr/>
        </p:nvSpPr>
        <p:spPr>
          <a:xfrm flipH="1">
            <a:off x="8056397" y="832419"/>
            <a:ext cx="0" cy="5415981"/>
          </a:xfrm>
          <a:prstGeom prst="line">
            <a:avLst/>
          </a:prstGeom>
          <a:ln>
            <a:solidFill>
              <a:schemeClr val="bg1">
                <a:lumMod val="50000"/>
              </a:schemeClr>
            </a:solidFill>
            <a:miter/>
          </a:ln>
        </p:spPr>
        <p:txBody>
          <a:bodyPr lIns="45719" rIns="45719"/>
          <a:lstStyle/>
          <a:p>
            <a:endParaRPr dirty="0"/>
          </a:p>
        </p:txBody>
      </p:sp>
      <p:cxnSp>
        <p:nvCxnSpPr>
          <p:cNvPr id="13" name="Straight Connector 12">
            <a:extLst>
              <a:ext uri="{FF2B5EF4-FFF2-40B4-BE49-F238E27FC236}">
                <a16:creationId xmlns:a16="http://schemas.microsoft.com/office/drawing/2014/main" id="{76A47A51-8BD5-1C68-7BCE-D291CFE09E21}"/>
              </a:ext>
            </a:extLst>
          </p:cNvPr>
          <p:cNvCxnSpPr/>
          <p:nvPr/>
        </p:nvCxnSpPr>
        <p:spPr>
          <a:xfrm>
            <a:off x="8591776" y="2687837"/>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41" name="Text Placeholder 40">
            <a:extLst>
              <a:ext uri="{FF2B5EF4-FFF2-40B4-BE49-F238E27FC236}">
                <a16:creationId xmlns:a16="http://schemas.microsoft.com/office/drawing/2014/main" id="{B988970B-879D-D26A-D047-84BF66F7E708}"/>
              </a:ext>
            </a:extLst>
          </p:cNvPr>
          <p:cNvSpPr>
            <a:spLocks noGrp="1"/>
          </p:cNvSpPr>
          <p:nvPr>
            <p:ph type="body" sz="quarter" idx="29"/>
          </p:nvPr>
        </p:nvSpPr>
        <p:spPr>
          <a:xfrm>
            <a:off x="4370388" y="1107303"/>
            <a:ext cx="3384550" cy="1424760"/>
          </a:xfrm>
        </p:spPr>
        <p:txBody>
          <a:bodyPr/>
          <a:lstStyle>
            <a:lvl1pPr>
              <a:lnSpc>
                <a:spcPct val="110000"/>
              </a:lnSpc>
              <a:spcBef>
                <a:spcPts val="0"/>
              </a:spcBef>
              <a:defRPr/>
            </a:lvl1pPr>
            <a:lvl2pPr>
              <a:lnSpc>
                <a:spcPct val="110000"/>
              </a:lnSpc>
              <a:spcBef>
                <a:spcPts val="0"/>
              </a:spcBef>
              <a:defRPr/>
            </a:lvl2pPr>
            <a:lvl3pPr marL="365760" indent="0">
              <a:spcBef>
                <a:spcPts val="100"/>
              </a:spcBef>
              <a:buNone/>
              <a:defRPr/>
            </a:lvl3pPr>
          </a:lstStyle>
          <a:p>
            <a:pPr lvl="0"/>
            <a:r>
              <a:rPr lang="en-US"/>
              <a:t>Click to edit Master text styles</a:t>
            </a:r>
          </a:p>
          <a:p>
            <a:pPr lvl="1"/>
            <a:r>
              <a:rPr lang="en-US"/>
              <a:t>Second level</a:t>
            </a:r>
          </a:p>
        </p:txBody>
      </p:sp>
      <p:sp>
        <p:nvSpPr>
          <p:cNvPr id="46" name="Text Placeholder 38">
            <a:extLst>
              <a:ext uri="{FF2B5EF4-FFF2-40B4-BE49-F238E27FC236}">
                <a16:creationId xmlns:a16="http://schemas.microsoft.com/office/drawing/2014/main" id="{3DA4D551-1F0B-B0F8-6FB8-54556D9AF6E8}"/>
              </a:ext>
            </a:extLst>
          </p:cNvPr>
          <p:cNvSpPr>
            <a:spLocks noGrp="1"/>
          </p:cNvSpPr>
          <p:nvPr>
            <p:ph type="body" sz="quarter" idx="32"/>
          </p:nvPr>
        </p:nvSpPr>
        <p:spPr>
          <a:xfrm>
            <a:off x="4369610" y="4173515"/>
            <a:ext cx="3385616" cy="515938"/>
          </a:xfrm>
        </p:spPr>
        <p:txBody>
          <a:bodyPr anchor="b" anchorCtr="0"/>
          <a:lstStyle>
            <a:lvl1pPr marL="0" indent="0">
              <a:buNone/>
              <a:defRPr b="1">
                <a:solidFill>
                  <a:schemeClr val="tx2"/>
                </a:solidFill>
              </a:defRPr>
            </a:lvl1pPr>
          </a:lstStyle>
          <a:p>
            <a:pPr lvl="0"/>
            <a:r>
              <a:rPr lang="en-US"/>
              <a:t>Click to edit Master text styles</a:t>
            </a:r>
          </a:p>
        </p:txBody>
      </p:sp>
      <p:sp>
        <p:nvSpPr>
          <p:cNvPr id="47" name="Text Placeholder 40">
            <a:extLst>
              <a:ext uri="{FF2B5EF4-FFF2-40B4-BE49-F238E27FC236}">
                <a16:creationId xmlns:a16="http://schemas.microsoft.com/office/drawing/2014/main" id="{147F8C6C-8020-89F9-C343-F78890746AE7}"/>
              </a:ext>
            </a:extLst>
          </p:cNvPr>
          <p:cNvSpPr>
            <a:spLocks noGrp="1"/>
          </p:cNvSpPr>
          <p:nvPr>
            <p:ph type="body" sz="quarter" idx="33"/>
          </p:nvPr>
        </p:nvSpPr>
        <p:spPr>
          <a:xfrm>
            <a:off x="4370388" y="4754145"/>
            <a:ext cx="3384550" cy="1424760"/>
          </a:xfrm>
        </p:spPr>
        <p:txBody>
          <a:bodyPr/>
          <a:lstStyle>
            <a:lvl1pPr>
              <a:lnSpc>
                <a:spcPct val="110000"/>
              </a:lnSpc>
              <a:spcBef>
                <a:spcPts val="0"/>
              </a:spcBef>
              <a:defRPr/>
            </a:lvl1pPr>
            <a:lvl2pPr>
              <a:lnSpc>
                <a:spcPct val="110000"/>
              </a:lnSpc>
              <a:spcBef>
                <a:spcPts val="0"/>
              </a:spcBef>
              <a:defRPr/>
            </a:lvl2pPr>
            <a:lvl3pPr marL="365760" indent="0">
              <a:spcBef>
                <a:spcPts val="100"/>
              </a:spcBef>
              <a:buNone/>
              <a:defRPr/>
            </a:lvl3pPr>
          </a:lstStyle>
          <a:p>
            <a:pPr lvl="0"/>
            <a:r>
              <a:rPr lang="en-US"/>
              <a:t>Click to edit Master text styles</a:t>
            </a:r>
          </a:p>
          <a:p>
            <a:pPr lvl="1"/>
            <a:r>
              <a:rPr lang="en-US"/>
              <a:t>Second level</a:t>
            </a:r>
          </a:p>
        </p:txBody>
      </p:sp>
      <p:sp>
        <p:nvSpPr>
          <p:cNvPr id="59" name="Content Placeholder 58">
            <a:extLst>
              <a:ext uri="{FF2B5EF4-FFF2-40B4-BE49-F238E27FC236}">
                <a16:creationId xmlns:a16="http://schemas.microsoft.com/office/drawing/2014/main" id="{AAC23A94-135C-8680-6A55-AA79891BF228}"/>
              </a:ext>
            </a:extLst>
          </p:cNvPr>
          <p:cNvSpPr>
            <a:spLocks noGrp="1"/>
          </p:cNvSpPr>
          <p:nvPr>
            <p:ph sz="quarter" idx="36"/>
          </p:nvPr>
        </p:nvSpPr>
        <p:spPr>
          <a:xfrm>
            <a:off x="8566150" y="1782763"/>
            <a:ext cx="3208338" cy="792162"/>
          </a:xfrm>
        </p:spPr>
        <p:txBody>
          <a:bodyPr anchor="b" anchorCtr="0"/>
          <a:lstStyle>
            <a:lvl1pPr marL="0" marR="0" indent="0" algn="l" defTabSz="914400" rtl="0" fontAlgn="auto" latinLnBrk="0" hangingPunct="0">
              <a:lnSpc>
                <a:spcPct val="90000"/>
              </a:lnSpc>
              <a:spcBef>
                <a:spcPts val="0"/>
              </a:spcBef>
              <a:spcAft>
                <a:spcPts val="0"/>
              </a:spcAft>
              <a:buClrTx/>
              <a:buSzTx/>
              <a:buFontTx/>
              <a:buNone/>
              <a:tabLst/>
              <a:defRPr kumimoji="0" lang="en-US" sz="2600" b="1" i="0" u="none" strike="noStrike" cap="none" spc="0" normalizeH="0" baseline="0" dirty="0" smtClean="0">
                <a:ln>
                  <a:noFill/>
                </a:ln>
                <a:solidFill>
                  <a:schemeClr val="tx2"/>
                </a:solidFill>
                <a:effectLst/>
                <a:uFillTx/>
                <a:latin typeface="Inter" panose="02000503000000020004"/>
                <a:ea typeface="Open Sans Regular"/>
                <a:cs typeface="Arial" panose="020B0604020202020204" pitchFamily="34" charset="0"/>
                <a:sym typeface="Open Sans Regular"/>
              </a:defRPr>
            </a:lvl1pPr>
          </a:lstStyle>
          <a:p>
            <a:pPr lvl="0"/>
            <a:r>
              <a:rPr lang="en-US"/>
              <a:t>Click to edit Master text styles</a:t>
            </a:r>
          </a:p>
        </p:txBody>
      </p:sp>
      <p:sp>
        <p:nvSpPr>
          <p:cNvPr id="2" name="Text Placeholder 6">
            <a:extLst>
              <a:ext uri="{FF2B5EF4-FFF2-40B4-BE49-F238E27FC236}">
                <a16:creationId xmlns:a16="http://schemas.microsoft.com/office/drawing/2014/main" id="{F2B41D5F-ACD6-4EC2-4606-01665CEE3972}"/>
              </a:ext>
            </a:extLst>
          </p:cNvPr>
          <p:cNvSpPr>
            <a:spLocks noGrp="1"/>
          </p:cNvSpPr>
          <p:nvPr>
            <p:ph type="body" sz="quarter" idx="37"/>
          </p:nvPr>
        </p:nvSpPr>
        <p:spPr>
          <a:xfrm>
            <a:off x="8565870" y="1429570"/>
            <a:ext cx="3208336"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039630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Photo-Left-lcons-2-columns-Text-no-line">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CF4B5551-9F93-50BA-E2B8-C1E4ECB0D3C9}"/>
              </a:ext>
            </a:extLst>
          </p:cNvPr>
          <p:cNvGraphicFramePr>
            <a:graphicFrameLocks noChangeAspect="1"/>
          </p:cNvGraphicFramePr>
          <p:nvPr userDrawn="1">
            <p:custDataLst>
              <p:tags r:id="rId1"/>
            </p:custDataLst>
            <p:extLst>
              <p:ext uri="{D42A27DB-BD31-4B8C-83A1-F6EECF244321}">
                <p14:modId xmlns:p14="http://schemas.microsoft.com/office/powerpoint/2010/main" val="988457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2" name="think-cell data - do not delete" hidden="1">
                        <a:extLst>
                          <a:ext uri="{FF2B5EF4-FFF2-40B4-BE49-F238E27FC236}">
                            <a16:creationId xmlns:a16="http://schemas.microsoft.com/office/drawing/2014/main" id="{CF4B5551-9F93-50BA-E2B8-C1E4ECB0D3C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2" name="Picture Placeholder 4"/>
          <p:cNvSpPr>
            <a:spLocks noGrp="1"/>
          </p:cNvSpPr>
          <p:nvPr>
            <p:ph type="pic" sz="half" idx="21"/>
          </p:nvPr>
        </p:nvSpPr>
        <p:spPr>
          <a:xfrm>
            <a:off x="0" y="0"/>
            <a:ext cx="3385655" cy="6858000"/>
          </a:xfrm>
          <a:prstGeom prst="rect">
            <a:avLst/>
          </a:prstGeom>
          <a:solidFill>
            <a:schemeClr val="bg2"/>
          </a:solidFill>
        </p:spPr>
        <p:txBody>
          <a:bodyPr lIns="91439" rIns="91439">
            <a:noAutofit/>
          </a:bodyPr>
          <a:lstStyle/>
          <a:p>
            <a:r>
              <a:rPr lang="en-US" dirty="0"/>
              <a:t>Click icon to add picture</a:t>
            </a:r>
            <a:endParaRPr dirty="0"/>
          </a:p>
        </p:txBody>
      </p:sp>
      <p:sp>
        <p:nvSpPr>
          <p:cNvPr id="48" name="Text Placeholder 40">
            <a:extLst>
              <a:ext uri="{FF2B5EF4-FFF2-40B4-BE49-F238E27FC236}">
                <a16:creationId xmlns:a16="http://schemas.microsoft.com/office/drawing/2014/main" id="{82A1AEFA-415A-10E1-CD2A-A73CB08F4FD8}"/>
              </a:ext>
            </a:extLst>
          </p:cNvPr>
          <p:cNvSpPr>
            <a:spLocks noGrp="1"/>
          </p:cNvSpPr>
          <p:nvPr>
            <p:ph type="body" sz="quarter" idx="34"/>
          </p:nvPr>
        </p:nvSpPr>
        <p:spPr>
          <a:xfrm>
            <a:off x="8565871" y="2871552"/>
            <a:ext cx="3127688" cy="3023633"/>
          </a:xfrm>
        </p:spPr>
        <p:txBody>
          <a:bodyPr/>
          <a:lstStyle>
            <a:lvl1pPr marL="0" indent="0">
              <a:lnSpc>
                <a:spcPct val="150000"/>
              </a:lnSpc>
              <a:spcBef>
                <a:spcPts val="100"/>
              </a:spcBef>
              <a:buNone/>
              <a:defRPr>
                <a:solidFill>
                  <a:schemeClr val="accent3"/>
                </a:solidFill>
              </a:defRPr>
            </a:lvl1pPr>
            <a:lvl2pPr marL="182880" indent="0">
              <a:spcBef>
                <a:spcPts val="100"/>
              </a:spcBef>
              <a:buNone/>
              <a:defRPr/>
            </a:lvl2pPr>
            <a:lvl3pPr marL="365760" indent="0">
              <a:spcBef>
                <a:spcPts val="100"/>
              </a:spcBef>
              <a:buNone/>
              <a:defRPr/>
            </a:lvl3pPr>
          </a:lstStyle>
          <a:p>
            <a:pPr lvl="0"/>
            <a:r>
              <a:rPr lang="en-US"/>
              <a:t>Click to edit Master text styles</a:t>
            </a:r>
          </a:p>
        </p:txBody>
      </p:sp>
      <p:sp>
        <p:nvSpPr>
          <p:cNvPr id="39" name="Text Placeholder 38">
            <a:extLst>
              <a:ext uri="{FF2B5EF4-FFF2-40B4-BE49-F238E27FC236}">
                <a16:creationId xmlns:a16="http://schemas.microsoft.com/office/drawing/2014/main" id="{A9304B95-CEF1-E790-AE19-0473704A9949}"/>
              </a:ext>
            </a:extLst>
          </p:cNvPr>
          <p:cNvSpPr>
            <a:spLocks noGrp="1"/>
          </p:cNvSpPr>
          <p:nvPr>
            <p:ph type="body" sz="quarter" idx="28"/>
          </p:nvPr>
        </p:nvSpPr>
        <p:spPr>
          <a:xfrm>
            <a:off x="4369610" y="526673"/>
            <a:ext cx="3385616" cy="515938"/>
          </a:xfrm>
        </p:spPr>
        <p:txBody>
          <a:bodyPr anchor="b" anchorCtr="0"/>
          <a:lstStyle>
            <a:lvl1pPr marL="0" indent="0">
              <a:buNone/>
              <a:defRPr b="1">
                <a:solidFill>
                  <a:schemeClr val="tx2"/>
                </a:solidFill>
              </a:defRPr>
            </a:lvl1pPr>
          </a:lstStyle>
          <a:p>
            <a:pPr lvl="0"/>
            <a:r>
              <a:rPr lang="en-US"/>
              <a:t>Click to edit Master text styles</a:t>
            </a:r>
          </a:p>
        </p:txBody>
      </p:sp>
      <p:sp>
        <p:nvSpPr>
          <p:cNvPr id="42" name="Text Placeholder 38">
            <a:extLst>
              <a:ext uri="{FF2B5EF4-FFF2-40B4-BE49-F238E27FC236}">
                <a16:creationId xmlns:a16="http://schemas.microsoft.com/office/drawing/2014/main" id="{2112CB32-2EF8-2142-E6B7-847C2637D3C8}"/>
              </a:ext>
            </a:extLst>
          </p:cNvPr>
          <p:cNvSpPr>
            <a:spLocks noGrp="1"/>
          </p:cNvSpPr>
          <p:nvPr>
            <p:ph type="body" sz="quarter" idx="30"/>
          </p:nvPr>
        </p:nvSpPr>
        <p:spPr>
          <a:xfrm>
            <a:off x="4369610" y="2333958"/>
            <a:ext cx="3385616" cy="515938"/>
          </a:xfrm>
        </p:spPr>
        <p:txBody>
          <a:bodyPr anchor="b" anchorCtr="0"/>
          <a:lstStyle>
            <a:lvl1pPr marL="0" indent="0">
              <a:buNone/>
              <a:defRPr b="1">
                <a:solidFill>
                  <a:schemeClr val="tx2"/>
                </a:solidFill>
              </a:defRPr>
            </a:lvl1pPr>
          </a:lstStyle>
          <a:p>
            <a:pPr lvl="0"/>
            <a:r>
              <a:rPr lang="en-US"/>
              <a:t>Click to edit Master text styles</a:t>
            </a:r>
          </a:p>
        </p:txBody>
      </p:sp>
      <p:sp>
        <p:nvSpPr>
          <p:cNvPr id="43" name="Text Placeholder 40">
            <a:extLst>
              <a:ext uri="{FF2B5EF4-FFF2-40B4-BE49-F238E27FC236}">
                <a16:creationId xmlns:a16="http://schemas.microsoft.com/office/drawing/2014/main" id="{0CD70483-A0CA-641A-02EF-1B72354ED7F6}"/>
              </a:ext>
            </a:extLst>
          </p:cNvPr>
          <p:cNvSpPr>
            <a:spLocks noGrp="1"/>
          </p:cNvSpPr>
          <p:nvPr>
            <p:ph type="body" sz="quarter" idx="31"/>
          </p:nvPr>
        </p:nvSpPr>
        <p:spPr>
          <a:xfrm>
            <a:off x="4370388" y="2914588"/>
            <a:ext cx="3384550" cy="1424760"/>
          </a:xfrm>
        </p:spPr>
        <p:txBody>
          <a:bodyPr/>
          <a:lstStyle>
            <a:lvl1pPr>
              <a:lnSpc>
                <a:spcPct val="110000"/>
              </a:lnSpc>
              <a:spcBef>
                <a:spcPts val="0"/>
              </a:spcBef>
              <a:defRPr/>
            </a:lvl1pPr>
            <a:lvl2pPr>
              <a:lnSpc>
                <a:spcPct val="110000"/>
              </a:lnSpc>
              <a:spcBef>
                <a:spcPts val="0"/>
              </a:spcBef>
              <a:defRPr/>
            </a:lvl2pPr>
            <a:lvl3pPr marL="365760" indent="0">
              <a:spcBef>
                <a:spcPts val="100"/>
              </a:spcBef>
              <a:buNone/>
              <a:defRPr/>
            </a:lvl3pPr>
          </a:lstStyle>
          <a:p>
            <a:pPr lvl="0"/>
            <a:r>
              <a:rPr lang="en-US"/>
              <a:t>Click to edit Master text styles</a:t>
            </a:r>
          </a:p>
          <a:p>
            <a:pPr lvl="1"/>
            <a:r>
              <a:rPr lang="en-US"/>
              <a:t>Second level</a:t>
            </a:r>
          </a:p>
        </p:txBody>
      </p:sp>
      <p:sp>
        <p:nvSpPr>
          <p:cNvPr id="35" name="Picture Placeholder 34">
            <a:extLst>
              <a:ext uri="{FF2B5EF4-FFF2-40B4-BE49-F238E27FC236}">
                <a16:creationId xmlns:a16="http://schemas.microsoft.com/office/drawing/2014/main" id="{C04976C8-C0EA-8608-E03E-C4F22733B179}"/>
              </a:ext>
            </a:extLst>
          </p:cNvPr>
          <p:cNvSpPr>
            <a:spLocks noGrp="1"/>
          </p:cNvSpPr>
          <p:nvPr>
            <p:ph type="pic" sz="quarter" idx="25"/>
          </p:nvPr>
        </p:nvSpPr>
        <p:spPr>
          <a:xfrm>
            <a:off x="2833288" y="885664"/>
            <a:ext cx="1112196" cy="1112196"/>
          </a:xfrm>
          <a:custGeom>
            <a:avLst/>
            <a:gdLst>
              <a:gd name="connsiteX0" fmla="*/ 556098 w 1112196"/>
              <a:gd name="connsiteY0" fmla="*/ 0 h 1112196"/>
              <a:gd name="connsiteX1" fmla="*/ 1112196 w 1112196"/>
              <a:gd name="connsiteY1" fmla="*/ 556098 h 1112196"/>
              <a:gd name="connsiteX2" fmla="*/ 556098 w 1112196"/>
              <a:gd name="connsiteY2" fmla="*/ 1112196 h 1112196"/>
              <a:gd name="connsiteX3" fmla="*/ 0 w 1112196"/>
              <a:gd name="connsiteY3" fmla="*/ 556098 h 1112196"/>
              <a:gd name="connsiteX4" fmla="*/ 556098 w 1112196"/>
              <a:gd name="connsiteY4" fmla="*/ 0 h 1112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96" h="1112196">
                <a:moveTo>
                  <a:pt x="556098" y="0"/>
                </a:moveTo>
                <a:cubicBezTo>
                  <a:pt x="863222" y="0"/>
                  <a:pt x="1112196" y="248974"/>
                  <a:pt x="1112196" y="556098"/>
                </a:cubicBezTo>
                <a:cubicBezTo>
                  <a:pt x="1112196" y="863222"/>
                  <a:pt x="863222" y="1112196"/>
                  <a:pt x="556098" y="1112196"/>
                </a:cubicBezTo>
                <a:cubicBezTo>
                  <a:pt x="248974" y="1112196"/>
                  <a:pt x="0" y="863222"/>
                  <a:pt x="0" y="556098"/>
                </a:cubicBezTo>
                <a:cubicBezTo>
                  <a:pt x="0" y="248974"/>
                  <a:pt x="248974" y="0"/>
                  <a:pt x="556098" y="0"/>
                </a:cubicBezTo>
                <a:close/>
              </a:path>
            </a:pathLst>
          </a:custGeom>
          <a:solidFill>
            <a:schemeClr val="accent5"/>
          </a:solidFill>
          <a:ln w="57150">
            <a:solidFill>
              <a:schemeClr val="bg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sp>
        <p:nvSpPr>
          <p:cNvPr id="36" name="Picture Placeholder 35">
            <a:extLst>
              <a:ext uri="{FF2B5EF4-FFF2-40B4-BE49-F238E27FC236}">
                <a16:creationId xmlns:a16="http://schemas.microsoft.com/office/drawing/2014/main" id="{E0A5CDAF-762D-C59B-C3B1-2B76A91139AB}"/>
              </a:ext>
            </a:extLst>
          </p:cNvPr>
          <p:cNvSpPr>
            <a:spLocks noGrp="1"/>
          </p:cNvSpPr>
          <p:nvPr>
            <p:ph type="pic" sz="quarter" idx="26"/>
          </p:nvPr>
        </p:nvSpPr>
        <p:spPr>
          <a:xfrm>
            <a:off x="2833288" y="2574615"/>
            <a:ext cx="1112196" cy="1112196"/>
          </a:xfrm>
          <a:custGeom>
            <a:avLst/>
            <a:gdLst>
              <a:gd name="connsiteX0" fmla="*/ 556098 w 1112196"/>
              <a:gd name="connsiteY0" fmla="*/ 0 h 1112196"/>
              <a:gd name="connsiteX1" fmla="*/ 1112196 w 1112196"/>
              <a:gd name="connsiteY1" fmla="*/ 556098 h 1112196"/>
              <a:gd name="connsiteX2" fmla="*/ 556098 w 1112196"/>
              <a:gd name="connsiteY2" fmla="*/ 1112196 h 1112196"/>
              <a:gd name="connsiteX3" fmla="*/ 0 w 1112196"/>
              <a:gd name="connsiteY3" fmla="*/ 556098 h 1112196"/>
              <a:gd name="connsiteX4" fmla="*/ 556098 w 1112196"/>
              <a:gd name="connsiteY4" fmla="*/ 0 h 1112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96" h="1112196">
                <a:moveTo>
                  <a:pt x="556098" y="0"/>
                </a:moveTo>
                <a:cubicBezTo>
                  <a:pt x="863222" y="0"/>
                  <a:pt x="1112196" y="248974"/>
                  <a:pt x="1112196" y="556098"/>
                </a:cubicBezTo>
                <a:cubicBezTo>
                  <a:pt x="1112196" y="863222"/>
                  <a:pt x="863222" y="1112196"/>
                  <a:pt x="556098" y="1112196"/>
                </a:cubicBezTo>
                <a:cubicBezTo>
                  <a:pt x="248974" y="1112196"/>
                  <a:pt x="0" y="863222"/>
                  <a:pt x="0" y="556098"/>
                </a:cubicBezTo>
                <a:cubicBezTo>
                  <a:pt x="0" y="248974"/>
                  <a:pt x="248974" y="0"/>
                  <a:pt x="556098" y="0"/>
                </a:cubicBezTo>
                <a:close/>
              </a:path>
            </a:pathLst>
          </a:custGeom>
          <a:solidFill>
            <a:schemeClr val="accent5"/>
          </a:solidFill>
          <a:ln w="57150">
            <a:solidFill>
              <a:schemeClr val="bg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sp>
        <p:nvSpPr>
          <p:cNvPr id="37" name="Picture Placeholder 36">
            <a:extLst>
              <a:ext uri="{FF2B5EF4-FFF2-40B4-BE49-F238E27FC236}">
                <a16:creationId xmlns:a16="http://schemas.microsoft.com/office/drawing/2014/main" id="{1AAED0DD-8577-D4A6-BB9C-BBB2429A6F58}"/>
              </a:ext>
            </a:extLst>
          </p:cNvPr>
          <p:cNvSpPr>
            <a:spLocks noGrp="1"/>
          </p:cNvSpPr>
          <p:nvPr>
            <p:ph type="pic" sz="quarter" idx="27"/>
          </p:nvPr>
        </p:nvSpPr>
        <p:spPr>
          <a:xfrm>
            <a:off x="2833288" y="4478718"/>
            <a:ext cx="1112196" cy="1112196"/>
          </a:xfrm>
          <a:custGeom>
            <a:avLst/>
            <a:gdLst>
              <a:gd name="connsiteX0" fmla="*/ 556098 w 1112196"/>
              <a:gd name="connsiteY0" fmla="*/ 0 h 1112196"/>
              <a:gd name="connsiteX1" fmla="*/ 1112196 w 1112196"/>
              <a:gd name="connsiteY1" fmla="*/ 556098 h 1112196"/>
              <a:gd name="connsiteX2" fmla="*/ 556098 w 1112196"/>
              <a:gd name="connsiteY2" fmla="*/ 1112196 h 1112196"/>
              <a:gd name="connsiteX3" fmla="*/ 0 w 1112196"/>
              <a:gd name="connsiteY3" fmla="*/ 556098 h 1112196"/>
              <a:gd name="connsiteX4" fmla="*/ 556098 w 1112196"/>
              <a:gd name="connsiteY4" fmla="*/ 0 h 1112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96" h="1112196">
                <a:moveTo>
                  <a:pt x="556098" y="0"/>
                </a:moveTo>
                <a:cubicBezTo>
                  <a:pt x="863222" y="0"/>
                  <a:pt x="1112196" y="248974"/>
                  <a:pt x="1112196" y="556098"/>
                </a:cubicBezTo>
                <a:cubicBezTo>
                  <a:pt x="1112196" y="863222"/>
                  <a:pt x="863222" y="1112196"/>
                  <a:pt x="556098" y="1112196"/>
                </a:cubicBezTo>
                <a:cubicBezTo>
                  <a:pt x="248974" y="1112196"/>
                  <a:pt x="0" y="863222"/>
                  <a:pt x="0" y="556098"/>
                </a:cubicBezTo>
                <a:cubicBezTo>
                  <a:pt x="0" y="248974"/>
                  <a:pt x="248974" y="0"/>
                  <a:pt x="556098" y="0"/>
                </a:cubicBezTo>
                <a:close/>
              </a:path>
            </a:pathLst>
          </a:custGeom>
          <a:solidFill>
            <a:schemeClr val="accent5"/>
          </a:solidFill>
          <a:ln w="57150">
            <a:solidFill>
              <a:schemeClr val="bg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sp>
        <p:nvSpPr>
          <p:cNvPr id="5" name="Footer Placeholder 4">
            <a:extLst>
              <a:ext uri="{FF2B5EF4-FFF2-40B4-BE49-F238E27FC236}">
                <a16:creationId xmlns:a16="http://schemas.microsoft.com/office/drawing/2014/main" id="{9EA04D4B-3014-D00F-2C06-4B5F5B5A62E7}"/>
              </a:ext>
            </a:extLst>
          </p:cNvPr>
          <p:cNvSpPr>
            <a:spLocks noGrp="1"/>
          </p:cNvSpPr>
          <p:nvPr>
            <p:ph type="ftr" sz="quarter" idx="23"/>
          </p:nvPr>
        </p:nvSpPr>
        <p:spPr/>
        <p:txBody>
          <a:bodyPr/>
          <a:lstStyle>
            <a:lvl1pPr>
              <a:defRPr>
                <a:solidFill>
                  <a:schemeClr val="bg1"/>
                </a:solidFill>
              </a:defRPr>
            </a:lvl1p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51896E6C-72A9-3A9A-D8BE-1F2E8EE87417}"/>
              </a:ext>
            </a:extLst>
          </p:cNvPr>
          <p:cNvSpPr>
            <a:spLocks noGrp="1"/>
          </p:cNvSpPr>
          <p:nvPr>
            <p:ph type="sldNum" sz="quarter" idx="24"/>
          </p:nvPr>
        </p:nvSpPr>
        <p:spPr/>
        <p:txBody>
          <a:bodyPr/>
          <a:lstStyle/>
          <a:p>
            <a:fld id="{86CB4B4D-7CA3-9044-876B-883B54F8677D}" type="slidenum">
              <a:rPr lang="en-US" smtClean="0"/>
              <a:pPr/>
              <a:t>‹#›</a:t>
            </a:fld>
            <a:endParaRPr lang="en-US" dirty="0"/>
          </a:p>
        </p:txBody>
      </p:sp>
      <p:sp>
        <p:nvSpPr>
          <p:cNvPr id="7" name="Straight Connector 10">
            <a:extLst>
              <a:ext uri="{FF2B5EF4-FFF2-40B4-BE49-F238E27FC236}">
                <a16:creationId xmlns:a16="http://schemas.microsoft.com/office/drawing/2014/main" id="{31371D21-1076-369B-643F-4AADD5396EC0}"/>
              </a:ext>
            </a:extLst>
          </p:cNvPr>
          <p:cNvSpPr/>
          <p:nvPr/>
        </p:nvSpPr>
        <p:spPr>
          <a:xfrm flipH="1">
            <a:off x="8056397" y="832419"/>
            <a:ext cx="0" cy="5415981"/>
          </a:xfrm>
          <a:prstGeom prst="line">
            <a:avLst/>
          </a:prstGeom>
          <a:ln>
            <a:solidFill>
              <a:schemeClr val="bg1">
                <a:lumMod val="50000"/>
              </a:schemeClr>
            </a:solidFill>
            <a:miter/>
          </a:ln>
        </p:spPr>
        <p:txBody>
          <a:bodyPr lIns="45719" rIns="45719"/>
          <a:lstStyle/>
          <a:p>
            <a:endParaRPr dirty="0"/>
          </a:p>
        </p:txBody>
      </p:sp>
      <p:sp>
        <p:nvSpPr>
          <p:cNvPr id="41" name="Text Placeholder 40">
            <a:extLst>
              <a:ext uri="{FF2B5EF4-FFF2-40B4-BE49-F238E27FC236}">
                <a16:creationId xmlns:a16="http://schemas.microsoft.com/office/drawing/2014/main" id="{B988970B-879D-D26A-D047-84BF66F7E708}"/>
              </a:ext>
            </a:extLst>
          </p:cNvPr>
          <p:cNvSpPr>
            <a:spLocks noGrp="1"/>
          </p:cNvSpPr>
          <p:nvPr>
            <p:ph type="body" sz="quarter" idx="29"/>
          </p:nvPr>
        </p:nvSpPr>
        <p:spPr>
          <a:xfrm>
            <a:off x="4370388" y="1107303"/>
            <a:ext cx="3384550" cy="1424760"/>
          </a:xfrm>
        </p:spPr>
        <p:txBody>
          <a:bodyPr/>
          <a:lstStyle>
            <a:lvl1pPr>
              <a:lnSpc>
                <a:spcPct val="110000"/>
              </a:lnSpc>
              <a:spcBef>
                <a:spcPts val="0"/>
              </a:spcBef>
              <a:defRPr/>
            </a:lvl1pPr>
            <a:lvl2pPr>
              <a:lnSpc>
                <a:spcPct val="110000"/>
              </a:lnSpc>
              <a:spcBef>
                <a:spcPts val="0"/>
              </a:spcBef>
              <a:defRPr/>
            </a:lvl2pPr>
            <a:lvl3pPr marL="365760" indent="0">
              <a:spcBef>
                <a:spcPts val="100"/>
              </a:spcBef>
              <a:buNone/>
              <a:defRPr/>
            </a:lvl3pPr>
          </a:lstStyle>
          <a:p>
            <a:pPr lvl="0"/>
            <a:r>
              <a:rPr lang="en-US"/>
              <a:t>Click to edit Master text styles</a:t>
            </a:r>
          </a:p>
          <a:p>
            <a:pPr lvl="1"/>
            <a:r>
              <a:rPr lang="en-US"/>
              <a:t>Second level</a:t>
            </a:r>
          </a:p>
        </p:txBody>
      </p:sp>
      <p:sp>
        <p:nvSpPr>
          <p:cNvPr id="46" name="Text Placeholder 38">
            <a:extLst>
              <a:ext uri="{FF2B5EF4-FFF2-40B4-BE49-F238E27FC236}">
                <a16:creationId xmlns:a16="http://schemas.microsoft.com/office/drawing/2014/main" id="{3DA4D551-1F0B-B0F8-6FB8-54556D9AF6E8}"/>
              </a:ext>
            </a:extLst>
          </p:cNvPr>
          <p:cNvSpPr>
            <a:spLocks noGrp="1"/>
          </p:cNvSpPr>
          <p:nvPr>
            <p:ph type="body" sz="quarter" idx="32"/>
          </p:nvPr>
        </p:nvSpPr>
        <p:spPr>
          <a:xfrm>
            <a:off x="4369610" y="4173515"/>
            <a:ext cx="3385616" cy="515938"/>
          </a:xfrm>
        </p:spPr>
        <p:txBody>
          <a:bodyPr anchor="b" anchorCtr="0"/>
          <a:lstStyle>
            <a:lvl1pPr marL="0" indent="0">
              <a:buNone/>
              <a:defRPr b="1">
                <a:solidFill>
                  <a:schemeClr val="tx2"/>
                </a:solidFill>
              </a:defRPr>
            </a:lvl1pPr>
          </a:lstStyle>
          <a:p>
            <a:pPr lvl="0"/>
            <a:r>
              <a:rPr lang="en-US"/>
              <a:t>Click to edit Master text styles</a:t>
            </a:r>
          </a:p>
        </p:txBody>
      </p:sp>
      <p:sp>
        <p:nvSpPr>
          <p:cNvPr id="47" name="Text Placeholder 40">
            <a:extLst>
              <a:ext uri="{FF2B5EF4-FFF2-40B4-BE49-F238E27FC236}">
                <a16:creationId xmlns:a16="http://schemas.microsoft.com/office/drawing/2014/main" id="{147F8C6C-8020-89F9-C343-F78890746AE7}"/>
              </a:ext>
            </a:extLst>
          </p:cNvPr>
          <p:cNvSpPr>
            <a:spLocks noGrp="1"/>
          </p:cNvSpPr>
          <p:nvPr>
            <p:ph type="body" sz="quarter" idx="33"/>
          </p:nvPr>
        </p:nvSpPr>
        <p:spPr>
          <a:xfrm>
            <a:off x="4370388" y="4754145"/>
            <a:ext cx="3384550" cy="1424760"/>
          </a:xfrm>
        </p:spPr>
        <p:txBody>
          <a:bodyPr/>
          <a:lstStyle>
            <a:lvl1pPr>
              <a:lnSpc>
                <a:spcPct val="110000"/>
              </a:lnSpc>
              <a:spcBef>
                <a:spcPts val="0"/>
              </a:spcBef>
              <a:defRPr/>
            </a:lvl1pPr>
            <a:lvl2pPr>
              <a:lnSpc>
                <a:spcPct val="110000"/>
              </a:lnSpc>
              <a:spcBef>
                <a:spcPts val="0"/>
              </a:spcBef>
              <a:defRPr/>
            </a:lvl2pPr>
            <a:lvl3pPr marL="365760" indent="0">
              <a:spcBef>
                <a:spcPts val="100"/>
              </a:spcBef>
              <a:buNone/>
              <a:defRPr/>
            </a:lvl3pPr>
          </a:lstStyle>
          <a:p>
            <a:pPr lvl="0"/>
            <a:r>
              <a:rPr lang="en-US"/>
              <a:t>Click to edit Master text styles</a:t>
            </a:r>
          </a:p>
          <a:p>
            <a:pPr lvl="1"/>
            <a:r>
              <a:rPr lang="en-US"/>
              <a:t>Second level</a:t>
            </a:r>
          </a:p>
        </p:txBody>
      </p:sp>
      <p:sp>
        <p:nvSpPr>
          <p:cNvPr id="59" name="Content Placeholder 58">
            <a:extLst>
              <a:ext uri="{FF2B5EF4-FFF2-40B4-BE49-F238E27FC236}">
                <a16:creationId xmlns:a16="http://schemas.microsoft.com/office/drawing/2014/main" id="{AAC23A94-135C-8680-6A55-AA79891BF228}"/>
              </a:ext>
            </a:extLst>
          </p:cNvPr>
          <p:cNvSpPr>
            <a:spLocks noGrp="1"/>
          </p:cNvSpPr>
          <p:nvPr>
            <p:ph sz="quarter" idx="36"/>
          </p:nvPr>
        </p:nvSpPr>
        <p:spPr>
          <a:xfrm>
            <a:off x="8566150" y="1976407"/>
            <a:ext cx="3208338" cy="792162"/>
          </a:xfrm>
        </p:spPr>
        <p:txBody>
          <a:bodyPr anchor="b" anchorCtr="0"/>
          <a:lstStyle>
            <a:lvl1pPr marL="0" marR="0" indent="0" algn="l" defTabSz="914400" rtl="0" fontAlgn="auto" latinLnBrk="0" hangingPunct="0">
              <a:lnSpc>
                <a:spcPct val="90000"/>
              </a:lnSpc>
              <a:spcBef>
                <a:spcPts val="0"/>
              </a:spcBef>
              <a:spcAft>
                <a:spcPts val="0"/>
              </a:spcAft>
              <a:buClrTx/>
              <a:buSzTx/>
              <a:buFontTx/>
              <a:buNone/>
              <a:tabLst/>
              <a:defRPr kumimoji="0" lang="en-US" sz="2600" b="1" i="0" u="none" strike="noStrike" cap="none" spc="0" normalizeH="0" baseline="0" dirty="0" smtClean="0">
                <a:ln>
                  <a:noFill/>
                </a:ln>
                <a:solidFill>
                  <a:schemeClr val="tx2"/>
                </a:solidFill>
                <a:effectLst/>
                <a:uFillTx/>
                <a:latin typeface="Inter" panose="02000503000000020004"/>
                <a:ea typeface="Open Sans Regular"/>
                <a:cs typeface="Arial" panose="020B0604020202020204" pitchFamily="34" charset="0"/>
                <a:sym typeface="Open Sans Regular"/>
              </a:defRPr>
            </a:lvl1pPr>
          </a:lstStyle>
          <a:p>
            <a:pPr lvl="0"/>
            <a:r>
              <a:rPr lang="en-US"/>
              <a:t>Click to edit Master text styles</a:t>
            </a:r>
          </a:p>
        </p:txBody>
      </p:sp>
      <p:sp>
        <p:nvSpPr>
          <p:cNvPr id="2" name="Text Placeholder 6">
            <a:extLst>
              <a:ext uri="{FF2B5EF4-FFF2-40B4-BE49-F238E27FC236}">
                <a16:creationId xmlns:a16="http://schemas.microsoft.com/office/drawing/2014/main" id="{60384666-3B86-0037-2EE4-71F33FB1A765}"/>
              </a:ext>
            </a:extLst>
          </p:cNvPr>
          <p:cNvSpPr>
            <a:spLocks noGrp="1"/>
          </p:cNvSpPr>
          <p:nvPr>
            <p:ph type="body" sz="quarter" idx="37"/>
          </p:nvPr>
        </p:nvSpPr>
        <p:spPr>
          <a:xfrm>
            <a:off x="8565870" y="1619674"/>
            <a:ext cx="3208336"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37278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lank--NO FOOTER">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CBBF99A-4798-0835-BE69-5A43E945DB36}"/>
              </a:ext>
            </a:extLst>
          </p:cNvPr>
          <p:cNvGraphicFramePr>
            <a:graphicFrameLocks noChangeAspect="1"/>
          </p:cNvGraphicFramePr>
          <p:nvPr>
            <p:custDataLst>
              <p:tags r:id="rId1"/>
            </p:custDataLst>
            <p:extLst>
              <p:ext uri="{D42A27DB-BD31-4B8C-83A1-F6EECF244321}">
                <p14:modId xmlns:p14="http://schemas.microsoft.com/office/powerpoint/2010/main" val="3010155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5CBBF99A-4798-0835-BE69-5A43E945DB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E4FFB9A1-6ACE-7712-BA9C-9779EE96DEE8}"/>
              </a:ext>
            </a:extLst>
          </p:cNvPr>
          <p:cNvGraphicFramePr>
            <a:graphicFrameLocks noChangeAspect="1"/>
          </p:cNvGraphicFramePr>
          <p:nvPr userDrawn="1">
            <p:custDataLst>
              <p:tags r:id="rId2"/>
            </p:custDataLst>
            <p:extLst>
              <p:ext uri="{D42A27DB-BD31-4B8C-83A1-F6EECF244321}">
                <p14:modId xmlns:p14="http://schemas.microsoft.com/office/powerpoint/2010/main" val="3010155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E4FFB9A1-6ACE-7712-BA9C-9779EE96DEE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59401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Blank--NO FOOTER">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CBBF99A-4798-0835-BE69-5A43E945DB36}"/>
              </a:ext>
            </a:extLst>
          </p:cNvPr>
          <p:cNvGraphicFramePr>
            <a:graphicFrameLocks noChangeAspect="1"/>
          </p:cNvGraphicFramePr>
          <p:nvPr>
            <p:custDataLst>
              <p:tags r:id="rId1"/>
            </p:custDataLst>
            <p:extLst>
              <p:ext uri="{D42A27DB-BD31-4B8C-83A1-F6EECF244321}">
                <p14:modId xmlns:p14="http://schemas.microsoft.com/office/powerpoint/2010/main" val="30593425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5CBBF99A-4798-0835-BE69-5A43E945DB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5592BEF0-4386-A938-EF69-3F33C960C0DB}"/>
              </a:ext>
            </a:extLst>
          </p:cNvPr>
          <p:cNvSpPr>
            <a:spLocks noGrp="1"/>
          </p:cNvSpPr>
          <p:nvPr>
            <p:ph type="pic" sz="quarter" idx="10"/>
          </p:nvPr>
        </p:nvSpPr>
        <p:spPr>
          <a:xfrm>
            <a:off x="0" y="0"/>
            <a:ext cx="12192000" cy="6858000"/>
          </a:xfrm>
        </p:spPr>
        <p:txBody>
          <a:bodyPr/>
          <a:lstStyle/>
          <a:p>
            <a:r>
              <a:rPr lang="en-US" dirty="0"/>
              <a:t>Click icon to add picture</a:t>
            </a:r>
          </a:p>
        </p:txBody>
      </p:sp>
      <p:sp>
        <p:nvSpPr>
          <p:cNvPr id="5" name="Footer Placeholder 4">
            <a:extLst>
              <a:ext uri="{FF2B5EF4-FFF2-40B4-BE49-F238E27FC236}">
                <a16:creationId xmlns:a16="http://schemas.microsoft.com/office/drawing/2014/main" id="{D253C329-3E83-6610-3B66-FC0B9EA1FC49}"/>
              </a:ext>
            </a:extLst>
          </p:cNvPr>
          <p:cNvSpPr>
            <a:spLocks noGrp="1"/>
          </p:cNvSpPr>
          <p:nvPr>
            <p:ph type="ftr" sz="quarter" idx="12"/>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52FE64F4-4AFE-A7A2-BE12-DC162EC2051F}"/>
              </a:ext>
            </a:extLst>
          </p:cNvPr>
          <p:cNvSpPr>
            <a:spLocks noGrp="1"/>
          </p:cNvSpPr>
          <p:nvPr>
            <p:ph type="sldNum" sz="quarter" idx="13"/>
          </p:nvPr>
        </p:nvSpPr>
        <p:spPr/>
        <p:txBody>
          <a:bodyPr/>
          <a:lstStyle/>
          <a:p>
            <a:fld id="{86CB4B4D-7CA3-9044-876B-883B54F8677D}" type="slidenum">
              <a:rPr lang="en-US" smtClean="0"/>
              <a:pPr/>
              <a:t>‹#›</a:t>
            </a:fld>
            <a:endParaRPr lang="en-US" dirty="0"/>
          </a:p>
        </p:txBody>
      </p:sp>
      <p:graphicFrame>
        <p:nvGraphicFramePr>
          <p:cNvPr id="2" name="think-cell data - do not delete" hidden="1">
            <a:extLst>
              <a:ext uri="{FF2B5EF4-FFF2-40B4-BE49-F238E27FC236}">
                <a16:creationId xmlns:a16="http://schemas.microsoft.com/office/drawing/2014/main" id="{F823EFE7-9DC0-7FFF-B61A-E4E0020CEEA2}"/>
              </a:ext>
            </a:extLst>
          </p:cNvPr>
          <p:cNvGraphicFramePr>
            <a:graphicFrameLocks noChangeAspect="1"/>
          </p:cNvGraphicFramePr>
          <p:nvPr userDrawn="1">
            <p:custDataLst>
              <p:tags r:id="rId2"/>
            </p:custDataLst>
            <p:extLst>
              <p:ext uri="{D42A27DB-BD31-4B8C-83A1-F6EECF244321}">
                <p14:modId xmlns:p14="http://schemas.microsoft.com/office/powerpoint/2010/main" val="30593425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F823EFE7-9DC0-7FFF-B61A-E4E0020CEE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99163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CBBF99A-4798-0835-BE69-5A43E945DB36}"/>
              </a:ext>
            </a:extLst>
          </p:cNvPr>
          <p:cNvGraphicFramePr>
            <a:graphicFrameLocks noChangeAspect="1"/>
          </p:cNvGraphicFramePr>
          <p:nvPr>
            <p:custDataLst>
              <p:tags r:id="rId1"/>
            </p:custDataLst>
            <p:extLst>
              <p:ext uri="{D42A27DB-BD31-4B8C-83A1-F6EECF244321}">
                <p14:modId xmlns:p14="http://schemas.microsoft.com/office/powerpoint/2010/main" val="42430114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CBBF99A-4798-0835-BE69-5A43E945DB3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5592BEF0-4386-A938-EF69-3F33C960C0DB}"/>
              </a:ext>
            </a:extLst>
          </p:cNvPr>
          <p:cNvSpPr>
            <a:spLocks noGrp="1"/>
          </p:cNvSpPr>
          <p:nvPr>
            <p:ph type="pic" sz="quarter" idx="10"/>
          </p:nvPr>
        </p:nvSpPr>
        <p:spPr>
          <a:xfrm>
            <a:off x="0" y="0"/>
            <a:ext cx="12192000" cy="6858000"/>
          </a:xfrm>
          <a:solidFill>
            <a:schemeClr val="bg1">
              <a:lumMod val="95000"/>
            </a:schemeClr>
          </a:solidFill>
        </p:spPr>
        <p:txBody>
          <a:bodyPr/>
          <a:lstStyle/>
          <a:p>
            <a:r>
              <a:rPr lang="en-US" dirty="0"/>
              <a:t>Click icon to add picture</a:t>
            </a:r>
          </a:p>
        </p:txBody>
      </p:sp>
      <p:sp>
        <p:nvSpPr>
          <p:cNvPr id="16" name="Picture Placeholder 15">
            <a:extLst>
              <a:ext uri="{FF2B5EF4-FFF2-40B4-BE49-F238E27FC236}">
                <a16:creationId xmlns:a16="http://schemas.microsoft.com/office/drawing/2014/main" id="{B2D1A3BB-5DBF-83AF-4BFB-14DA92C9E793}"/>
              </a:ext>
            </a:extLst>
          </p:cNvPr>
          <p:cNvSpPr>
            <a:spLocks noGrp="1"/>
          </p:cNvSpPr>
          <p:nvPr>
            <p:ph type="pic" sz="quarter" idx="14"/>
          </p:nvPr>
        </p:nvSpPr>
        <p:spPr>
          <a:xfrm>
            <a:off x="4444140" y="646317"/>
            <a:ext cx="3300673" cy="572845"/>
          </a:xfrm>
        </p:spPr>
        <p:txBody>
          <a:bodyPr/>
          <a:lstStyle/>
          <a:p>
            <a:r>
              <a:rPr lang="en-US" dirty="0"/>
              <a:t>Click icon to add picture</a:t>
            </a:r>
          </a:p>
        </p:txBody>
      </p:sp>
      <p:sp>
        <p:nvSpPr>
          <p:cNvPr id="24" name="Text Placeholder 23">
            <a:extLst>
              <a:ext uri="{FF2B5EF4-FFF2-40B4-BE49-F238E27FC236}">
                <a16:creationId xmlns:a16="http://schemas.microsoft.com/office/drawing/2014/main" id="{D077DBB9-7024-BD06-00F9-4A45EE1BF199}"/>
              </a:ext>
            </a:extLst>
          </p:cNvPr>
          <p:cNvSpPr>
            <a:spLocks noGrp="1"/>
          </p:cNvSpPr>
          <p:nvPr>
            <p:ph type="body" sz="quarter" idx="17"/>
          </p:nvPr>
        </p:nvSpPr>
        <p:spPr>
          <a:xfrm>
            <a:off x="5060151" y="4364511"/>
            <a:ext cx="2068652" cy="476726"/>
          </a:xfrm>
          <a:custGeom>
            <a:avLst/>
            <a:gdLst>
              <a:gd name="connsiteX0" fmla="*/ 238363 w 2068652"/>
              <a:gd name="connsiteY0" fmla="*/ 0 h 476726"/>
              <a:gd name="connsiteX1" fmla="*/ 1830289 w 2068652"/>
              <a:gd name="connsiteY1" fmla="*/ 0 h 476726"/>
              <a:gd name="connsiteX2" fmla="*/ 2068652 w 2068652"/>
              <a:gd name="connsiteY2" fmla="*/ 238363 h 476726"/>
              <a:gd name="connsiteX3" fmla="*/ 1830289 w 2068652"/>
              <a:gd name="connsiteY3" fmla="*/ 476726 h 476726"/>
              <a:gd name="connsiteX4" fmla="*/ 238363 w 2068652"/>
              <a:gd name="connsiteY4" fmla="*/ 476726 h 476726"/>
              <a:gd name="connsiteX5" fmla="*/ 0 w 2068652"/>
              <a:gd name="connsiteY5" fmla="*/ 238363 h 476726"/>
              <a:gd name="connsiteX6" fmla="*/ 238363 w 2068652"/>
              <a:gd name="connsiteY6" fmla="*/ 0 h 4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8652" h="476726">
                <a:moveTo>
                  <a:pt x="238363" y="0"/>
                </a:moveTo>
                <a:lnTo>
                  <a:pt x="1830289" y="0"/>
                </a:lnTo>
                <a:cubicBezTo>
                  <a:pt x="1961933" y="0"/>
                  <a:pt x="2068652" y="106719"/>
                  <a:pt x="2068652" y="238363"/>
                </a:cubicBezTo>
                <a:cubicBezTo>
                  <a:pt x="2068652" y="370007"/>
                  <a:pt x="1961933" y="476726"/>
                  <a:pt x="1830289" y="476726"/>
                </a:cubicBezTo>
                <a:lnTo>
                  <a:pt x="238363" y="476726"/>
                </a:lnTo>
                <a:cubicBezTo>
                  <a:pt x="106719" y="476726"/>
                  <a:pt x="0" y="370007"/>
                  <a:pt x="0" y="238363"/>
                </a:cubicBezTo>
                <a:cubicBezTo>
                  <a:pt x="0" y="106719"/>
                  <a:pt x="106719" y="0"/>
                  <a:pt x="238363" y="0"/>
                </a:cubicBezTo>
                <a:close/>
              </a:path>
            </a:pathLst>
          </a:custGeom>
          <a:noFill/>
          <a:ln w="12700">
            <a:solidFill>
              <a:schemeClr val="bg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chor="ctr">
            <a:noAutofit/>
          </a:bodyPr>
          <a:lstStyle>
            <a:lvl1pPr marL="0" indent="0" algn="ctr">
              <a:buNone/>
              <a:defRPr sz="1600" b="1" cap="all" spc="200" baseline="0">
                <a:solidFill>
                  <a:schemeClr val="bg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D253C329-3E83-6610-3B66-FC0B9EA1FC49}"/>
              </a:ext>
            </a:extLst>
          </p:cNvPr>
          <p:cNvSpPr>
            <a:spLocks noGrp="1"/>
          </p:cNvSpPr>
          <p:nvPr>
            <p:ph type="ftr" sz="quarter" idx="12"/>
          </p:nvPr>
        </p:nvSpPr>
        <p:spPr/>
        <p:txBody>
          <a:bodyPr/>
          <a:lstStyle>
            <a:lvl1pPr>
              <a:defRPr>
                <a:solidFill>
                  <a:schemeClr val="bg1"/>
                </a:solidFill>
              </a:defRPr>
            </a:lvl1p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52FE64F4-4AFE-A7A2-BE12-DC162EC2051F}"/>
              </a:ext>
            </a:extLst>
          </p:cNvPr>
          <p:cNvSpPr>
            <a:spLocks noGrp="1"/>
          </p:cNvSpPr>
          <p:nvPr>
            <p:ph type="sldNum" sz="quarter" idx="13"/>
          </p:nvPr>
        </p:nvSpPr>
        <p:spPr/>
        <p:txBody>
          <a:bodyPr/>
          <a:lstStyle>
            <a:lvl1pPr>
              <a:defRPr>
                <a:solidFill>
                  <a:schemeClr val="bg1"/>
                </a:solidFill>
              </a:defRPr>
            </a:lvl1pPr>
          </a:lstStyle>
          <a:p>
            <a:fld id="{86CB4B4D-7CA3-9044-876B-883B54F8677D}" type="slidenum">
              <a:rPr lang="en-US" smtClean="0"/>
              <a:pPr/>
              <a:t>‹#›</a:t>
            </a:fld>
            <a:endParaRPr lang="en-US" dirty="0"/>
          </a:p>
        </p:txBody>
      </p:sp>
      <p:sp>
        <p:nvSpPr>
          <p:cNvPr id="18" name="Text Placeholder 17">
            <a:extLst>
              <a:ext uri="{FF2B5EF4-FFF2-40B4-BE49-F238E27FC236}">
                <a16:creationId xmlns:a16="http://schemas.microsoft.com/office/drawing/2014/main" id="{0FD083D1-7327-F8FB-B695-2C79AA07828A}"/>
              </a:ext>
            </a:extLst>
          </p:cNvPr>
          <p:cNvSpPr>
            <a:spLocks noGrp="1"/>
          </p:cNvSpPr>
          <p:nvPr>
            <p:ph type="body" sz="quarter" idx="15"/>
          </p:nvPr>
        </p:nvSpPr>
        <p:spPr>
          <a:xfrm>
            <a:off x="612775" y="1466850"/>
            <a:ext cx="11006138" cy="1071955"/>
          </a:xfrm>
        </p:spPr>
        <p:txBody>
          <a:bodyPr/>
          <a:lstStyle>
            <a:lvl1pPr marL="0" indent="0" algn="ctr">
              <a:buNone/>
              <a:defRPr sz="2800" b="1">
                <a:solidFill>
                  <a:schemeClr val="bg1"/>
                </a:solidFill>
              </a:defRPr>
            </a:lvl1pPr>
          </a:lstStyle>
          <a:p>
            <a:pPr lvl="0"/>
            <a:r>
              <a:rPr lang="en-US"/>
              <a:t>Click to edit Master text styles</a:t>
            </a:r>
          </a:p>
        </p:txBody>
      </p:sp>
      <p:sp>
        <p:nvSpPr>
          <p:cNvPr id="19" name="Text Placeholder 17">
            <a:extLst>
              <a:ext uri="{FF2B5EF4-FFF2-40B4-BE49-F238E27FC236}">
                <a16:creationId xmlns:a16="http://schemas.microsoft.com/office/drawing/2014/main" id="{FFC3D0C8-DC4A-7EB1-EF93-23D0111C69FF}"/>
              </a:ext>
            </a:extLst>
          </p:cNvPr>
          <p:cNvSpPr>
            <a:spLocks noGrp="1"/>
          </p:cNvSpPr>
          <p:nvPr>
            <p:ph type="body" sz="quarter" idx="16"/>
          </p:nvPr>
        </p:nvSpPr>
        <p:spPr>
          <a:xfrm>
            <a:off x="591408" y="2584425"/>
            <a:ext cx="11006138" cy="1071955"/>
          </a:xfrm>
        </p:spPr>
        <p:txBody>
          <a:bodyPr/>
          <a:lstStyle>
            <a:lvl1pPr marL="0" indent="0" algn="ctr">
              <a:buNone/>
              <a:defRPr sz="2000" b="1">
                <a:solidFill>
                  <a:schemeClr val="bg1"/>
                </a:solidFill>
              </a:defRPr>
            </a:lvl1pPr>
          </a:lstStyle>
          <a:p>
            <a:pPr lvl="0"/>
            <a:r>
              <a:rPr lang="en-US"/>
              <a:t>Click to edit Master text styles</a:t>
            </a:r>
          </a:p>
        </p:txBody>
      </p:sp>
      <p:sp>
        <p:nvSpPr>
          <p:cNvPr id="26" name="Text Placeholder 25">
            <a:extLst>
              <a:ext uri="{FF2B5EF4-FFF2-40B4-BE49-F238E27FC236}">
                <a16:creationId xmlns:a16="http://schemas.microsoft.com/office/drawing/2014/main" id="{87FA70EE-FEA5-067A-4FDC-40678FB3F798}"/>
              </a:ext>
            </a:extLst>
          </p:cNvPr>
          <p:cNvSpPr>
            <a:spLocks noGrp="1"/>
          </p:cNvSpPr>
          <p:nvPr>
            <p:ph type="body" sz="quarter" idx="18"/>
          </p:nvPr>
        </p:nvSpPr>
        <p:spPr>
          <a:xfrm>
            <a:off x="2270125" y="5300458"/>
            <a:ext cx="2454275" cy="911225"/>
          </a:xfrm>
        </p:spPr>
        <p:txBody>
          <a:bodyPr/>
          <a:lstStyle>
            <a:lvl1pPr marL="0" indent="0" algn="ctr">
              <a:lnSpc>
                <a:spcPct val="105000"/>
              </a:lnSpc>
              <a:spcBef>
                <a:spcPts val="0"/>
              </a:spcBef>
              <a:buNone/>
              <a:defRPr kumimoji="0" lang="en-US" sz="1400" b="1"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mn-cs"/>
                <a:sym typeface="Calibri"/>
              </a:defRPr>
            </a:lvl1pPr>
            <a:lvl2pPr marL="0" indent="0" algn="ctr">
              <a:lnSpc>
                <a:spcPct val="105000"/>
              </a:lnSpc>
              <a:spcBef>
                <a:spcPts val="0"/>
              </a:spcBef>
              <a:buNone/>
              <a:defRPr>
                <a:solidFill>
                  <a:schemeClr val="bg1"/>
                </a:solidFill>
              </a:defRPr>
            </a:lvl2pPr>
          </a:lstStyle>
          <a:p>
            <a:pPr lvl="0"/>
            <a:r>
              <a:rPr lang="en-US"/>
              <a:t>Click to edit Master text styles</a:t>
            </a:r>
          </a:p>
          <a:p>
            <a:pPr lvl="1"/>
            <a:r>
              <a:rPr lang="en-US"/>
              <a:t>Second level</a:t>
            </a:r>
          </a:p>
        </p:txBody>
      </p:sp>
      <p:sp>
        <p:nvSpPr>
          <p:cNvPr id="27" name="Text Placeholder 25">
            <a:extLst>
              <a:ext uri="{FF2B5EF4-FFF2-40B4-BE49-F238E27FC236}">
                <a16:creationId xmlns:a16="http://schemas.microsoft.com/office/drawing/2014/main" id="{7E644128-A909-47BD-BCFB-156CD2E3A1E5}"/>
              </a:ext>
            </a:extLst>
          </p:cNvPr>
          <p:cNvSpPr>
            <a:spLocks noGrp="1"/>
          </p:cNvSpPr>
          <p:nvPr>
            <p:ph type="body" sz="quarter" idx="19"/>
          </p:nvPr>
        </p:nvSpPr>
        <p:spPr>
          <a:xfrm>
            <a:off x="4830445" y="5300458"/>
            <a:ext cx="2454275" cy="911225"/>
          </a:xfrm>
        </p:spPr>
        <p:txBody>
          <a:bodyPr/>
          <a:lstStyle>
            <a:lvl1pPr marL="0" indent="0" algn="ctr">
              <a:lnSpc>
                <a:spcPct val="105000"/>
              </a:lnSpc>
              <a:spcBef>
                <a:spcPts val="0"/>
              </a:spcBef>
              <a:buNone/>
              <a:defRPr kumimoji="0" lang="en-US" sz="1400" b="1"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mn-cs"/>
                <a:sym typeface="Calibri"/>
              </a:defRPr>
            </a:lvl1pPr>
            <a:lvl2pPr marL="0" indent="0" algn="ctr">
              <a:lnSpc>
                <a:spcPct val="105000"/>
              </a:lnSpc>
              <a:spcBef>
                <a:spcPts val="0"/>
              </a:spcBef>
              <a:buNone/>
              <a:defRPr>
                <a:solidFill>
                  <a:schemeClr val="bg1"/>
                </a:solidFill>
              </a:defRPr>
            </a:lvl2pPr>
          </a:lstStyle>
          <a:p>
            <a:pPr lvl="0"/>
            <a:r>
              <a:rPr lang="en-US"/>
              <a:t>Click to edit Master text styles</a:t>
            </a:r>
          </a:p>
          <a:p>
            <a:pPr lvl="1"/>
            <a:r>
              <a:rPr lang="en-US"/>
              <a:t>Second level</a:t>
            </a:r>
          </a:p>
        </p:txBody>
      </p:sp>
      <p:sp>
        <p:nvSpPr>
          <p:cNvPr id="28" name="Text Placeholder 25">
            <a:extLst>
              <a:ext uri="{FF2B5EF4-FFF2-40B4-BE49-F238E27FC236}">
                <a16:creationId xmlns:a16="http://schemas.microsoft.com/office/drawing/2014/main" id="{EF7D9629-E4CB-E5C8-B6D1-1D76373A29B4}"/>
              </a:ext>
            </a:extLst>
          </p:cNvPr>
          <p:cNvSpPr>
            <a:spLocks noGrp="1"/>
          </p:cNvSpPr>
          <p:nvPr>
            <p:ph type="body" sz="quarter" idx="20"/>
          </p:nvPr>
        </p:nvSpPr>
        <p:spPr>
          <a:xfrm>
            <a:off x="7380007" y="5300458"/>
            <a:ext cx="2454275" cy="911225"/>
          </a:xfrm>
        </p:spPr>
        <p:txBody>
          <a:bodyPr/>
          <a:lstStyle>
            <a:lvl1pPr marL="0" indent="0" algn="ctr">
              <a:lnSpc>
                <a:spcPct val="105000"/>
              </a:lnSpc>
              <a:spcBef>
                <a:spcPts val="0"/>
              </a:spcBef>
              <a:buNone/>
              <a:defRPr kumimoji="0" lang="en-US" sz="1400" b="1" i="0" u="none" strike="noStrike" cap="none" spc="0" normalizeH="0" baseline="0" dirty="0" smtClean="0">
                <a:ln>
                  <a:noFill/>
                </a:ln>
                <a:solidFill>
                  <a:schemeClr val="bg1"/>
                </a:solidFill>
                <a:effectLst/>
                <a:uFillTx/>
                <a:latin typeface="Inter" panose="02000503000000020004" pitchFamily="2" charset="0"/>
                <a:ea typeface="Inter" panose="02000503000000020004" pitchFamily="2" charset="0"/>
                <a:cs typeface="+mn-cs"/>
                <a:sym typeface="Calibri"/>
              </a:defRPr>
            </a:lvl1pPr>
            <a:lvl2pPr marL="0" indent="0" algn="ctr">
              <a:lnSpc>
                <a:spcPct val="105000"/>
              </a:lnSpc>
              <a:spcBef>
                <a:spcPts val="0"/>
              </a:spcBef>
              <a:buNone/>
              <a:defRPr>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3351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Title Slide - Long Tilte with Photo">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9D2A16-24A6-AA7D-BFB7-9E6C4A3A004A}"/>
              </a:ext>
            </a:extLst>
          </p:cNvPr>
          <p:cNvGraphicFramePr>
            <a:graphicFrameLocks noChangeAspect="1"/>
          </p:cNvGraphicFramePr>
          <p:nvPr>
            <p:custDataLst>
              <p:tags r:id="rId1"/>
            </p:custDataLst>
            <p:extLst>
              <p:ext uri="{D42A27DB-BD31-4B8C-83A1-F6EECF244321}">
                <p14:modId xmlns:p14="http://schemas.microsoft.com/office/powerpoint/2010/main" val="27499890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A39D2A16-24A6-AA7D-BFB7-9E6C4A3A00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6" name="Picture 6">
            <a:extLst>
              <a:ext uri="{FF2B5EF4-FFF2-40B4-BE49-F238E27FC236}">
                <a16:creationId xmlns:a16="http://schemas.microsoft.com/office/drawing/2014/main" id="{0344F2D8-2682-D0C2-C65E-33E6667FBD8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45388" y="2494061"/>
            <a:ext cx="3270086" cy="585687"/>
          </a:xfrm>
          <a:prstGeom prst="rect">
            <a:avLst/>
          </a:prstGeom>
        </p:spPr>
      </p:pic>
      <p:sp>
        <p:nvSpPr>
          <p:cNvPr id="55" name="Picture Placeholder 54">
            <a:extLst>
              <a:ext uri="{FF2B5EF4-FFF2-40B4-BE49-F238E27FC236}">
                <a16:creationId xmlns:a16="http://schemas.microsoft.com/office/drawing/2014/main" id="{D1B6E5FA-3E9D-5D34-44FC-E0F7DBEFDD84}"/>
              </a:ext>
            </a:extLst>
          </p:cNvPr>
          <p:cNvSpPr>
            <a:spLocks noGrp="1"/>
          </p:cNvSpPr>
          <p:nvPr>
            <p:ph type="pic" sz="quarter" idx="14"/>
          </p:nvPr>
        </p:nvSpPr>
        <p:spPr>
          <a:xfrm>
            <a:off x="1" y="-7497"/>
            <a:ext cx="11961045" cy="6865497"/>
          </a:xfrm>
          <a:custGeom>
            <a:avLst/>
            <a:gdLst>
              <a:gd name="connsiteX0" fmla="*/ 1027072 w 11961045"/>
              <a:gd name="connsiteY0" fmla="*/ 3063100 h 6865497"/>
              <a:gd name="connsiteX1" fmla="*/ 1028410 w 11961045"/>
              <a:gd name="connsiteY1" fmla="*/ 3063100 h 6865497"/>
              <a:gd name="connsiteX2" fmla="*/ 1032056 w 11961045"/>
              <a:gd name="connsiteY2" fmla="*/ 3063339 h 6865497"/>
              <a:gd name="connsiteX3" fmla="*/ 1033151 w 11961045"/>
              <a:gd name="connsiteY3" fmla="*/ 3064056 h 6865497"/>
              <a:gd name="connsiteX4" fmla="*/ 1033515 w 11961045"/>
              <a:gd name="connsiteY4" fmla="*/ 3065251 h 6865497"/>
              <a:gd name="connsiteX5" fmla="*/ 1033151 w 11961045"/>
              <a:gd name="connsiteY5" fmla="*/ 3066447 h 6865497"/>
              <a:gd name="connsiteX6" fmla="*/ 1032056 w 11961045"/>
              <a:gd name="connsiteY6" fmla="*/ 3067283 h 6865497"/>
              <a:gd name="connsiteX7" fmla="*/ 1028410 w 11961045"/>
              <a:gd name="connsiteY7" fmla="*/ 3067522 h 6865497"/>
              <a:gd name="connsiteX8" fmla="*/ 1027072 w 11961045"/>
              <a:gd name="connsiteY8" fmla="*/ 3067522 h 6865497"/>
              <a:gd name="connsiteX9" fmla="*/ 1023669 w 11961045"/>
              <a:gd name="connsiteY9" fmla="*/ 3060470 h 6865497"/>
              <a:gd name="connsiteX10" fmla="*/ 1023669 w 11961045"/>
              <a:gd name="connsiteY10" fmla="*/ 3076846 h 6865497"/>
              <a:gd name="connsiteX11" fmla="*/ 1023790 w 11961045"/>
              <a:gd name="connsiteY11" fmla="*/ 3076846 h 6865497"/>
              <a:gd name="connsiteX12" fmla="*/ 1027194 w 11961045"/>
              <a:gd name="connsiteY12" fmla="*/ 3076846 h 6865497"/>
              <a:gd name="connsiteX13" fmla="*/ 1027194 w 11961045"/>
              <a:gd name="connsiteY13" fmla="*/ 3070152 h 6865497"/>
              <a:gd name="connsiteX14" fmla="*/ 1028045 w 11961045"/>
              <a:gd name="connsiteY14" fmla="*/ 3070152 h 6865497"/>
              <a:gd name="connsiteX15" fmla="*/ 1030355 w 11961045"/>
              <a:gd name="connsiteY15" fmla="*/ 3070869 h 6865497"/>
              <a:gd name="connsiteX16" fmla="*/ 1032664 w 11961045"/>
              <a:gd name="connsiteY16" fmla="*/ 3074216 h 6865497"/>
              <a:gd name="connsiteX17" fmla="*/ 1034123 w 11961045"/>
              <a:gd name="connsiteY17" fmla="*/ 3076846 h 6865497"/>
              <a:gd name="connsiteX18" fmla="*/ 1038256 w 11961045"/>
              <a:gd name="connsiteY18" fmla="*/ 3076846 h 6865497"/>
              <a:gd name="connsiteX19" fmla="*/ 1036311 w 11961045"/>
              <a:gd name="connsiteY19" fmla="*/ 3073499 h 6865497"/>
              <a:gd name="connsiteX20" fmla="*/ 1035096 w 11961045"/>
              <a:gd name="connsiteY20" fmla="*/ 3071467 h 6865497"/>
              <a:gd name="connsiteX21" fmla="*/ 1034001 w 11961045"/>
              <a:gd name="connsiteY21" fmla="*/ 3070152 h 6865497"/>
              <a:gd name="connsiteX22" fmla="*/ 1032786 w 11961045"/>
              <a:gd name="connsiteY22" fmla="*/ 3069554 h 6865497"/>
              <a:gd name="connsiteX23" fmla="*/ 1036068 w 11961045"/>
              <a:gd name="connsiteY23" fmla="*/ 3068000 h 6865497"/>
              <a:gd name="connsiteX24" fmla="*/ 1037284 w 11961045"/>
              <a:gd name="connsiteY24" fmla="*/ 3065012 h 6865497"/>
              <a:gd name="connsiteX25" fmla="*/ 1036676 w 11961045"/>
              <a:gd name="connsiteY25" fmla="*/ 3062622 h 6865497"/>
              <a:gd name="connsiteX26" fmla="*/ 1035096 w 11961045"/>
              <a:gd name="connsiteY26" fmla="*/ 3061068 h 6865497"/>
              <a:gd name="connsiteX27" fmla="*/ 1032421 w 11961045"/>
              <a:gd name="connsiteY27" fmla="*/ 3060470 h 6865497"/>
              <a:gd name="connsiteX28" fmla="*/ 1027072 w 11961045"/>
              <a:gd name="connsiteY28" fmla="*/ 3060470 h 6865497"/>
              <a:gd name="connsiteX29" fmla="*/ 1030841 w 11961045"/>
              <a:gd name="connsiteY29" fmla="*/ 3056167 h 6865497"/>
              <a:gd name="connsiteX30" fmla="*/ 1037041 w 11961045"/>
              <a:gd name="connsiteY30" fmla="*/ 3057721 h 6865497"/>
              <a:gd name="connsiteX31" fmla="*/ 1041782 w 11961045"/>
              <a:gd name="connsiteY31" fmla="*/ 3062263 h 6865497"/>
              <a:gd name="connsiteX32" fmla="*/ 1043484 w 11961045"/>
              <a:gd name="connsiteY32" fmla="*/ 3068479 h 6865497"/>
              <a:gd name="connsiteX33" fmla="*/ 1041782 w 11961045"/>
              <a:gd name="connsiteY33" fmla="*/ 3074694 h 6865497"/>
              <a:gd name="connsiteX34" fmla="*/ 1037162 w 11961045"/>
              <a:gd name="connsiteY34" fmla="*/ 3079236 h 6865497"/>
              <a:gd name="connsiteX35" fmla="*/ 1030841 w 11961045"/>
              <a:gd name="connsiteY35" fmla="*/ 3080909 h 6865497"/>
              <a:gd name="connsiteX36" fmla="*/ 1024519 w 11961045"/>
              <a:gd name="connsiteY36" fmla="*/ 3079236 h 6865497"/>
              <a:gd name="connsiteX37" fmla="*/ 1019900 w 11961045"/>
              <a:gd name="connsiteY37" fmla="*/ 3074694 h 6865497"/>
              <a:gd name="connsiteX38" fmla="*/ 1018198 w 11961045"/>
              <a:gd name="connsiteY38" fmla="*/ 3068479 h 6865497"/>
              <a:gd name="connsiteX39" fmla="*/ 1019900 w 11961045"/>
              <a:gd name="connsiteY39" fmla="*/ 3062263 h 6865497"/>
              <a:gd name="connsiteX40" fmla="*/ 1024641 w 11961045"/>
              <a:gd name="connsiteY40" fmla="*/ 3057721 h 6865497"/>
              <a:gd name="connsiteX41" fmla="*/ 1030841 w 11961045"/>
              <a:gd name="connsiteY41" fmla="*/ 3056167 h 6865497"/>
              <a:gd name="connsiteX42" fmla="*/ 1030841 w 11961045"/>
              <a:gd name="connsiteY42" fmla="*/ 3053179 h 6865497"/>
              <a:gd name="connsiteX43" fmla="*/ 1023061 w 11961045"/>
              <a:gd name="connsiteY43" fmla="*/ 3055211 h 6865497"/>
              <a:gd name="connsiteX44" fmla="*/ 1017226 w 11961045"/>
              <a:gd name="connsiteY44" fmla="*/ 3060948 h 6865497"/>
              <a:gd name="connsiteX45" fmla="*/ 1015159 w 11961045"/>
              <a:gd name="connsiteY45" fmla="*/ 3068718 h 6865497"/>
              <a:gd name="connsiteX46" fmla="*/ 1017226 w 11961045"/>
              <a:gd name="connsiteY46" fmla="*/ 3076367 h 6865497"/>
              <a:gd name="connsiteX47" fmla="*/ 1023061 w 11961045"/>
              <a:gd name="connsiteY47" fmla="*/ 3082105 h 6865497"/>
              <a:gd name="connsiteX48" fmla="*/ 1030841 w 11961045"/>
              <a:gd name="connsiteY48" fmla="*/ 3084137 h 6865497"/>
              <a:gd name="connsiteX49" fmla="*/ 1038621 w 11961045"/>
              <a:gd name="connsiteY49" fmla="*/ 3082105 h 6865497"/>
              <a:gd name="connsiteX50" fmla="*/ 1044456 w 11961045"/>
              <a:gd name="connsiteY50" fmla="*/ 3076367 h 6865497"/>
              <a:gd name="connsiteX51" fmla="*/ 1046523 w 11961045"/>
              <a:gd name="connsiteY51" fmla="*/ 3068718 h 6865497"/>
              <a:gd name="connsiteX52" fmla="*/ 1044456 w 11961045"/>
              <a:gd name="connsiteY52" fmla="*/ 3060948 h 6865497"/>
              <a:gd name="connsiteX53" fmla="*/ 1038621 w 11961045"/>
              <a:gd name="connsiteY53" fmla="*/ 3055211 h 6865497"/>
              <a:gd name="connsiteX54" fmla="*/ 1030841 w 11961045"/>
              <a:gd name="connsiteY54" fmla="*/ 3053179 h 6865497"/>
              <a:gd name="connsiteX55" fmla="*/ 577405 w 11961045"/>
              <a:gd name="connsiteY55" fmla="*/ 2842451 h 6865497"/>
              <a:gd name="connsiteX56" fmla="*/ 577284 w 11961045"/>
              <a:gd name="connsiteY56" fmla="*/ 2842571 h 6865497"/>
              <a:gd name="connsiteX57" fmla="*/ 454625 w 11961045"/>
              <a:gd name="connsiteY57" fmla="*/ 2963174 h 6865497"/>
              <a:gd name="connsiteX58" fmla="*/ 577405 w 11961045"/>
              <a:gd name="connsiteY58" fmla="*/ 3083658 h 6865497"/>
              <a:gd name="connsiteX59" fmla="*/ 700064 w 11961045"/>
              <a:gd name="connsiteY59" fmla="*/ 2963055 h 6865497"/>
              <a:gd name="connsiteX60" fmla="*/ 577405 w 11961045"/>
              <a:gd name="connsiteY60" fmla="*/ 2842451 h 6865497"/>
              <a:gd name="connsiteX61" fmla="*/ 3534220 w 11961045"/>
              <a:gd name="connsiteY61" fmla="*/ 2754001 h 6865497"/>
              <a:gd name="connsiteX62" fmla="*/ 3568866 w 11961045"/>
              <a:gd name="connsiteY62" fmla="*/ 2761292 h 6865497"/>
              <a:gd name="connsiteX63" fmla="*/ 3596704 w 11961045"/>
              <a:gd name="connsiteY63" fmla="*/ 2781731 h 6865497"/>
              <a:gd name="connsiteX64" fmla="*/ 3615304 w 11961045"/>
              <a:gd name="connsiteY64" fmla="*/ 2813287 h 6865497"/>
              <a:gd name="connsiteX65" fmla="*/ 3621990 w 11961045"/>
              <a:gd name="connsiteY65" fmla="*/ 2852970 h 6865497"/>
              <a:gd name="connsiteX66" fmla="*/ 3615304 w 11961045"/>
              <a:gd name="connsiteY66" fmla="*/ 2893370 h 6865497"/>
              <a:gd name="connsiteX67" fmla="*/ 3596704 w 11961045"/>
              <a:gd name="connsiteY67" fmla="*/ 2924926 h 6865497"/>
              <a:gd name="connsiteX68" fmla="*/ 3568866 w 11961045"/>
              <a:gd name="connsiteY68" fmla="*/ 2945365 h 6865497"/>
              <a:gd name="connsiteX69" fmla="*/ 3534220 w 11961045"/>
              <a:gd name="connsiteY69" fmla="*/ 2952656 h 6865497"/>
              <a:gd name="connsiteX70" fmla="*/ 3499574 w 11961045"/>
              <a:gd name="connsiteY70" fmla="*/ 2945365 h 6865497"/>
              <a:gd name="connsiteX71" fmla="*/ 3471736 w 11961045"/>
              <a:gd name="connsiteY71" fmla="*/ 2924926 h 6865497"/>
              <a:gd name="connsiteX72" fmla="*/ 3453136 w 11961045"/>
              <a:gd name="connsiteY72" fmla="*/ 2893729 h 6865497"/>
              <a:gd name="connsiteX73" fmla="*/ 3446450 w 11961045"/>
              <a:gd name="connsiteY73" fmla="*/ 2853687 h 6865497"/>
              <a:gd name="connsiteX74" fmla="*/ 3446450 w 11961045"/>
              <a:gd name="connsiteY74" fmla="*/ 2853568 h 6865497"/>
              <a:gd name="connsiteX75" fmla="*/ 3453136 w 11961045"/>
              <a:gd name="connsiteY75" fmla="*/ 2813884 h 6865497"/>
              <a:gd name="connsiteX76" fmla="*/ 3471736 w 11961045"/>
              <a:gd name="connsiteY76" fmla="*/ 2782329 h 6865497"/>
              <a:gd name="connsiteX77" fmla="*/ 3499574 w 11961045"/>
              <a:gd name="connsiteY77" fmla="*/ 2761531 h 6865497"/>
              <a:gd name="connsiteX78" fmla="*/ 3534220 w 11961045"/>
              <a:gd name="connsiteY78" fmla="*/ 2754001 h 6865497"/>
              <a:gd name="connsiteX79" fmla="*/ 2694573 w 11961045"/>
              <a:gd name="connsiteY79" fmla="*/ 2745036 h 6865497"/>
              <a:gd name="connsiteX80" fmla="*/ 2753532 w 11961045"/>
              <a:gd name="connsiteY80" fmla="*/ 2767029 h 6865497"/>
              <a:gd name="connsiteX81" fmla="*/ 2781006 w 11961045"/>
              <a:gd name="connsiteY81" fmla="*/ 2825598 h 6865497"/>
              <a:gd name="connsiteX82" fmla="*/ 2781127 w 11961045"/>
              <a:gd name="connsiteY82" fmla="*/ 2825717 h 6865497"/>
              <a:gd name="connsiteX83" fmla="*/ 2609478 w 11961045"/>
              <a:gd name="connsiteY83" fmla="*/ 2825717 h 6865497"/>
              <a:gd name="connsiteX84" fmla="*/ 2617987 w 11961045"/>
              <a:gd name="connsiteY84" fmla="*/ 2792847 h 6865497"/>
              <a:gd name="connsiteX85" fmla="*/ 2636587 w 11961045"/>
              <a:gd name="connsiteY85" fmla="*/ 2767388 h 6865497"/>
              <a:gd name="connsiteX86" fmla="*/ 2662723 w 11961045"/>
              <a:gd name="connsiteY86" fmla="*/ 2750893 h 6865497"/>
              <a:gd name="connsiteX87" fmla="*/ 2694573 w 11961045"/>
              <a:gd name="connsiteY87" fmla="*/ 2745036 h 6865497"/>
              <a:gd name="connsiteX88" fmla="*/ 1795118 w 11961045"/>
              <a:gd name="connsiteY88" fmla="*/ 2686467 h 6865497"/>
              <a:gd name="connsiteX89" fmla="*/ 1795118 w 11961045"/>
              <a:gd name="connsiteY89" fmla="*/ 3021982 h 6865497"/>
              <a:gd name="connsiteX90" fmla="*/ 1881186 w 11961045"/>
              <a:gd name="connsiteY90" fmla="*/ 3021982 h 6865497"/>
              <a:gd name="connsiteX91" fmla="*/ 1881186 w 11961045"/>
              <a:gd name="connsiteY91" fmla="*/ 2686467 h 6865497"/>
              <a:gd name="connsiteX92" fmla="*/ 2369875 w 11961045"/>
              <a:gd name="connsiteY92" fmla="*/ 2685152 h 6865497"/>
              <a:gd name="connsiteX93" fmla="*/ 2297908 w 11961045"/>
              <a:gd name="connsiteY93" fmla="*/ 2703201 h 6865497"/>
              <a:gd name="connsiteX94" fmla="*/ 2245879 w 11961045"/>
              <a:gd name="connsiteY94" fmla="*/ 2755315 h 6865497"/>
              <a:gd name="connsiteX95" fmla="*/ 2216338 w 11961045"/>
              <a:gd name="connsiteY95" fmla="*/ 2705472 h 6865497"/>
              <a:gd name="connsiteX96" fmla="*/ 2150815 w 11961045"/>
              <a:gd name="connsiteY96" fmla="*/ 2685272 h 6865497"/>
              <a:gd name="connsiteX97" fmla="*/ 2076661 w 11961045"/>
              <a:gd name="connsiteY97" fmla="*/ 2702603 h 6865497"/>
              <a:gd name="connsiteX98" fmla="*/ 2025604 w 11961045"/>
              <a:gd name="connsiteY98" fmla="*/ 2752207 h 6865497"/>
              <a:gd name="connsiteX99" fmla="*/ 2025604 w 11961045"/>
              <a:gd name="connsiteY99" fmla="*/ 2686347 h 6865497"/>
              <a:gd name="connsiteX100" fmla="*/ 1947924 w 11961045"/>
              <a:gd name="connsiteY100" fmla="*/ 2686347 h 6865497"/>
              <a:gd name="connsiteX101" fmla="*/ 1947924 w 11961045"/>
              <a:gd name="connsiteY101" fmla="*/ 3021982 h 6865497"/>
              <a:gd name="connsiteX102" fmla="*/ 2033992 w 11961045"/>
              <a:gd name="connsiteY102" fmla="*/ 3021982 h 6865497"/>
              <a:gd name="connsiteX103" fmla="*/ 2033992 w 11961045"/>
              <a:gd name="connsiteY103" fmla="*/ 2828705 h 6865497"/>
              <a:gd name="connsiteX104" fmla="*/ 2066450 w 11961045"/>
              <a:gd name="connsiteY104" fmla="*/ 2778862 h 6865497"/>
              <a:gd name="connsiteX105" fmla="*/ 2114346 w 11961045"/>
              <a:gd name="connsiteY105" fmla="*/ 2759977 h 6865497"/>
              <a:gd name="connsiteX106" fmla="*/ 2152517 w 11961045"/>
              <a:gd name="connsiteY106" fmla="*/ 2778264 h 6865497"/>
              <a:gd name="connsiteX107" fmla="*/ 2166376 w 11961045"/>
              <a:gd name="connsiteY107" fmla="*/ 2836355 h 6865497"/>
              <a:gd name="connsiteX108" fmla="*/ 2166376 w 11961045"/>
              <a:gd name="connsiteY108" fmla="*/ 3021982 h 6865497"/>
              <a:gd name="connsiteX109" fmla="*/ 2252443 w 11961045"/>
              <a:gd name="connsiteY109" fmla="*/ 3021982 h 6865497"/>
              <a:gd name="connsiteX110" fmla="*/ 2252443 w 11961045"/>
              <a:gd name="connsiteY110" fmla="*/ 2829422 h 6865497"/>
              <a:gd name="connsiteX111" fmla="*/ 2284536 w 11961045"/>
              <a:gd name="connsiteY111" fmla="*/ 2779221 h 6865497"/>
              <a:gd name="connsiteX112" fmla="*/ 2332676 w 11961045"/>
              <a:gd name="connsiteY112" fmla="*/ 2759977 h 6865497"/>
              <a:gd name="connsiteX113" fmla="*/ 2370847 w 11961045"/>
              <a:gd name="connsiteY113" fmla="*/ 2778264 h 6865497"/>
              <a:gd name="connsiteX114" fmla="*/ 2384705 w 11961045"/>
              <a:gd name="connsiteY114" fmla="*/ 2836355 h 6865497"/>
              <a:gd name="connsiteX115" fmla="*/ 2384705 w 11961045"/>
              <a:gd name="connsiteY115" fmla="*/ 3021982 h 6865497"/>
              <a:gd name="connsiteX116" fmla="*/ 2470773 w 11961045"/>
              <a:gd name="connsiteY116" fmla="*/ 3021982 h 6865497"/>
              <a:gd name="connsiteX117" fmla="*/ 2470652 w 11961045"/>
              <a:gd name="connsiteY117" fmla="*/ 3021743 h 6865497"/>
              <a:gd name="connsiteX118" fmla="*/ 2470652 w 11961045"/>
              <a:gd name="connsiteY118" fmla="*/ 2815198 h 6865497"/>
              <a:gd name="connsiteX119" fmla="*/ 2466518 w 11961045"/>
              <a:gd name="connsiteY119" fmla="*/ 2767865 h 6865497"/>
              <a:gd name="connsiteX120" fmla="*/ 2451444 w 11961045"/>
              <a:gd name="connsiteY120" fmla="*/ 2726150 h 6865497"/>
              <a:gd name="connsiteX121" fmla="*/ 2420567 w 11961045"/>
              <a:gd name="connsiteY121" fmla="*/ 2696507 h 6865497"/>
              <a:gd name="connsiteX122" fmla="*/ 2369875 w 11961045"/>
              <a:gd name="connsiteY122" fmla="*/ 2685152 h 6865497"/>
              <a:gd name="connsiteX123" fmla="*/ 2695910 w 11961045"/>
              <a:gd name="connsiteY123" fmla="*/ 2684794 h 6865497"/>
              <a:gd name="connsiteX124" fmla="*/ 2622972 w 11961045"/>
              <a:gd name="connsiteY124" fmla="*/ 2698420 h 6865497"/>
              <a:gd name="connsiteX125" fmla="*/ 2567781 w 11961045"/>
              <a:gd name="connsiteY125" fmla="*/ 2735354 h 6865497"/>
              <a:gd name="connsiteX126" fmla="*/ 2533014 w 11961045"/>
              <a:gd name="connsiteY126" fmla="*/ 2789381 h 6865497"/>
              <a:gd name="connsiteX127" fmla="*/ 2520979 w 11961045"/>
              <a:gd name="connsiteY127" fmla="*/ 2854882 h 6865497"/>
              <a:gd name="connsiteX128" fmla="*/ 2533257 w 11961045"/>
              <a:gd name="connsiteY128" fmla="*/ 2918830 h 6865497"/>
              <a:gd name="connsiteX129" fmla="*/ 2568268 w 11961045"/>
              <a:gd name="connsiteY129" fmla="*/ 2972139 h 6865497"/>
              <a:gd name="connsiteX130" fmla="*/ 2623093 w 11961045"/>
              <a:gd name="connsiteY130" fmla="*/ 3008476 h 6865497"/>
              <a:gd name="connsiteX131" fmla="*/ 2695059 w 11961045"/>
              <a:gd name="connsiteY131" fmla="*/ 3021863 h 6865497"/>
              <a:gd name="connsiteX132" fmla="*/ 2695181 w 11961045"/>
              <a:gd name="connsiteY132" fmla="*/ 3021624 h 6865497"/>
              <a:gd name="connsiteX133" fmla="*/ 2790731 w 11961045"/>
              <a:gd name="connsiteY133" fmla="*/ 2997718 h 6865497"/>
              <a:gd name="connsiteX134" fmla="*/ 2849082 w 11961045"/>
              <a:gd name="connsiteY134" fmla="*/ 2936639 h 6865497"/>
              <a:gd name="connsiteX135" fmla="*/ 2776508 w 11961045"/>
              <a:gd name="connsiteY135" fmla="*/ 2916798 h 6865497"/>
              <a:gd name="connsiteX136" fmla="*/ 2745873 w 11961045"/>
              <a:gd name="connsiteY136" fmla="*/ 2948712 h 6865497"/>
              <a:gd name="connsiteX137" fmla="*/ 2698220 w 11961045"/>
              <a:gd name="connsiteY137" fmla="*/ 2960784 h 6865497"/>
              <a:gd name="connsiteX138" fmla="*/ 2666735 w 11961045"/>
              <a:gd name="connsiteY138" fmla="*/ 2955166 h 6865497"/>
              <a:gd name="connsiteX139" fmla="*/ 2639626 w 11961045"/>
              <a:gd name="connsiteY139" fmla="*/ 2939030 h 6865497"/>
              <a:gd name="connsiteX140" fmla="*/ 2620054 w 11961045"/>
              <a:gd name="connsiteY140" fmla="*/ 2913571 h 6865497"/>
              <a:gd name="connsiteX141" fmla="*/ 2610572 w 11961045"/>
              <a:gd name="connsiteY141" fmla="*/ 2879505 h 6865497"/>
              <a:gd name="connsiteX142" fmla="*/ 2866101 w 11961045"/>
              <a:gd name="connsiteY142" fmla="*/ 2879505 h 6865497"/>
              <a:gd name="connsiteX143" fmla="*/ 2867681 w 11961045"/>
              <a:gd name="connsiteY143" fmla="*/ 2867074 h 6865497"/>
              <a:gd name="connsiteX144" fmla="*/ 2868046 w 11961045"/>
              <a:gd name="connsiteY144" fmla="*/ 2851536 h 6865497"/>
              <a:gd name="connsiteX145" fmla="*/ 2856376 w 11961045"/>
              <a:gd name="connsiteY145" fmla="*/ 2788305 h 6865497"/>
              <a:gd name="connsiteX146" fmla="*/ 2822337 w 11961045"/>
              <a:gd name="connsiteY146" fmla="*/ 2734996 h 6865497"/>
              <a:gd name="connsiteX147" fmla="*/ 2768120 w 11961045"/>
              <a:gd name="connsiteY147" fmla="*/ 2698420 h 6865497"/>
              <a:gd name="connsiteX148" fmla="*/ 2695910 w 11961045"/>
              <a:gd name="connsiteY148" fmla="*/ 2684794 h 6865497"/>
              <a:gd name="connsiteX149" fmla="*/ 3534220 w 11961045"/>
              <a:gd name="connsiteY149" fmla="*/ 2682284 h 6865497"/>
              <a:gd name="connsiteX150" fmla="*/ 3460552 w 11961045"/>
              <a:gd name="connsiteY150" fmla="*/ 2696149 h 6865497"/>
              <a:gd name="connsiteX151" fmla="*/ 3405118 w 11961045"/>
              <a:gd name="connsiteY151" fmla="*/ 2733681 h 6865497"/>
              <a:gd name="connsiteX152" fmla="*/ 3370229 w 11961045"/>
              <a:gd name="connsiteY152" fmla="*/ 2788186 h 6865497"/>
              <a:gd name="connsiteX153" fmla="*/ 3358073 w 11961045"/>
              <a:gd name="connsiteY153" fmla="*/ 2853687 h 6865497"/>
              <a:gd name="connsiteX154" fmla="*/ 3370229 w 11961045"/>
              <a:gd name="connsiteY154" fmla="*/ 2918591 h 6865497"/>
              <a:gd name="connsiteX155" fmla="*/ 3405118 w 11961045"/>
              <a:gd name="connsiteY155" fmla="*/ 2973096 h 6865497"/>
              <a:gd name="connsiteX156" fmla="*/ 3460552 w 11961045"/>
              <a:gd name="connsiteY156" fmla="*/ 3010627 h 6865497"/>
              <a:gd name="connsiteX157" fmla="*/ 3534220 w 11961045"/>
              <a:gd name="connsiteY157" fmla="*/ 3024493 h 6865497"/>
              <a:gd name="connsiteX158" fmla="*/ 3607888 w 11961045"/>
              <a:gd name="connsiteY158" fmla="*/ 3010627 h 6865497"/>
              <a:gd name="connsiteX159" fmla="*/ 3663078 w 11961045"/>
              <a:gd name="connsiteY159" fmla="*/ 2973096 h 6865497"/>
              <a:gd name="connsiteX160" fmla="*/ 3697724 w 11961045"/>
              <a:gd name="connsiteY160" fmla="*/ 2918591 h 6865497"/>
              <a:gd name="connsiteX161" fmla="*/ 3709881 w 11961045"/>
              <a:gd name="connsiteY161" fmla="*/ 2853687 h 6865497"/>
              <a:gd name="connsiteX162" fmla="*/ 3697724 w 11961045"/>
              <a:gd name="connsiteY162" fmla="*/ 2788186 h 6865497"/>
              <a:gd name="connsiteX163" fmla="*/ 3662835 w 11961045"/>
              <a:gd name="connsiteY163" fmla="*/ 2733681 h 6865497"/>
              <a:gd name="connsiteX164" fmla="*/ 3607645 w 11961045"/>
              <a:gd name="connsiteY164" fmla="*/ 2696149 h 6865497"/>
              <a:gd name="connsiteX165" fmla="*/ 3534220 w 11961045"/>
              <a:gd name="connsiteY165" fmla="*/ 2682284 h 6865497"/>
              <a:gd name="connsiteX166" fmla="*/ 3142417 w 11961045"/>
              <a:gd name="connsiteY166" fmla="*/ 2567298 h 6865497"/>
              <a:gd name="connsiteX167" fmla="*/ 3047353 w 11961045"/>
              <a:gd name="connsiteY167" fmla="*/ 2586901 h 6865497"/>
              <a:gd name="connsiteX168" fmla="*/ 2976724 w 11961045"/>
              <a:gd name="connsiteY168" fmla="*/ 2638059 h 6865497"/>
              <a:gd name="connsiteX169" fmla="*/ 2932718 w 11961045"/>
              <a:gd name="connsiteY169" fmla="*/ 2709775 h 6865497"/>
              <a:gd name="connsiteX170" fmla="*/ 2917656 w 11961045"/>
              <a:gd name="connsiteY170" fmla="*/ 2790874 h 6865497"/>
              <a:gd name="connsiteX171" fmla="*/ 2917644 w 11961045"/>
              <a:gd name="connsiteY171" fmla="*/ 2790815 h 6865497"/>
              <a:gd name="connsiteX172" fmla="*/ 2917644 w 11961045"/>
              <a:gd name="connsiteY172" fmla="*/ 2790935 h 6865497"/>
              <a:gd name="connsiteX173" fmla="*/ 2917656 w 11961045"/>
              <a:gd name="connsiteY173" fmla="*/ 2790874 h 6865497"/>
              <a:gd name="connsiteX174" fmla="*/ 2934055 w 11961045"/>
              <a:gd name="connsiteY174" fmla="*/ 2875083 h 6865497"/>
              <a:gd name="connsiteX175" fmla="*/ 2979642 w 11961045"/>
              <a:gd name="connsiteY175" fmla="*/ 2948951 h 6865497"/>
              <a:gd name="connsiteX176" fmla="*/ 3049298 w 11961045"/>
              <a:gd name="connsiteY176" fmla="*/ 3001663 h 6865497"/>
              <a:gd name="connsiteX177" fmla="*/ 3138527 w 11961045"/>
              <a:gd name="connsiteY177" fmla="*/ 3021863 h 6865497"/>
              <a:gd name="connsiteX178" fmla="*/ 3195054 w 11961045"/>
              <a:gd name="connsiteY178" fmla="*/ 3014930 h 6865497"/>
              <a:gd name="connsiteX179" fmla="*/ 3249272 w 11961045"/>
              <a:gd name="connsiteY179" fmla="*/ 2994730 h 6865497"/>
              <a:gd name="connsiteX180" fmla="*/ 3294859 w 11961045"/>
              <a:gd name="connsiteY180" fmla="*/ 2962218 h 6865497"/>
              <a:gd name="connsiteX181" fmla="*/ 3325979 w 11961045"/>
              <a:gd name="connsiteY181" fmla="*/ 2917754 h 6865497"/>
              <a:gd name="connsiteX182" fmla="*/ 3253405 w 11961045"/>
              <a:gd name="connsiteY182" fmla="*/ 2876756 h 6865497"/>
              <a:gd name="connsiteX183" fmla="*/ 3232861 w 11961045"/>
              <a:gd name="connsiteY183" fmla="*/ 2908072 h 6865497"/>
              <a:gd name="connsiteX184" fmla="*/ 3204901 w 11961045"/>
              <a:gd name="connsiteY184" fmla="*/ 2929229 h 6865497"/>
              <a:gd name="connsiteX185" fmla="*/ 3173173 w 11961045"/>
              <a:gd name="connsiteY185" fmla="*/ 2941181 h 6865497"/>
              <a:gd name="connsiteX186" fmla="*/ 3141080 w 11961045"/>
              <a:gd name="connsiteY186" fmla="*/ 2945006 h 6865497"/>
              <a:gd name="connsiteX187" fmla="*/ 3086862 w 11961045"/>
              <a:gd name="connsiteY187" fmla="*/ 2932336 h 6865497"/>
              <a:gd name="connsiteX188" fmla="*/ 3044436 w 11961045"/>
              <a:gd name="connsiteY188" fmla="*/ 2898869 h 6865497"/>
              <a:gd name="connsiteX189" fmla="*/ 3017084 w 11961045"/>
              <a:gd name="connsiteY189" fmla="*/ 2850579 h 6865497"/>
              <a:gd name="connsiteX190" fmla="*/ 3007480 w 11961045"/>
              <a:gd name="connsiteY190" fmla="*/ 2793445 h 6865497"/>
              <a:gd name="connsiteX191" fmla="*/ 3015868 w 11961045"/>
              <a:gd name="connsiteY191" fmla="*/ 2740016 h 6865497"/>
              <a:gd name="connsiteX192" fmla="*/ 3040667 w 11961045"/>
              <a:gd name="connsiteY192" fmla="*/ 2692085 h 6865497"/>
              <a:gd name="connsiteX193" fmla="*/ 3081756 w 11961045"/>
              <a:gd name="connsiteY193" fmla="*/ 2657661 h 6865497"/>
              <a:gd name="connsiteX194" fmla="*/ 3139864 w 11961045"/>
              <a:gd name="connsiteY194" fmla="*/ 2644394 h 6865497"/>
              <a:gd name="connsiteX195" fmla="*/ 3171349 w 11961045"/>
              <a:gd name="connsiteY195" fmla="*/ 2647860 h 6865497"/>
              <a:gd name="connsiteX196" fmla="*/ 3202227 w 11961045"/>
              <a:gd name="connsiteY196" fmla="*/ 2658856 h 6865497"/>
              <a:gd name="connsiteX197" fmla="*/ 3229822 w 11961045"/>
              <a:gd name="connsiteY197" fmla="*/ 2679415 h 6865497"/>
              <a:gd name="connsiteX198" fmla="*/ 3251703 w 11961045"/>
              <a:gd name="connsiteY198" fmla="*/ 2711329 h 6865497"/>
              <a:gd name="connsiteX199" fmla="*/ 3319780 w 11961045"/>
              <a:gd name="connsiteY199" fmla="*/ 2665191 h 6865497"/>
              <a:gd name="connsiteX200" fmla="*/ 3251339 w 11961045"/>
              <a:gd name="connsiteY200" fmla="*/ 2594431 h 6865497"/>
              <a:gd name="connsiteX201" fmla="*/ 3142417 w 11961045"/>
              <a:gd name="connsiteY201" fmla="*/ 2567298 h 6865497"/>
              <a:gd name="connsiteX202" fmla="*/ 1371708 w 11961045"/>
              <a:gd name="connsiteY202" fmla="*/ 2567298 h 6865497"/>
              <a:gd name="connsiteX203" fmla="*/ 1276644 w 11961045"/>
              <a:gd name="connsiteY203" fmla="*/ 2586901 h 6865497"/>
              <a:gd name="connsiteX204" fmla="*/ 1206015 w 11961045"/>
              <a:gd name="connsiteY204" fmla="*/ 2638059 h 6865497"/>
              <a:gd name="connsiteX205" fmla="*/ 1162009 w 11961045"/>
              <a:gd name="connsiteY205" fmla="*/ 2709775 h 6865497"/>
              <a:gd name="connsiteX206" fmla="*/ 1146946 w 11961045"/>
              <a:gd name="connsiteY206" fmla="*/ 2790874 h 6865497"/>
              <a:gd name="connsiteX207" fmla="*/ 1146935 w 11961045"/>
              <a:gd name="connsiteY207" fmla="*/ 2790815 h 6865497"/>
              <a:gd name="connsiteX208" fmla="*/ 1146935 w 11961045"/>
              <a:gd name="connsiteY208" fmla="*/ 2790935 h 6865497"/>
              <a:gd name="connsiteX209" fmla="*/ 1146946 w 11961045"/>
              <a:gd name="connsiteY209" fmla="*/ 2790874 h 6865497"/>
              <a:gd name="connsiteX210" fmla="*/ 1163346 w 11961045"/>
              <a:gd name="connsiteY210" fmla="*/ 2875083 h 6865497"/>
              <a:gd name="connsiteX211" fmla="*/ 1208933 w 11961045"/>
              <a:gd name="connsiteY211" fmla="*/ 2948951 h 6865497"/>
              <a:gd name="connsiteX212" fmla="*/ 1278589 w 11961045"/>
              <a:gd name="connsiteY212" fmla="*/ 3001663 h 6865497"/>
              <a:gd name="connsiteX213" fmla="*/ 1367818 w 11961045"/>
              <a:gd name="connsiteY213" fmla="*/ 3021863 h 6865497"/>
              <a:gd name="connsiteX214" fmla="*/ 1424345 w 11961045"/>
              <a:gd name="connsiteY214" fmla="*/ 3014930 h 6865497"/>
              <a:gd name="connsiteX215" fmla="*/ 1478685 w 11961045"/>
              <a:gd name="connsiteY215" fmla="*/ 2994730 h 6865497"/>
              <a:gd name="connsiteX216" fmla="*/ 1524271 w 11961045"/>
              <a:gd name="connsiteY216" fmla="*/ 2962218 h 6865497"/>
              <a:gd name="connsiteX217" fmla="*/ 1555392 w 11961045"/>
              <a:gd name="connsiteY217" fmla="*/ 2917754 h 6865497"/>
              <a:gd name="connsiteX218" fmla="*/ 1482818 w 11961045"/>
              <a:gd name="connsiteY218" fmla="*/ 2876756 h 6865497"/>
              <a:gd name="connsiteX219" fmla="*/ 1462273 w 11961045"/>
              <a:gd name="connsiteY219" fmla="*/ 2908072 h 6865497"/>
              <a:gd name="connsiteX220" fmla="*/ 1434314 w 11961045"/>
              <a:gd name="connsiteY220" fmla="*/ 2929229 h 6865497"/>
              <a:gd name="connsiteX221" fmla="*/ 1402585 w 11961045"/>
              <a:gd name="connsiteY221" fmla="*/ 2941181 h 6865497"/>
              <a:gd name="connsiteX222" fmla="*/ 1370492 w 11961045"/>
              <a:gd name="connsiteY222" fmla="*/ 2945006 h 6865497"/>
              <a:gd name="connsiteX223" fmla="*/ 1316274 w 11961045"/>
              <a:gd name="connsiteY223" fmla="*/ 2932336 h 6865497"/>
              <a:gd name="connsiteX224" fmla="*/ 1273848 w 11961045"/>
              <a:gd name="connsiteY224" fmla="*/ 2898869 h 6865497"/>
              <a:gd name="connsiteX225" fmla="*/ 1246496 w 11961045"/>
              <a:gd name="connsiteY225" fmla="*/ 2850579 h 6865497"/>
              <a:gd name="connsiteX226" fmla="*/ 1236893 w 11961045"/>
              <a:gd name="connsiteY226" fmla="*/ 2793445 h 6865497"/>
              <a:gd name="connsiteX227" fmla="*/ 1245281 w 11961045"/>
              <a:gd name="connsiteY227" fmla="*/ 2740016 h 6865497"/>
              <a:gd name="connsiteX228" fmla="*/ 1269958 w 11961045"/>
              <a:gd name="connsiteY228" fmla="*/ 2692085 h 6865497"/>
              <a:gd name="connsiteX229" fmla="*/ 1311047 w 11961045"/>
              <a:gd name="connsiteY229" fmla="*/ 2657661 h 6865497"/>
              <a:gd name="connsiteX230" fmla="*/ 1369155 w 11961045"/>
              <a:gd name="connsiteY230" fmla="*/ 2644394 h 6865497"/>
              <a:gd name="connsiteX231" fmla="*/ 1400640 w 11961045"/>
              <a:gd name="connsiteY231" fmla="*/ 2647860 h 6865497"/>
              <a:gd name="connsiteX232" fmla="*/ 1431518 w 11961045"/>
              <a:gd name="connsiteY232" fmla="*/ 2658856 h 6865497"/>
              <a:gd name="connsiteX233" fmla="*/ 1459113 w 11961045"/>
              <a:gd name="connsiteY233" fmla="*/ 2679415 h 6865497"/>
              <a:gd name="connsiteX234" fmla="*/ 1480994 w 11961045"/>
              <a:gd name="connsiteY234" fmla="*/ 2711329 h 6865497"/>
              <a:gd name="connsiteX235" fmla="*/ 1549071 w 11961045"/>
              <a:gd name="connsiteY235" fmla="*/ 2665191 h 6865497"/>
              <a:gd name="connsiteX236" fmla="*/ 1480630 w 11961045"/>
              <a:gd name="connsiteY236" fmla="*/ 2594431 h 6865497"/>
              <a:gd name="connsiteX237" fmla="*/ 1371708 w 11961045"/>
              <a:gd name="connsiteY237" fmla="*/ 2567298 h 6865497"/>
              <a:gd name="connsiteX238" fmla="*/ 1795118 w 11961045"/>
              <a:gd name="connsiteY238" fmla="*/ 2560963 h 6865497"/>
              <a:gd name="connsiteX239" fmla="*/ 1795118 w 11961045"/>
              <a:gd name="connsiteY239" fmla="*/ 2644991 h 6865497"/>
              <a:gd name="connsiteX240" fmla="*/ 1881186 w 11961045"/>
              <a:gd name="connsiteY240" fmla="*/ 2644991 h 6865497"/>
              <a:gd name="connsiteX241" fmla="*/ 1881186 w 11961045"/>
              <a:gd name="connsiteY241" fmla="*/ 2560963 h 6865497"/>
              <a:gd name="connsiteX242" fmla="*/ 1598183 w 11961045"/>
              <a:gd name="connsiteY242" fmla="*/ 2556062 h 6865497"/>
              <a:gd name="connsiteX243" fmla="*/ 1598183 w 11961045"/>
              <a:gd name="connsiteY243" fmla="*/ 2940703 h 6865497"/>
              <a:gd name="connsiteX244" fmla="*/ 1620308 w 11961045"/>
              <a:gd name="connsiteY244" fmla="*/ 3001065 h 6865497"/>
              <a:gd name="connsiteX245" fmla="*/ 1621159 w 11961045"/>
              <a:gd name="connsiteY245" fmla="*/ 3001901 h 6865497"/>
              <a:gd name="connsiteX246" fmla="*/ 1634166 w 11961045"/>
              <a:gd name="connsiteY246" fmla="*/ 3011224 h 6865497"/>
              <a:gd name="connsiteX247" fmla="*/ 1644499 w 11961045"/>
              <a:gd name="connsiteY247" fmla="*/ 3015886 h 6865497"/>
              <a:gd name="connsiteX248" fmla="*/ 1696529 w 11961045"/>
              <a:gd name="connsiteY248" fmla="*/ 3021862 h 6865497"/>
              <a:gd name="connsiteX249" fmla="*/ 1701148 w 11961045"/>
              <a:gd name="connsiteY249" fmla="*/ 3021623 h 6865497"/>
              <a:gd name="connsiteX250" fmla="*/ 1706011 w 11961045"/>
              <a:gd name="connsiteY250" fmla="*/ 3021265 h 6865497"/>
              <a:gd name="connsiteX251" fmla="*/ 1710752 w 11961045"/>
              <a:gd name="connsiteY251" fmla="*/ 3020787 h 6865497"/>
              <a:gd name="connsiteX252" fmla="*/ 1715493 w 11961045"/>
              <a:gd name="connsiteY252" fmla="*/ 3020189 h 6865497"/>
              <a:gd name="connsiteX253" fmla="*/ 1720234 w 11961045"/>
              <a:gd name="connsiteY253" fmla="*/ 3019472 h 6865497"/>
              <a:gd name="connsiteX254" fmla="*/ 1725096 w 11961045"/>
              <a:gd name="connsiteY254" fmla="*/ 3018516 h 6865497"/>
              <a:gd name="connsiteX255" fmla="*/ 1727649 w 11961045"/>
              <a:gd name="connsiteY255" fmla="*/ 3017918 h 6865497"/>
              <a:gd name="connsiteX256" fmla="*/ 1732998 w 11961045"/>
              <a:gd name="connsiteY256" fmla="*/ 3016364 h 6865497"/>
              <a:gd name="connsiteX257" fmla="*/ 1734943 w 11961045"/>
              <a:gd name="connsiteY257" fmla="*/ 3015767 h 6865497"/>
              <a:gd name="connsiteX258" fmla="*/ 1723151 w 11961045"/>
              <a:gd name="connsiteY258" fmla="*/ 2942018 h 6865497"/>
              <a:gd name="connsiteX259" fmla="*/ 1695191 w 11961045"/>
              <a:gd name="connsiteY259" fmla="*/ 2943572 h 6865497"/>
              <a:gd name="connsiteX260" fmla="*/ 1695070 w 11961045"/>
              <a:gd name="connsiteY260" fmla="*/ 2943572 h 6865497"/>
              <a:gd name="connsiteX261" fmla="*/ 1684251 w 11961045"/>
              <a:gd name="connsiteY261" fmla="*/ 2913570 h 6865497"/>
              <a:gd name="connsiteX262" fmla="*/ 1684251 w 11961045"/>
              <a:gd name="connsiteY262" fmla="*/ 2556062 h 6865497"/>
              <a:gd name="connsiteX263" fmla="*/ 576722 w 11961045"/>
              <a:gd name="connsiteY263" fmla="*/ 2501528 h 6865497"/>
              <a:gd name="connsiteX264" fmla="*/ 490000 w 11961045"/>
              <a:gd name="connsiteY264" fmla="*/ 2536938 h 6865497"/>
              <a:gd name="connsiteX265" fmla="*/ 490000 w 11961045"/>
              <a:gd name="connsiteY265" fmla="*/ 2707505 h 6865497"/>
              <a:gd name="connsiteX266" fmla="*/ 663473 w 11961045"/>
              <a:gd name="connsiteY266" fmla="*/ 2707505 h 6865497"/>
              <a:gd name="connsiteX267" fmla="*/ 837067 w 11961045"/>
              <a:gd name="connsiteY267" fmla="*/ 2707505 h 6865497"/>
              <a:gd name="connsiteX268" fmla="*/ 837067 w 11961045"/>
              <a:gd name="connsiteY268" fmla="*/ 2878190 h 6865497"/>
              <a:gd name="connsiteX269" fmla="*/ 837067 w 11961045"/>
              <a:gd name="connsiteY269" fmla="*/ 3048757 h 6865497"/>
              <a:gd name="connsiteX270" fmla="*/ 1010661 w 11961045"/>
              <a:gd name="connsiteY270" fmla="*/ 3048757 h 6865497"/>
              <a:gd name="connsiteX271" fmla="*/ 1010661 w 11961045"/>
              <a:gd name="connsiteY271" fmla="*/ 2878190 h 6865497"/>
              <a:gd name="connsiteX272" fmla="*/ 1010661 w 11961045"/>
              <a:gd name="connsiteY272" fmla="*/ 2707505 h 6865497"/>
              <a:gd name="connsiteX273" fmla="*/ 1010540 w 11961045"/>
              <a:gd name="connsiteY273" fmla="*/ 2707505 h 6865497"/>
              <a:gd name="connsiteX274" fmla="*/ 1010540 w 11961045"/>
              <a:gd name="connsiteY274" fmla="*/ 2536938 h 6865497"/>
              <a:gd name="connsiteX275" fmla="*/ 836946 w 11961045"/>
              <a:gd name="connsiteY275" fmla="*/ 2536938 h 6865497"/>
              <a:gd name="connsiteX276" fmla="*/ 663352 w 11961045"/>
              <a:gd name="connsiteY276" fmla="*/ 2536938 h 6865497"/>
              <a:gd name="connsiteX277" fmla="*/ 576722 w 11961045"/>
              <a:gd name="connsiteY277" fmla="*/ 2501528 h 6865497"/>
              <a:gd name="connsiteX278" fmla="*/ 0 w 11961045"/>
              <a:gd name="connsiteY278" fmla="*/ 0 h 6865497"/>
              <a:gd name="connsiteX279" fmla="*/ 11465408 w 11961045"/>
              <a:gd name="connsiteY279" fmla="*/ 0 h 6865497"/>
              <a:gd name="connsiteX280" fmla="*/ 11609808 w 11961045"/>
              <a:gd name="connsiteY280" fmla="*/ 524966 h 6865497"/>
              <a:gd name="connsiteX281" fmla="*/ 11961045 w 11961045"/>
              <a:gd name="connsiteY281" fmla="*/ 3436498 h 6865497"/>
              <a:gd name="connsiteX282" fmla="*/ 11609807 w 11961045"/>
              <a:gd name="connsiteY282" fmla="*/ 6348030 h 6865497"/>
              <a:gd name="connsiteX283" fmla="*/ 11467471 w 11961045"/>
              <a:gd name="connsiteY283" fmla="*/ 6865497 h 6865497"/>
              <a:gd name="connsiteX284" fmla="*/ 0 w 11961045"/>
              <a:gd name="connsiteY284"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11961045" h="6865497">
                <a:moveTo>
                  <a:pt x="1027072" y="3063100"/>
                </a:moveTo>
                <a:lnTo>
                  <a:pt x="1028410" y="3063100"/>
                </a:lnTo>
                <a:cubicBezTo>
                  <a:pt x="1030355" y="3063100"/>
                  <a:pt x="1031570" y="3063219"/>
                  <a:pt x="1032056" y="3063339"/>
                </a:cubicBezTo>
                <a:cubicBezTo>
                  <a:pt x="1032543" y="3063458"/>
                  <a:pt x="1032907" y="3063697"/>
                  <a:pt x="1033151" y="3064056"/>
                </a:cubicBezTo>
                <a:cubicBezTo>
                  <a:pt x="1033394" y="3064415"/>
                  <a:pt x="1033515" y="3064893"/>
                  <a:pt x="1033515" y="3065251"/>
                </a:cubicBezTo>
                <a:cubicBezTo>
                  <a:pt x="1033515" y="3065610"/>
                  <a:pt x="1033394" y="3066088"/>
                  <a:pt x="1033151" y="3066447"/>
                </a:cubicBezTo>
                <a:cubicBezTo>
                  <a:pt x="1032907" y="3066925"/>
                  <a:pt x="1032543" y="3067164"/>
                  <a:pt x="1032056" y="3067283"/>
                </a:cubicBezTo>
                <a:cubicBezTo>
                  <a:pt x="1031570" y="3067522"/>
                  <a:pt x="1030355" y="3067522"/>
                  <a:pt x="1028410" y="3067522"/>
                </a:cubicBezTo>
                <a:lnTo>
                  <a:pt x="1027072" y="3067522"/>
                </a:lnTo>
                <a:close/>
                <a:moveTo>
                  <a:pt x="1023669" y="3060470"/>
                </a:moveTo>
                <a:lnTo>
                  <a:pt x="1023669" y="3076846"/>
                </a:lnTo>
                <a:lnTo>
                  <a:pt x="1023790" y="3076846"/>
                </a:lnTo>
                <a:lnTo>
                  <a:pt x="1027194" y="3076846"/>
                </a:lnTo>
                <a:lnTo>
                  <a:pt x="1027194" y="3070152"/>
                </a:lnTo>
                <a:lnTo>
                  <a:pt x="1028045" y="3070152"/>
                </a:lnTo>
                <a:cubicBezTo>
                  <a:pt x="1028896" y="3070152"/>
                  <a:pt x="1029747" y="3070391"/>
                  <a:pt x="1030355" y="3070869"/>
                </a:cubicBezTo>
                <a:cubicBezTo>
                  <a:pt x="1030962" y="3071347"/>
                  <a:pt x="1031692" y="3072423"/>
                  <a:pt x="1032664" y="3074216"/>
                </a:cubicBezTo>
                <a:lnTo>
                  <a:pt x="1034123" y="3076846"/>
                </a:lnTo>
                <a:lnTo>
                  <a:pt x="1038256" y="3076846"/>
                </a:lnTo>
                <a:lnTo>
                  <a:pt x="1036311" y="3073499"/>
                </a:lnTo>
                <a:cubicBezTo>
                  <a:pt x="1035703" y="3072303"/>
                  <a:pt x="1035217" y="3071586"/>
                  <a:pt x="1035096" y="3071467"/>
                </a:cubicBezTo>
                <a:cubicBezTo>
                  <a:pt x="1034609" y="3070750"/>
                  <a:pt x="1034245" y="3070391"/>
                  <a:pt x="1034001" y="3070152"/>
                </a:cubicBezTo>
                <a:cubicBezTo>
                  <a:pt x="1033637" y="3069913"/>
                  <a:pt x="1033272" y="3069793"/>
                  <a:pt x="1032786" y="3069554"/>
                </a:cubicBezTo>
                <a:cubicBezTo>
                  <a:pt x="1034245" y="3069315"/>
                  <a:pt x="1035339" y="3068837"/>
                  <a:pt x="1036068" y="3068000"/>
                </a:cubicBezTo>
                <a:cubicBezTo>
                  <a:pt x="1036919" y="3067164"/>
                  <a:pt x="1037284" y="3066208"/>
                  <a:pt x="1037284" y="3065012"/>
                </a:cubicBezTo>
                <a:cubicBezTo>
                  <a:pt x="1037284" y="3064056"/>
                  <a:pt x="1037041" y="3063339"/>
                  <a:pt x="1036676" y="3062622"/>
                </a:cubicBezTo>
                <a:cubicBezTo>
                  <a:pt x="1036190" y="3061905"/>
                  <a:pt x="1035703" y="3061426"/>
                  <a:pt x="1035096" y="3061068"/>
                </a:cubicBezTo>
                <a:cubicBezTo>
                  <a:pt x="1034366" y="3060829"/>
                  <a:pt x="1033515" y="3060470"/>
                  <a:pt x="1032421" y="3060470"/>
                </a:cubicBezTo>
                <a:cubicBezTo>
                  <a:pt x="1032056" y="3060470"/>
                  <a:pt x="1030233" y="3060470"/>
                  <a:pt x="1027072" y="3060470"/>
                </a:cubicBezTo>
                <a:close/>
                <a:moveTo>
                  <a:pt x="1030841" y="3056167"/>
                </a:moveTo>
                <a:cubicBezTo>
                  <a:pt x="1033029" y="3056167"/>
                  <a:pt x="1035096" y="3056645"/>
                  <a:pt x="1037041" y="3057721"/>
                </a:cubicBezTo>
                <a:cubicBezTo>
                  <a:pt x="1039107" y="3058797"/>
                  <a:pt x="1040688" y="3060231"/>
                  <a:pt x="1041782" y="3062263"/>
                </a:cubicBezTo>
                <a:cubicBezTo>
                  <a:pt x="1042876" y="3064176"/>
                  <a:pt x="1043484" y="3066327"/>
                  <a:pt x="1043484" y="3068479"/>
                </a:cubicBezTo>
                <a:cubicBezTo>
                  <a:pt x="1043484" y="3070630"/>
                  <a:pt x="1042876" y="3072782"/>
                  <a:pt x="1041782" y="3074694"/>
                </a:cubicBezTo>
                <a:cubicBezTo>
                  <a:pt x="1040688" y="3076606"/>
                  <a:pt x="1039107" y="3078160"/>
                  <a:pt x="1037162" y="3079236"/>
                </a:cubicBezTo>
                <a:cubicBezTo>
                  <a:pt x="1035096" y="3080312"/>
                  <a:pt x="1033029" y="3080909"/>
                  <a:pt x="1030841" y="3080909"/>
                </a:cubicBezTo>
                <a:cubicBezTo>
                  <a:pt x="1028653" y="3080909"/>
                  <a:pt x="1026465" y="3080312"/>
                  <a:pt x="1024519" y="3079236"/>
                </a:cubicBezTo>
                <a:cubicBezTo>
                  <a:pt x="1022574" y="3078160"/>
                  <a:pt x="1020994" y="3076606"/>
                  <a:pt x="1019900" y="3074694"/>
                </a:cubicBezTo>
                <a:cubicBezTo>
                  <a:pt x="1018806" y="3072662"/>
                  <a:pt x="1018198" y="3070630"/>
                  <a:pt x="1018198" y="3068479"/>
                </a:cubicBezTo>
                <a:cubicBezTo>
                  <a:pt x="1018198" y="3066327"/>
                  <a:pt x="1018806" y="3064295"/>
                  <a:pt x="1019900" y="3062263"/>
                </a:cubicBezTo>
                <a:cubicBezTo>
                  <a:pt x="1021116" y="3060351"/>
                  <a:pt x="1022696" y="3058797"/>
                  <a:pt x="1024641" y="3057721"/>
                </a:cubicBezTo>
                <a:cubicBezTo>
                  <a:pt x="1026586" y="3056645"/>
                  <a:pt x="1028653" y="3056167"/>
                  <a:pt x="1030841" y="3056167"/>
                </a:cubicBezTo>
                <a:close/>
                <a:moveTo>
                  <a:pt x="1030841" y="3053179"/>
                </a:moveTo>
                <a:cubicBezTo>
                  <a:pt x="1028166" y="3053179"/>
                  <a:pt x="1025492" y="3053896"/>
                  <a:pt x="1023061" y="3055211"/>
                </a:cubicBezTo>
                <a:cubicBezTo>
                  <a:pt x="1020629" y="3056645"/>
                  <a:pt x="1018684" y="3058438"/>
                  <a:pt x="1017226" y="3060948"/>
                </a:cubicBezTo>
                <a:cubicBezTo>
                  <a:pt x="1015888" y="3063458"/>
                  <a:pt x="1015159" y="3066088"/>
                  <a:pt x="1015159" y="3068718"/>
                </a:cubicBezTo>
                <a:cubicBezTo>
                  <a:pt x="1015159" y="3071347"/>
                  <a:pt x="1015888" y="3073977"/>
                  <a:pt x="1017226" y="3076367"/>
                </a:cubicBezTo>
                <a:cubicBezTo>
                  <a:pt x="1018684" y="3078877"/>
                  <a:pt x="1020629" y="3080790"/>
                  <a:pt x="1023061" y="3082105"/>
                </a:cubicBezTo>
                <a:cubicBezTo>
                  <a:pt x="1025492" y="3083420"/>
                  <a:pt x="1028166" y="3084137"/>
                  <a:pt x="1030841" y="3084137"/>
                </a:cubicBezTo>
                <a:cubicBezTo>
                  <a:pt x="1033515" y="3084137"/>
                  <a:pt x="1036190" y="3083420"/>
                  <a:pt x="1038621" y="3082105"/>
                </a:cubicBezTo>
                <a:cubicBezTo>
                  <a:pt x="1041174" y="3080670"/>
                  <a:pt x="1043119" y="3078758"/>
                  <a:pt x="1044456" y="3076367"/>
                </a:cubicBezTo>
                <a:cubicBezTo>
                  <a:pt x="1045793" y="3073977"/>
                  <a:pt x="1046523" y="3071467"/>
                  <a:pt x="1046523" y="3068718"/>
                </a:cubicBezTo>
                <a:cubicBezTo>
                  <a:pt x="1046523" y="3065968"/>
                  <a:pt x="1045915" y="3063458"/>
                  <a:pt x="1044456" y="3060948"/>
                </a:cubicBezTo>
                <a:cubicBezTo>
                  <a:pt x="1042997" y="3058438"/>
                  <a:pt x="1041052" y="3056526"/>
                  <a:pt x="1038621" y="3055211"/>
                </a:cubicBezTo>
                <a:cubicBezTo>
                  <a:pt x="1036068" y="3053896"/>
                  <a:pt x="1033515" y="3053179"/>
                  <a:pt x="1030841" y="3053179"/>
                </a:cubicBezTo>
                <a:close/>
                <a:moveTo>
                  <a:pt x="577405" y="2842451"/>
                </a:moveTo>
                <a:lnTo>
                  <a:pt x="577284" y="2842571"/>
                </a:lnTo>
                <a:cubicBezTo>
                  <a:pt x="509572" y="2842571"/>
                  <a:pt x="454625" y="2896597"/>
                  <a:pt x="454625" y="2963174"/>
                </a:cubicBezTo>
                <a:cubicBezTo>
                  <a:pt x="454625" y="3029751"/>
                  <a:pt x="509694" y="3083658"/>
                  <a:pt x="577405" y="3083658"/>
                </a:cubicBezTo>
                <a:cubicBezTo>
                  <a:pt x="645117" y="3083658"/>
                  <a:pt x="700064" y="3029632"/>
                  <a:pt x="700064" y="2963055"/>
                </a:cubicBezTo>
                <a:cubicBezTo>
                  <a:pt x="700064" y="2896478"/>
                  <a:pt x="645117" y="2842451"/>
                  <a:pt x="577405" y="2842451"/>
                </a:cubicBezTo>
                <a:close/>
                <a:moveTo>
                  <a:pt x="3534220" y="2754001"/>
                </a:moveTo>
                <a:cubicBezTo>
                  <a:pt x="3546620" y="2754001"/>
                  <a:pt x="3558168" y="2756511"/>
                  <a:pt x="3568866" y="2761292"/>
                </a:cubicBezTo>
                <a:cubicBezTo>
                  <a:pt x="3579442" y="2766073"/>
                  <a:pt x="3588802" y="2772886"/>
                  <a:pt x="3596704" y="2781731"/>
                </a:cubicBezTo>
                <a:cubicBezTo>
                  <a:pt x="3604606" y="2790576"/>
                  <a:pt x="3610806" y="2801095"/>
                  <a:pt x="3615304" y="2813287"/>
                </a:cubicBezTo>
                <a:cubicBezTo>
                  <a:pt x="3619801" y="2825479"/>
                  <a:pt x="3621990" y="2838148"/>
                  <a:pt x="3621990" y="2852970"/>
                </a:cubicBezTo>
                <a:cubicBezTo>
                  <a:pt x="3621990" y="2867791"/>
                  <a:pt x="3619801" y="2881179"/>
                  <a:pt x="3615304" y="2893370"/>
                </a:cubicBezTo>
                <a:cubicBezTo>
                  <a:pt x="3610806" y="2905562"/>
                  <a:pt x="3604606" y="2916081"/>
                  <a:pt x="3596704" y="2924926"/>
                </a:cubicBezTo>
                <a:cubicBezTo>
                  <a:pt x="3588802" y="2933771"/>
                  <a:pt x="3579564" y="2940584"/>
                  <a:pt x="3568866" y="2945365"/>
                </a:cubicBezTo>
                <a:cubicBezTo>
                  <a:pt x="3558168" y="2950266"/>
                  <a:pt x="3546620" y="2952656"/>
                  <a:pt x="3534220" y="2952656"/>
                </a:cubicBezTo>
                <a:cubicBezTo>
                  <a:pt x="3521820" y="2952656"/>
                  <a:pt x="3510272" y="2950146"/>
                  <a:pt x="3499574" y="2945365"/>
                </a:cubicBezTo>
                <a:cubicBezTo>
                  <a:pt x="3488876" y="2940584"/>
                  <a:pt x="3479638" y="2933771"/>
                  <a:pt x="3471736" y="2924926"/>
                </a:cubicBezTo>
                <a:cubicBezTo>
                  <a:pt x="3463834" y="2916081"/>
                  <a:pt x="3457634" y="2905682"/>
                  <a:pt x="3453136" y="2893729"/>
                </a:cubicBezTo>
                <a:cubicBezTo>
                  <a:pt x="3448639" y="2881776"/>
                  <a:pt x="3446450" y="2868389"/>
                  <a:pt x="3446450" y="2853687"/>
                </a:cubicBezTo>
                <a:lnTo>
                  <a:pt x="3446450" y="2853568"/>
                </a:lnTo>
                <a:cubicBezTo>
                  <a:pt x="3446450" y="2839344"/>
                  <a:pt x="3448639" y="2826076"/>
                  <a:pt x="3453136" y="2813884"/>
                </a:cubicBezTo>
                <a:cubicBezTo>
                  <a:pt x="3457634" y="2801692"/>
                  <a:pt x="3463834" y="2791174"/>
                  <a:pt x="3471736" y="2782329"/>
                </a:cubicBezTo>
                <a:cubicBezTo>
                  <a:pt x="3479638" y="2773484"/>
                  <a:pt x="3488876" y="2766551"/>
                  <a:pt x="3499574" y="2761531"/>
                </a:cubicBezTo>
                <a:cubicBezTo>
                  <a:pt x="3510272" y="2756511"/>
                  <a:pt x="3521820" y="2754001"/>
                  <a:pt x="3534220" y="2754001"/>
                </a:cubicBezTo>
                <a:close/>
                <a:moveTo>
                  <a:pt x="2694573" y="2745036"/>
                </a:moveTo>
                <a:cubicBezTo>
                  <a:pt x="2717670" y="2745036"/>
                  <a:pt x="2737364" y="2752327"/>
                  <a:pt x="2753532" y="2767029"/>
                </a:cubicBezTo>
                <a:cubicBezTo>
                  <a:pt x="2769700" y="2781612"/>
                  <a:pt x="2778939" y="2801214"/>
                  <a:pt x="2781006" y="2825598"/>
                </a:cubicBezTo>
                <a:lnTo>
                  <a:pt x="2781127" y="2825717"/>
                </a:lnTo>
                <a:lnTo>
                  <a:pt x="2609478" y="2825717"/>
                </a:lnTo>
                <a:cubicBezTo>
                  <a:pt x="2610329" y="2813765"/>
                  <a:pt x="2613125" y="2802768"/>
                  <a:pt x="2617987" y="2792847"/>
                </a:cubicBezTo>
                <a:cubicBezTo>
                  <a:pt x="2622850" y="2782926"/>
                  <a:pt x="2629050" y="2774440"/>
                  <a:pt x="2636587" y="2767388"/>
                </a:cubicBezTo>
                <a:cubicBezTo>
                  <a:pt x="2644124" y="2760336"/>
                  <a:pt x="2652876" y="2754837"/>
                  <a:pt x="2662723" y="2750893"/>
                </a:cubicBezTo>
                <a:cubicBezTo>
                  <a:pt x="2672570" y="2746949"/>
                  <a:pt x="2683268" y="2745036"/>
                  <a:pt x="2694573" y="2745036"/>
                </a:cubicBezTo>
                <a:close/>
                <a:moveTo>
                  <a:pt x="1795118" y="2686467"/>
                </a:moveTo>
                <a:lnTo>
                  <a:pt x="1795118" y="3021982"/>
                </a:lnTo>
                <a:lnTo>
                  <a:pt x="1881186" y="3021982"/>
                </a:lnTo>
                <a:lnTo>
                  <a:pt x="1881186" y="2686467"/>
                </a:lnTo>
                <a:close/>
                <a:moveTo>
                  <a:pt x="2369875" y="2685152"/>
                </a:moveTo>
                <a:cubicBezTo>
                  <a:pt x="2342887" y="2685152"/>
                  <a:pt x="2318939" y="2691248"/>
                  <a:pt x="2297908" y="2703201"/>
                </a:cubicBezTo>
                <a:cubicBezTo>
                  <a:pt x="2276878" y="2715273"/>
                  <a:pt x="2259616" y="2732605"/>
                  <a:pt x="2245879" y="2755315"/>
                </a:cubicBezTo>
                <a:cubicBezTo>
                  <a:pt x="2241624" y="2735593"/>
                  <a:pt x="2231777" y="2718978"/>
                  <a:pt x="2216338" y="2705472"/>
                </a:cubicBezTo>
                <a:cubicBezTo>
                  <a:pt x="2200900" y="2691965"/>
                  <a:pt x="2178654" y="2685272"/>
                  <a:pt x="2150815" y="2685272"/>
                </a:cubicBezTo>
                <a:cubicBezTo>
                  <a:pt x="2122977" y="2685272"/>
                  <a:pt x="2098299" y="2691009"/>
                  <a:pt x="2076661" y="2702603"/>
                </a:cubicBezTo>
                <a:cubicBezTo>
                  <a:pt x="2055022" y="2714197"/>
                  <a:pt x="2038003" y="2730812"/>
                  <a:pt x="2025604" y="2752207"/>
                </a:cubicBezTo>
                <a:lnTo>
                  <a:pt x="2025604" y="2686347"/>
                </a:lnTo>
                <a:lnTo>
                  <a:pt x="1947924" y="2686347"/>
                </a:lnTo>
                <a:lnTo>
                  <a:pt x="1947924" y="3021982"/>
                </a:lnTo>
                <a:lnTo>
                  <a:pt x="2033992" y="3021982"/>
                </a:lnTo>
                <a:lnTo>
                  <a:pt x="2033992" y="2828705"/>
                </a:lnTo>
                <a:cubicBezTo>
                  <a:pt x="2040435" y="2808146"/>
                  <a:pt x="2051254" y="2791532"/>
                  <a:pt x="2066450" y="2778862"/>
                </a:cubicBezTo>
                <a:cubicBezTo>
                  <a:pt x="2081645" y="2766311"/>
                  <a:pt x="2098178" y="2759977"/>
                  <a:pt x="2114346" y="2759977"/>
                </a:cubicBezTo>
                <a:cubicBezTo>
                  <a:pt x="2130514" y="2759977"/>
                  <a:pt x="2143278" y="2766072"/>
                  <a:pt x="2152517" y="2778264"/>
                </a:cubicBezTo>
                <a:cubicBezTo>
                  <a:pt x="2161756" y="2790456"/>
                  <a:pt x="2166376" y="2809820"/>
                  <a:pt x="2166376" y="2836355"/>
                </a:cubicBezTo>
                <a:lnTo>
                  <a:pt x="2166376" y="3021982"/>
                </a:lnTo>
                <a:lnTo>
                  <a:pt x="2252443" y="3021982"/>
                </a:lnTo>
                <a:lnTo>
                  <a:pt x="2252443" y="2829422"/>
                </a:lnTo>
                <a:cubicBezTo>
                  <a:pt x="2258886" y="2808863"/>
                  <a:pt x="2269584" y="2792010"/>
                  <a:pt x="2284536" y="2779221"/>
                </a:cubicBezTo>
                <a:cubicBezTo>
                  <a:pt x="2299489" y="2766431"/>
                  <a:pt x="2315535" y="2759977"/>
                  <a:pt x="2332676" y="2759977"/>
                </a:cubicBezTo>
                <a:cubicBezTo>
                  <a:pt x="2348965" y="2759977"/>
                  <a:pt x="2361608" y="2766072"/>
                  <a:pt x="2370847" y="2778264"/>
                </a:cubicBezTo>
                <a:cubicBezTo>
                  <a:pt x="2380086" y="2790456"/>
                  <a:pt x="2384705" y="2809820"/>
                  <a:pt x="2384705" y="2836355"/>
                </a:cubicBezTo>
                <a:lnTo>
                  <a:pt x="2384705" y="3021982"/>
                </a:lnTo>
                <a:lnTo>
                  <a:pt x="2470773" y="3021982"/>
                </a:lnTo>
                <a:lnTo>
                  <a:pt x="2470652" y="3021743"/>
                </a:lnTo>
                <a:lnTo>
                  <a:pt x="2470652" y="2815198"/>
                </a:lnTo>
                <a:cubicBezTo>
                  <a:pt x="2470652" y="2799182"/>
                  <a:pt x="2469314" y="2783404"/>
                  <a:pt x="2466518" y="2767865"/>
                </a:cubicBezTo>
                <a:cubicBezTo>
                  <a:pt x="2463722" y="2752207"/>
                  <a:pt x="2458738" y="2738342"/>
                  <a:pt x="2451444" y="2726150"/>
                </a:cubicBezTo>
                <a:cubicBezTo>
                  <a:pt x="2444150" y="2713958"/>
                  <a:pt x="2433818" y="2704037"/>
                  <a:pt x="2420567" y="2696507"/>
                </a:cubicBezTo>
                <a:cubicBezTo>
                  <a:pt x="2407316" y="2688977"/>
                  <a:pt x="2390419" y="2685152"/>
                  <a:pt x="2369875" y="2685152"/>
                </a:cubicBezTo>
                <a:close/>
                <a:moveTo>
                  <a:pt x="2695910" y="2684794"/>
                </a:moveTo>
                <a:cubicBezTo>
                  <a:pt x="2668923" y="2684794"/>
                  <a:pt x="2644610" y="2689336"/>
                  <a:pt x="2622972" y="2698420"/>
                </a:cubicBezTo>
                <a:cubicBezTo>
                  <a:pt x="2601333" y="2707504"/>
                  <a:pt x="2582855" y="2719816"/>
                  <a:pt x="2567781" y="2735354"/>
                </a:cubicBezTo>
                <a:cubicBezTo>
                  <a:pt x="2552586" y="2750893"/>
                  <a:pt x="2541037" y="2768942"/>
                  <a:pt x="2533014" y="2789381"/>
                </a:cubicBezTo>
                <a:cubicBezTo>
                  <a:pt x="2524991" y="2809940"/>
                  <a:pt x="2520979" y="2832531"/>
                  <a:pt x="2520979" y="2854882"/>
                </a:cubicBezTo>
                <a:cubicBezTo>
                  <a:pt x="2520979" y="2877234"/>
                  <a:pt x="2524991" y="2898630"/>
                  <a:pt x="2533257" y="2918830"/>
                </a:cubicBezTo>
                <a:cubicBezTo>
                  <a:pt x="2541402" y="2939030"/>
                  <a:pt x="2553072" y="2956840"/>
                  <a:pt x="2568268" y="2972139"/>
                </a:cubicBezTo>
                <a:cubicBezTo>
                  <a:pt x="2583341" y="2987558"/>
                  <a:pt x="2601698" y="2999631"/>
                  <a:pt x="2623093" y="3008476"/>
                </a:cubicBezTo>
                <a:cubicBezTo>
                  <a:pt x="2644610" y="3017440"/>
                  <a:pt x="2668558" y="3021863"/>
                  <a:pt x="2695059" y="3021863"/>
                </a:cubicBezTo>
                <a:lnTo>
                  <a:pt x="2695181" y="3021624"/>
                </a:lnTo>
                <a:cubicBezTo>
                  <a:pt x="2732137" y="3021624"/>
                  <a:pt x="2763986" y="3013615"/>
                  <a:pt x="2790731" y="2997718"/>
                </a:cubicBezTo>
                <a:cubicBezTo>
                  <a:pt x="2817475" y="2981821"/>
                  <a:pt x="2836925" y="2961501"/>
                  <a:pt x="2849082" y="2936639"/>
                </a:cubicBezTo>
                <a:lnTo>
                  <a:pt x="2776508" y="2916798"/>
                </a:lnTo>
                <a:cubicBezTo>
                  <a:pt x="2771037" y="2930065"/>
                  <a:pt x="2760826" y="2940703"/>
                  <a:pt x="2745873" y="2948712"/>
                </a:cubicBezTo>
                <a:cubicBezTo>
                  <a:pt x="2730921" y="2956720"/>
                  <a:pt x="2714996" y="2960784"/>
                  <a:pt x="2698220" y="2960784"/>
                </a:cubicBezTo>
                <a:cubicBezTo>
                  <a:pt x="2687401" y="2960784"/>
                  <a:pt x="2676825" y="2958872"/>
                  <a:pt x="2666735" y="2955166"/>
                </a:cubicBezTo>
                <a:cubicBezTo>
                  <a:pt x="2656645" y="2951461"/>
                  <a:pt x="2647649" y="2946082"/>
                  <a:pt x="2639626" y="2939030"/>
                </a:cubicBezTo>
                <a:cubicBezTo>
                  <a:pt x="2631603" y="2931978"/>
                  <a:pt x="2625038" y="2923491"/>
                  <a:pt x="2620054" y="2913571"/>
                </a:cubicBezTo>
                <a:cubicBezTo>
                  <a:pt x="2614948" y="2903650"/>
                  <a:pt x="2611788" y="2892295"/>
                  <a:pt x="2610572" y="2879505"/>
                </a:cubicBezTo>
                <a:lnTo>
                  <a:pt x="2866101" y="2879505"/>
                </a:lnTo>
                <a:cubicBezTo>
                  <a:pt x="2866952" y="2876158"/>
                  <a:pt x="2867438" y="2872094"/>
                  <a:pt x="2867681" y="2867074"/>
                </a:cubicBezTo>
                <a:cubicBezTo>
                  <a:pt x="2868046" y="2862054"/>
                  <a:pt x="2868046" y="2856914"/>
                  <a:pt x="2868046" y="2851536"/>
                </a:cubicBezTo>
                <a:cubicBezTo>
                  <a:pt x="2868046" y="2829662"/>
                  <a:pt x="2864156" y="2808625"/>
                  <a:pt x="2856376" y="2788305"/>
                </a:cubicBezTo>
                <a:cubicBezTo>
                  <a:pt x="2848595" y="2768105"/>
                  <a:pt x="2837290" y="2750295"/>
                  <a:pt x="2822337" y="2734996"/>
                </a:cubicBezTo>
                <a:cubicBezTo>
                  <a:pt x="2807507" y="2719696"/>
                  <a:pt x="2789394" y="2707504"/>
                  <a:pt x="2768120" y="2698420"/>
                </a:cubicBezTo>
                <a:cubicBezTo>
                  <a:pt x="2746846" y="2689336"/>
                  <a:pt x="2722898" y="2684794"/>
                  <a:pt x="2695910" y="2684794"/>
                </a:cubicBezTo>
                <a:close/>
                <a:moveTo>
                  <a:pt x="3534220" y="2682284"/>
                </a:moveTo>
                <a:cubicBezTo>
                  <a:pt x="3506868" y="2682284"/>
                  <a:pt x="3482312" y="2686946"/>
                  <a:pt x="3460552" y="2696149"/>
                </a:cubicBezTo>
                <a:cubicBezTo>
                  <a:pt x="3438792" y="2705472"/>
                  <a:pt x="3420314" y="2717903"/>
                  <a:pt x="3405118" y="2733681"/>
                </a:cubicBezTo>
                <a:cubicBezTo>
                  <a:pt x="3390044" y="2749459"/>
                  <a:pt x="3378374" y="2767627"/>
                  <a:pt x="3370229" y="2788186"/>
                </a:cubicBezTo>
                <a:cubicBezTo>
                  <a:pt x="3362084" y="2808745"/>
                  <a:pt x="3358073" y="2830977"/>
                  <a:pt x="3358073" y="2853687"/>
                </a:cubicBezTo>
                <a:cubicBezTo>
                  <a:pt x="3358073" y="2876397"/>
                  <a:pt x="3362084" y="2898032"/>
                  <a:pt x="3370229" y="2918591"/>
                </a:cubicBezTo>
                <a:cubicBezTo>
                  <a:pt x="3378253" y="2939150"/>
                  <a:pt x="3389923" y="2957318"/>
                  <a:pt x="3405118" y="2973096"/>
                </a:cubicBezTo>
                <a:cubicBezTo>
                  <a:pt x="3420314" y="2988873"/>
                  <a:pt x="3438792" y="3001424"/>
                  <a:pt x="3460552" y="3010627"/>
                </a:cubicBezTo>
                <a:cubicBezTo>
                  <a:pt x="3482312" y="3019831"/>
                  <a:pt x="3506868" y="3024493"/>
                  <a:pt x="3534220" y="3024493"/>
                </a:cubicBezTo>
                <a:cubicBezTo>
                  <a:pt x="3561572" y="3024493"/>
                  <a:pt x="3586128" y="3019831"/>
                  <a:pt x="3607888" y="3010627"/>
                </a:cubicBezTo>
                <a:cubicBezTo>
                  <a:pt x="3629770" y="3001304"/>
                  <a:pt x="3648126" y="2988873"/>
                  <a:pt x="3663078" y="2973096"/>
                </a:cubicBezTo>
                <a:cubicBezTo>
                  <a:pt x="3678031" y="2957318"/>
                  <a:pt x="3689579" y="2939150"/>
                  <a:pt x="3697724" y="2918591"/>
                </a:cubicBezTo>
                <a:cubicBezTo>
                  <a:pt x="3705869" y="2898032"/>
                  <a:pt x="3709881" y="2876756"/>
                  <a:pt x="3709881" y="2853687"/>
                </a:cubicBezTo>
                <a:cubicBezTo>
                  <a:pt x="3709881" y="2830618"/>
                  <a:pt x="3705869" y="2808745"/>
                  <a:pt x="3697724" y="2788186"/>
                </a:cubicBezTo>
                <a:cubicBezTo>
                  <a:pt x="3689701" y="2767627"/>
                  <a:pt x="3678031" y="2749459"/>
                  <a:pt x="3662835" y="2733681"/>
                </a:cubicBezTo>
                <a:cubicBezTo>
                  <a:pt x="3647640" y="2717903"/>
                  <a:pt x="3629162" y="2705353"/>
                  <a:pt x="3607645" y="2696149"/>
                </a:cubicBezTo>
                <a:cubicBezTo>
                  <a:pt x="3586007" y="2686946"/>
                  <a:pt x="3561572" y="2682284"/>
                  <a:pt x="3534220" y="2682284"/>
                </a:cubicBezTo>
                <a:close/>
                <a:moveTo>
                  <a:pt x="3142417" y="2567298"/>
                </a:moveTo>
                <a:cubicBezTo>
                  <a:pt x="3106798" y="2567298"/>
                  <a:pt x="3075192" y="2573872"/>
                  <a:pt x="3047353" y="2586901"/>
                </a:cubicBezTo>
                <a:cubicBezTo>
                  <a:pt x="3019515" y="2599929"/>
                  <a:pt x="2996053" y="2617022"/>
                  <a:pt x="2976724" y="2638059"/>
                </a:cubicBezTo>
                <a:cubicBezTo>
                  <a:pt x="2957396" y="2659095"/>
                  <a:pt x="2942808" y="2683001"/>
                  <a:pt x="2932718" y="2709775"/>
                </a:cubicBezTo>
                <a:lnTo>
                  <a:pt x="2917656" y="2790874"/>
                </a:lnTo>
                <a:lnTo>
                  <a:pt x="2917644" y="2790815"/>
                </a:lnTo>
                <a:lnTo>
                  <a:pt x="2917644" y="2790935"/>
                </a:lnTo>
                <a:lnTo>
                  <a:pt x="2917656" y="2790874"/>
                </a:lnTo>
                <a:lnTo>
                  <a:pt x="2934055" y="2875083"/>
                </a:lnTo>
                <a:cubicBezTo>
                  <a:pt x="2944996" y="2902693"/>
                  <a:pt x="2960192" y="2927316"/>
                  <a:pt x="2979642" y="2948951"/>
                </a:cubicBezTo>
                <a:cubicBezTo>
                  <a:pt x="2999092" y="2970585"/>
                  <a:pt x="3022311" y="2988156"/>
                  <a:pt x="3049298" y="3001663"/>
                </a:cubicBezTo>
                <a:cubicBezTo>
                  <a:pt x="3076164" y="3015169"/>
                  <a:pt x="3105948" y="3021863"/>
                  <a:pt x="3138527" y="3021863"/>
                </a:cubicBezTo>
                <a:cubicBezTo>
                  <a:pt x="3156883" y="3021863"/>
                  <a:pt x="3175726" y="3019592"/>
                  <a:pt x="3195054" y="3014930"/>
                </a:cubicBezTo>
                <a:cubicBezTo>
                  <a:pt x="3214262" y="3010269"/>
                  <a:pt x="3232375" y="3003575"/>
                  <a:pt x="3249272" y="2994730"/>
                </a:cubicBezTo>
                <a:cubicBezTo>
                  <a:pt x="3266170" y="2985885"/>
                  <a:pt x="3281365" y="2975008"/>
                  <a:pt x="3294859" y="2962218"/>
                </a:cubicBezTo>
                <a:cubicBezTo>
                  <a:pt x="3308352" y="2949429"/>
                  <a:pt x="3318685" y="2934607"/>
                  <a:pt x="3325979" y="2917754"/>
                </a:cubicBezTo>
                <a:lnTo>
                  <a:pt x="3253405" y="2876756"/>
                </a:lnTo>
                <a:cubicBezTo>
                  <a:pt x="3248300" y="2889067"/>
                  <a:pt x="3241370" y="2899466"/>
                  <a:pt x="3232861" y="2908072"/>
                </a:cubicBezTo>
                <a:cubicBezTo>
                  <a:pt x="3224230" y="2916678"/>
                  <a:pt x="3214991" y="2923730"/>
                  <a:pt x="3204901" y="2929229"/>
                </a:cubicBezTo>
                <a:cubicBezTo>
                  <a:pt x="3194933" y="2934607"/>
                  <a:pt x="3184357" y="2938671"/>
                  <a:pt x="3173173" y="2941181"/>
                </a:cubicBezTo>
                <a:cubicBezTo>
                  <a:pt x="3162110" y="2943692"/>
                  <a:pt x="3151413" y="2945006"/>
                  <a:pt x="3141080" y="2945006"/>
                </a:cubicBezTo>
                <a:cubicBezTo>
                  <a:pt x="3121386" y="2945006"/>
                  <a:pt x="3103273" y="2940823"/>
                  <a:pt x="3086862" y="2932336"/>
                </a:cubicBezTo>
                <a:cubicBezTo>
                  <a:pt x="3070329" y="2923969"/>
                  <a:pt x="3056228" y="2912734"/>
                  <a:pt x="3044436" y="2898869"/>
                </a:cubicBezTo>
                <a:cubicBezTo>
                  <a:pt x="3032644" y="2885003"/>
                  <a:pt x="3023527" y="2868867"/>
                  <a:pt x="3017084" y="2850579"/>
                </a:cubicBezTo>
                <a:cubicBezTo>
                  <a:pt x="3010641" y="2832292"/>
                  <a:pt x="3007480" y="2813287"/>
                  <a:pt x="3007480" y="2793445"/>
                </a:cubicBezTo>
                <a:cubicBezTo>
                  <a:pt x="3007480" y="2775755"/>
                  <a:pt x="3010276" y="2757945"/>
                  <a:pt x="3015868" y="2740016"/>
                </a:cubicBezTo>
                <a:cubicBezTo>
                  <a:pt x="3021460" y="2722206"/>
                  <a:pt x="3029727" y="2706190"/>
                  <a:pt x="3040667" y="2692085"/>
                </a:cubicBezTo>
                <a:cubicBezTo>
                  <a:pt x="3051608" y="2677981"/>
                  <a:pt x="3065223" y="2666506"/>
                  <a:pt x="3081756" y="2657661"/>
                </a:cubicBezTo>
                <a:cubicBezTo>
                  <a:pt x="3098167" y="2648816"/>
                  <a:pt x="3117618" y="2644394"/>
                  <a:pt x="3139864" y="2644394"/>
                </a:cubicBezTo>
                <a:cubicBezTo>
                  <a:pt x="3150197" y="2644394"/>
                  <a:pt x="3160652" y="2645589"/>
                  <a:pt x="3171349" y="2647860"/>
                </a:cubicBezTo>
                <a:cubicBezTo>
                  <a:pt x="3182047" y="2650131"/>
                  <a:pt x="3192380" y="2653836"/>
                  <a:pt x="3202227" y="2658856"/>
                </a:cubicBezTo>
                <a:cubicBezTo>
                  <a:pt x="3212073" y="2663996"/>
                  <a:pt x="3221191" y="2670809"/>
                  <a:pt x="3229822" y="2679415"/>
                </a:cubicBezTo>
                <a:cubicBezTo>
                  <a:pt x="3238453" y="2688021"/>
                  <a:pt x="3245747" y="2698659"/>
                  <a:pt x="3251703" y="2711329"/>
                </a:cubicBezTo>
                <a:lnTo>
                  <a:pt x="3319780" y="2665191"/>
                </a:lnTo>
                <a:cubicBezTo>
                  <a:pt x="3304706" y="2636146"/>
                  <a:pt x="3281973" y="2612599"/>
                  <a:pt x="3251339" y="2594431"/>
                </a:cubicBezTo>
                <a:cubicBezTo>
                  <a:pt x="3220704" y="2576382"/>
                  <a:pt x="3184357" y="2567298"/>
                  <a:pt x="3142417" y="2567298"/>
                </a:cubicBezTo>
                <a:close/>
                <a:moveTo>
                  <a:pt x="1371708" y="2567298"/>
                </a:moveTo>
                <a:cubicBezTo>
                  <a:pt x="1336089" y="2567298"/>
                  <a:pt x="1304483" y="2573872"/>
                  <a:pt x="1276644" y="2586901"/>
                </a:cubicBezTo>
                <a:cubicBezTo>
                  <a:pt x="1248806" y="2599929"/>
                  <a:pt x="1225223" y="2617022"/>
                  <a:pt x="1206015" y="2638059"/>
                </a:cubicBezTo>
                <a:cubicBezTo>
                  <a:pt x="1186687" y="2659095"/>
                  <a:pt x="1172099" y="2683001"/>
                  <a:pt x="1162009" y="2709775"/>
                </a:cubicBezTo>
                <a:lnTo>
                  <a:pt x="1146946" y="2790874"/>
                </a:lnTo>
                <a:lnTo>
                  <a:pt x="1146935" y="2790815"/>
                </a:lnTo>
                <a:lnTo>
                  <a:pt x="1146935" y="2790935"/>
                </a:lnTo>
                <a:lnTo>
                  <a:pt x="1146946" y="2790874"/>
                </a:lnTo>
                <a:lnTo>
                  <a:pt x="1163346" y="2875083"/>
                </a:lnTo>
                <a:cubicBezTo>
                  <a:pt x="1174287" y="2902693"/>
                  <a:pt x="1189483" y="2927316"/>
                  <a:pt x="1208933" y="2948951"/>
                </a:cubicBezTo>
                <a:cubicBezTo>
                  <a:pt x="1228383" y="2970585"/>
                  <a:pt x="1251602" y="2988156"/>
                  <a:pt x="1278589" y="3001663"/>
                </a:cubicBezTo>
                <a:cubicBezTo>
                  <a:pt x="1305577" y="3015169"/>
                  <a:pt x="1335238" y="3021863"/>
                  <a:pt x="1367818" y="3021863"/>
                </a:cubicBezTo>
                <a:cubicBezTo>
                  <a:pt x="1386174" y="3021863"/>
                  <a:pt x="1405138" y="3019592"/>
                  <a:pt x="1424345" y="3014930"/>
                </a:cubicBezTo>
                <a:cubicBezTo>
                  <a:pt x="1443674" y="3010269"/>
                  <a:pt x="1461787" y="3003575"/>
                  <a:pt x="1478685" y="2994730"/>
                </a:cubicBezTo>
                <a:cubicBezTo>
                  <a:pt x="1495582" y="2985885"/>
                  <a:pt x="1510778" y="2975008"/>
                  <a:pt x="1524271" y="2962218"/>
                </a:cubicBezTo>
                <a:cubicBezTo>
                  <a:pt x="1537765" y="2949429"/>
                  <a:pt x="1548098" y="2934607"/>
                  <a:pt x="1555392" y="2917754"/>
                </a:cubicBezTo>
                <a:lnTo>
                  <a:pt x="1482818" y="2876756"/>
                </a:lnTo>
                <a:cubicBezTo>
                  <a:pt x="1477712" y="2889067"/>
                  <a:pt x="1470783" y="2899466"/>
                  <a:pt x="1462273" y="2908072"/>
                </a:cubicBezTo>
                <a:cubicBezTo>
                  <a:pt x="1453642" y="2916678"/>
                  <a:pt x="1444403" y="2923730"/>
                  <a:pt x="1434314" y="2929229"/>
                </a:cubicBezTo>
                <a:cubicBezTo>
                  <a:pt x="1424345" y="2934607"/>
                  <a:pt x="1413769" y="2938671"/>
                  <a:pt x="1402585" y="2941181"/>
                </a:cubicBezTo>
                <a:cubicBezTo>
                  <a:pt x="1391523" y="2943692"/>
                  <a:pt x="1380825" y="2945006"/>
                  <a:pt x="1370492" y="2945006"/>
                </a:cubicBezTo>
                <a:cubicBezTo>
                  <a:pt x="1350920" y="2945006"/>
                  <a:pt x="1332807" y="2940823"/>
                  <a:pt x="1316274" y="2932336"/>
                </a:cubicBezTo>
                <a:cubicBezTo>
                  <a:pt x="1299742" y="2923969"/>
                  <a:pt x="1285640" y="2912734"/>
                  <a:pt x="1273848" y="2898869"/>
                </a:cubicBezTo>
                <a:cubicBezTo>
                  <a:pt x="1262057" y="2885003"/>
                  <a:pt x="1252939" y="2868867"/>
                  <a:pt x="1246496" y="2850579"/>
                </a:cubicBezTo>
                <a:cubicBezTo>
                  <a:pt x="1240053" y="2832292"/>
                  <a:pt x="1236893" y="2813287"/>
                  <a:pt x="1236893" y="2793445"/>
                </a:cubicBezTo>
                <a:cubicBezTo>
                  <a:pt x="1236893" y="2775755"/>
                  <a:pt x="1239689" y="2757945"/>
                  <a:pt x="1245281" y="2740016"/>
                </a:cubicBezTo>
                <a:cubicBezTo>
                  <a:pt x="1250751" y="2722206"/>
                  <a:pt x="1259018" y="2706190"/>
                  <a:pt x="1269958" y="2692085"/>
                </a:cubicBezTo>
                <a:cubicBezTo>
                  <a:pt x="1280899" y="2677981"/>
                  <a:pt x="1294514" y="2666506"/>
                  <a:pt x="1311047" y="2657661"/>
                </a:cubicBezTo>
                <a:cubicBezTo>
                  <a:pt x="1327458" y="2648816"/>
                  <a:pt x="1346909" y="2644394"/>
                  <a:pt x="1369155" y="2644394"/>
                </a:cubicBezTo>
                <a:cubicBezTo>
                  <a:pt x="1379488" y="2644394"/>
                  <a:pt x="1389942" y="2645589"/>
                  <a:pt x="1400640" y="2647860"/>
                </a:cubicBezTo>
                <a:cubicBezTo>
                  <a:pt x="1411338" y="2650131"/>
                  <a:pt x="1421671" y="2653836"/>
                  <a:pt x="1431518" y="2658856"/>
                </a:cubicBezTo>
                <a:cubicBezTo>
                  <a:pt x="1441364" y="2663996"/>
                  <a:pt x="1450603" y="2670809"/>
                  <a:pt x="1459113" y="2679415"/>
                </a:cubicBezTo>
                <a:cubicBezTo>
                  <a:pt x="1467744" y="2688021"/>
                  <a:pt x="1475038" y="2698659"/>
                  <a:pt x="1480994" y="2711329"/>
                </a:cubicBezTo>
                <a:lnTo>
                  <a:pt x="1549071" y="2665191"/>
                </a:lnTo>
                <a:cubicBezTo>
                  <a:pt x="1533997" y="2636146"/>
                  <a:pt x="1511264" y="2612599"/>
                  <a:pt x="1480630" y="2594431"/>
                </a:cubicBezTo>
                <a:cubicBezTo>
                  <a:pt x="1449995" y="2576382"/>
                  <a:pt x="1413648" y="2567298"/>
                  <a:pt x="1371708" y="2567298"/>
                </a:cubicBezTo>
                <a:close/>
                <a:moveTo>
                  <a:pt x="1795118" y="2560963"/>
                </a:moveTo>
                <a:lnTo>
                  <a:pt x="1795118" y="2644991"/>
                </a:lnTo>
                <a:lnTo>
                  <a:pt x="1881186" y="2644991"/>
                </a:lnTo>
                <a:lnTo>
                  <a:pt x="1881186" y="2560963"/>
                </a:lnTo>
                <a:close/>
                <a:moveTo>
                  <a:pt x="1598183" y="2556062"/>
                </a:moveTo>
                <a:lnTo>
                  <a:pt x="1598183" y="2940703"/>
                </a:lnTo>
                <a:cubicBezTo>
                  <a:pt x="1598183" y="2966760"/>
                  <a:pt x="1605598" y="2986960"/>
                  <a:pt x="1620308" y="3001065"/>
                </a:cubicBezTo>
                <a:cubicBezTo>
                  <a:pt x="1620672" y="3001304"/>
                  <a:pt x="1620916" y="3001662"/>
                  <a:pt x="1621159" y="3001901"/>
                </a:cubicBezTo>
                <a:cubicBezTo>
                  <a:pt x="1625049" y="3005487"/>
                  <a:pt x="1629425" y="3008595"/>
                  <a:pt x="1634166" y="3011224"/>
                </a:cubicBezTo>
                <a:cubicBezTo>
                  <a:pt x="1637448" y="3013017"/>
                  <a:pt x="1640974" y="3014571"/>
                  <a:pt x="1644499" y="3015886"/>
                </a:cubicBezTo>
                <a:cubicBezTo>
                  <a:pt x="1660910" y="3021982"/>
                  <a:pt x="1679267" y="3022460"/>
                  <a:pt x="1696529" y="3021862"/>
                </a:cubicBezTo>
                <a:cubicBezTo>
                  <a:pt x="1697987" y="3021862"/>
                  <a:pt x="1699568" y="3021743"/>
                  <a:pt x="1701148" y="3021623"/>
                </a:cubicBezTo>
                <a:cubicBezTo>
                  <a:pt x="1702728" y="3021623"/>
                  <a:pt x="1704430" y="3021384"/>
                  <a:pt x="1706011" y="3021265"/>
                </a:cubicBezTo>
                <a:cubicBezTo>
                  <a:pt x="1707591" y="3021265"/>
                  <a:pt x="1709171" y="3021026"/>
                  <a:pt x="1710752" y="3020787"/>
                </a:cubicBezTo>
                <a:cubicBezTo>
                  <a:pt x="1712332" y="3020667"/>
                  <a:pt x="1713912" y="3020428"/>
                  <a:pt x="1715493" y="3020189"/>
                </a:cubicBezTo>
                <a:cubicBezTo>
                  <a:pt x="1717073" y="3019950"/>
                  <a:pt x="1718653" y="3019711"/>
                  <a:pt x="1720234" y="3019472"/>
                </a:cubicBezTo>
                <a:cubicBezTo>
                  <a:pt x="1721814" y="3019233"/>
                  <a:pt x="1723394" y="3018874"/>
                  <a:pt x="1725096" y="3018516"/>
                </a:cubicBezTo>
                <a:cubicBezTo>
                  <a:pt x="1725947" y="3018277"/>
                  <a:pt x="1726798" y="3018157"/>
                  <a:pt x="1727649" y="3017918"/>
                </a:cubicBezTo>
                <a:cubicBezTo>
                  <a:pt x="1729473" y="3017440"/>
                  <a:pt x="1731175" y="3016962"/>
                  <a:pt x="1732998" y="3016364"/>
                </a:cubicBezTo>
                <a:cubicBezTo>
                  <a:pt x="1733606" y="3016125"/>
                  <a:pt x="1734214" y="3016006"/>
                  <a:pt x="1734943" y="3015767"/>
                </a:cubicBezTo>
                <a:lnTo>
                  <a:pt x="1723151" y="2942018"/>
                </a:lnTo>
                <a:cubicBezTo>
                  <a:pt x="1714156" y="2944886"/>
                  <a:pt x="1702485" y="2946201"/>
                  <a:pt x="1695191" y="2943572"/>
                </a:cubicBezTo>
                <a:lnTo>
                  <a:pt x="1695070" y="2943572"/>
                </a:lnTo>
                <a:cubicBezTo>
                  <a:pt x="1682913" y="2939269"/>
                  <a:pt x="1684251" y="2926838"/>
                  <a:pt x="1684251" y="2913570"/>
                </a:cubicBezTo>
                <a:lnTo>
                  <a:pt x="1684251" y="2556062"/>
                </a:lnTo>
                <a:close/>
                <a:moveTo>
                  <a:pt x="576722" y="2501528"/>
                </a:moveTo>
                <a:cubicBezTo>
                  <a:pt x="545343" y="2501528"/>
                  <a:pt x="513949" y="2513331"/>
                  <a:pt x="490000" y="2536938"/>
                </a:cubicBezTo>
                <a:cubicBezTo>
                  <a:pt x="441983" y="2584032"/>
                  <a:pt x="441983" y="2660411"/>
                  <a:pt x="490000" y="2707505"/>
                </a:cubicBezTo>
                <a:cubicBezTo>
                  <a:pt x="537897" y="2754599"/>
                  <a:pt x="615577" y="2754599"/>
                  <a:pt x="663473" y="2707505"/>
                </a:cubicBezTo>
                <a:cubicBezTo>
                  <a:pt x="711370" y="2660411"/>
                  <a:pt x="789049" y="2660411"/>
                  <a:pt x="837067" y="2707505"/>
                </a:cubicBezTo>
                <a:cubicBezTo>
                  <a:pt x="884964" y="2754599"/>
                  <a:pt x="884964" y="2830977"/>
                  <a:pt x="837067" y="2878190"/>
                </a:cubicBezTo>
                <a:cubicBezTo>
                  <a:pt x="789171" y="2925285"/>
                  <a:pt x="789171" y="3001663"/>
                  <a:pt x="837067" y="3048757"/>
                </a:cubicBezTo>
                <a:cubicBezTo>
                  <a:pt x="884964" y="3095851"/>
                  <a:pt x="962643" y="3095851"/>
                  <a:pt x="1010661" y="3048757"/>
                </a:cubicBezTo>
                <a:cubicBezTo>
                  <a:pt x="1058558" y="3001663"/>
                  <a:pt x="1058558" y="2925285"/>
                  <a:pt x="1010661" y="2878190"/>
                </a:cubicBezTo>
                <a:cubicBezTo>
                  <a:pt x="963008" y="2830738"/>
                  <a:pt x="963008" y="2754360"/>
                  <a:pt x="1010661" y="2707505"/>
                </a:cubicBezTo>
                <a:lnTo>
                  <a:pt x="1010540" y="2707505"/>
                </a:lnTo>
                <a:cubicBezTo>
                  <a:pt x="1058436" y="2660411"/>
                  <a:pt x="1058436" y="2584032"/>
                  <a:pt x="1010540" y="2536938"/>
                </a:cubicBezTo>
                <a:cubicBezTo>
                  <a:pt x="962643" y="2489844"/>
                  <a:pt x="884964" y="2489844"/>
                  <a:pt x="836946" y="2536938"/>
                </a:cubicBezTo>
                <a:cubicBezTo>
                  <a:pt x="789049" y="2584032"/>
                  <a:pt x="711370" y="2584032"/>
                  <a:pt x="663352" y="2536938"/>
                </a:cubicBezTo>
                <a:cubicBezTo>
                  <a:pt x="639465" y="2513331"/>
                  <a:pt x="608101" y="2501528"/>
                  <a:pt x="576722" y="2501528"/>
                </a:cubicBezTo>
                <a:close/>
                <a:moveTo>
                  <a:pt x="0" y="0"/>
                </a:moveTo>
                <a:lnTo>
                  <a:pt x="11465408" y="0"/>
                </a:lnTo>
                <a:lnTo>
                  <a:pt x="11609808" y="524966"/>
                </a:lnTo>
                <a:cubicBezTo>
                  <a:pt x="11837817" y="1441845"/>
                  <a:pt x="11961045" y="2420383"/>
                  <a:pt x="11961045" y="3436498"/>
                </a:cubicBezTo>
                <a:cubicBezTo>
                  <a:pt x="11961045" y="4452613"/>
                  <a:pt x="11837817" y="5431152"/>
                  <a:pt x="11609807" y="6348030"/>
                </a:cubicBezTo>
                <a:lnTo>
                  <a:pt x="11467471" y="6865497"/>
                </a:lnTo>
                <a:lnTo>
                  <a:pt x="0" y="6865497"/>
                </a:lnTo>
                <a:close/>
              </a:path>
            </a:pathLst>
          </a:custGeom>
          <a:solidFill>
            <a:schemeClr val="bg1">
              <a:lumMod val="9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r>
              <a:rPr lang="en-US" dirty="0"/>
              <a:t>Click icon to add picture</a:t>
            </a:r>
          </a:p>
        </p:txBody>
      </p:sp>
      <p:sp>
        <p:nvSpPr>
          <p:cNvPr id="35" name="Content Placeholder 34">
            <a:extLst>
              <a:ext uri="{FF2B5EF4-FFF2-40B4-BE49-F238E27FC236}">
                <a16:creationId xmlns:a16="http://schemas.microsoft.com/office/drawing/2014/main" id="{5ABA7B34-981F-0914-F1FD-B14771B2D8D4}"/>
              </a:ext>
            </a:extLst>
          </p:cNvPr>
          <p:cNvSpPr>
            <a:spLocks noGrp="1"/>
          </p:cNvSpPr>
          <p:nvPr>
            <p:ph sz="quarter" idx="15"/>
          </p:nvPr>
        </p:nvSpPr>
        <p:spPr>
          <a:xfrm>
            <a:off x="-2" y="1929384"/>
            <a:ext cx="8312795" cy="2999232"/>
          </a:xfrm>
          <a:custGeom>
            <a:avLst/>
            <a:gdLst>
              <a:gd name="connsiteX0" fmla="*/ 1027075 w 8312795"/>
              <a:gd name="connsiteY0" fmla="*/ 1126219 h 2999232"/>
              <a:gd name="connsiteX1" fmla="*/ 1028413 w 8312795"/>
              <a:gd name="connsiteY1" fmla="*/ 1126219 h 2999232"/>
              <a:gd name="connsiteX2" fmla="*/ 1032059 w 8312795"/>
              <a:gd name="connsiteY2" fmla="*/ 1126458 h 2999232"/>
              <a:gd name="connsiteX3" fmla="*/ 1033154 w 8312795"/>
              <a:gd name="connsiteY3" fmla="*/ 1127175 h 2999232"/>
              <a:gd name="connsiteX4" fmla="*/ 1033518 w 8312795"/>
              <a:gd name="connsiteY4" fmla="*/ 1128370 h 2999232"/>
              <a:gd name="connsiteX5" fmla="*/ 1033154 w 8312795"/>
              <a:gd name="connsiteY5" fmla="*/ 1129566 h 2999232"/>
              <a:gd name="connsiteX6" fmla="*/ 1032059 w 8312795"/>
              <a:gd name="connsiteY6" fmla="*/ 1130402 h 2999232"/>
              <a:gd name="connsiteX7" fmla="*/ 1028413 w 8312795"/>
              <a:gd name="connsiteY7" fmla="*/ 1130641 h 2999232"/>
              <a:gd name="connsiteX8" fmla="*/ 1027075 w 8312795"/>
              <a:gd name="connsiteY8" fmla="*/ 1130641 h 2999232"/>
              <a:gd name="connsiteX9" fmla="*/ 1023672 w 8312795"/>
              <a:gd name="connsiteY9" fmla="*/ 1123589 h 2999232"/>
              <a:gd name="connsiteX10" fmla="*/ 1023672 w 8312795"/>
              <a:gd name="connsiteY10" fmla="*/ 1139965 h 2999232"/>
              <a:gd name="connsiteX11" fmla="*/ 1023793 w 8312795"/>
              <a:gd name="connsiteY11" fmla="*/ 1139965 h 2999232"/>
              <a:gd name="connsiteX12" fmla="*/ 1027197 w 8312795"/>
              <a:gd name="connsiteY12" fmla="*/ 1139965 h 2999232"/>
              <a:gd name="connsiteX13" fmla="*/ 1027197 w 8312795"/>
              <a:gd name="connsiteY13" fmla="*/ 1133271 h 2999232"/>
              <a:gd name="connsiteX14" fmla="*/ 1028048 w 8312795"/>
              <a:gd name="connsiteY14" fmla="*/ 1133271 h 2999232"/>
              <a:gd name="connsiteX15" fmla="*/ 1030358 w 8312795"/>
              <a:gd name="connsiteY15" fmla="*/ 1133988 h 2999232"/>
              <a:gd name="connsiteX16" fmla="*/ 1032667 w 8312795"/>
              <a:gd name="connsiteY16" fmla="*/ 1137335 h 2999232"/>
              <a:gd name="connsiteX17" fmla="*/ 1034126 w 8312795"/>
              <a:gd name="connsiteY17" fmla="*/ 1139965 h 2999232"/>
              <a:gd name="connsiteX18" fmla="*/ 1038259 w 8312795"/>
              <a:gd name="connsiteY18" fmla="*/ 1139965 h 2999232"/>
              <a:gd name="connsiteX19" fmla="*/ 1036314 w 8312795"/>
              <a:gd name="connsiteY19" fmla="*/ 1136618 h 2999232"/>
              <a:gd name="connsiteX20" fmla="*/ 1035099 w 8312795"/>
              <a:gd name="connsiteY20" fmla="*/ 1134586 h 2999232"/>
              <a:gd name="connsiteX21" fmla="*/ 1034004 w 8312795"/>
              <a:gd name="connsiteY21" fmla="*/ 1133271 h 2999232"/>
              <a:gd name="connsiteX22" fmla="*/ 1032789 w 8312795"/>
              <a:gd name="connsiteY22" fmla="*/ 1132673 h 2999232"/>
              <a:gd name="connsiteX23" fmla="*/ 1036071 w 8312795"/>
              <a:gd name="connsiteY23" fmla="*/ 1131119 h 2999232"/>
              <a:gd name="connsiteX24" fmla="*/ 1037287 w 8312795"/>
              <a:gd name="connsiteY24" fmla="*/ 1128131 h 2999232"/>
              <a:gd name="connsiteX25" fmla="*/ 1036679 w 8312795"/>
              <a:gd name="connsiteY25" fmla="*/ 1125741 h 2999232"/>
              <a:gd name="connsiteX26" fmla="*/ 1035099 w 8312795"/>
              <a:gd name="connsiteY26" fmla="*/ 1124187 h 2999232"/>
              <a:gd name="connsiteX27" fmla="*/ 1032424 w 8312795"/>
              <a:gd name="connsiteY27" fmla="*/ 1123589 h 2999232"/>
              <a:gd name="connsiteX28" fmla="*/ 1027075 w 8312795"/>
              <a:gd name="connsiteY28" fmla="*/ 1123589 h 2999232"/>
              <a:gd name="connsiteX29" fmla="*/ 1030844 w 8312795"/>
              <a:gd name="connsiteY29" fmla="*/ 1119286 h 2999232"/>
              <a:gd name="connsiteX30" fmla="*/ 1037044 w 8312795"/>
              <a:gd name="connsiteY30" fmla="*/ 1120840 h 2999232"/>
              <a:gd name="connsiteX31" fmla="*/ 1041785 w 8312795"/>
              <a:gd name="connsiteY31" fmla="*/ 1125382 h 2999232"/>
              <a:gd name="connsiteX32" fmla="*/ 1043487 w 8312795"/>
              <a:gd name="connsiteY32" fmla="*/ 1131598 h 2999232"/>
              <a:gd name="connsiteX33" fmla="*/ 1041785 w 8312795"/>
              <a:gd name="connsiteY33" fmla="*/ 1137813 h 2999232"/>
              <a:gd name="connsiteX34" fmla="*/ 1037165 w 8312795"/>
              <a:gd name="connsiteY34" fmla="*/ 1142355 h 2999232"/>
              <a:gd name="connsiteX35" fmla="*/ 1030844 w 8312795"/>
              <a:gd name="connsiteY35" fmla="*/ 1144028 h 2999232"/>
              <a:gd name="connsiteX36" fmla="*/ 1024522 w 8312795"/>
              <a:gd name="connsiteY36" fmla="*/ 1142355 h 2999232"/>
              <a:gd name="connsiteX37" fmla="*/ 1019903 w 8312795"/>
              <a:gd name="connsiteY37" fmla="*/ 1137813 h 2999232"/>
              <a:gd name="connsiteX38" fmla="*/ 1018201 w 8312795"/>
              <a:gd name="connsiteY38" fmla="*/ 1131598 h 2999232"/>
              <a:gd name="connsiteX39" fmla="*/ 1019903 w 8312795"/>
              <a:gd name="connsiteY39" fmla="*/ 1125382 h 2999232"/>
              <a:gd name="connsiteX40" fmla="*/ 1024644 w 8312795"/>
              <a:gd name="connsiteY40" fmla="*/ 1120840 h 2999232"/>
              <a:gd name="connsiteX41" fmla="*/ 1030844 w 8312795"/>
              <a:gd name="connsiteY41" fmla="*/ 1119286 h 2999232"/>
              <a:gd name="connsiteX42" fmla="*/ 1030844 w 8312795"/>
              <a:gd name="connsiteY42" fmla="*/ 1116298 h 2999232"/>
              <a:gd name="connsiteX43" fmla="*/ 1023064 w 8312795"/>
              <a:gd name="connsiteY43" fmla="*/ 1118330 h 2999232"/>
              <a:gd name="connsiteX44" fmla="*/ 1017229 w 8312795"/>
              <a:gd name="connsiteY44" fmla="*/ 1124067 h 2999232"/>
              <a:gd name="connsiteX45" fmla="*/ 1015162 w 8312795"/>
              <a:gd name="connsiteY45" fmla="*/ 1131837 h 2999232"/>
              <a:gd name="connsiteX46" fmla="*/ 1017229 w 8312795"/>
              <a:gd name="connsiteY46" fmla="*/ 1139486 h 2999232"/>
              <a:gd name="connsiteX47" fmla="*/ 1023064 w 8312795"/>
              <a:gd name="connsiteY47" fmla="*/ 1145224 h 2999232"/>
              <a:gd name="connsiteX48" fmla="*/ 1030844 w 8312795"/>
              <a:gd name="connsiteY48" fmla="*/ 1147256 h 2999232"/>
              <a:gd name="connsiteX49" fmla="*/ 1038624 w 8312795"/>
              <a:gd name="connsiteY49" fmla="*/ 1145224 h 2999232"/>
              <a:gd name="connsiteX50" fmla="*/ 1044459 w 8312795"/>
              <a:gd name="connsiteY50" fmla="*/ 1139486 h 2999232"/>
              <a:gd name="connsiteX51" fmla="*/ 1046526 w 8312795"/>
              <a:gd name="connsiteY51" fmla="*/ 1131837 h 2999232"/>
              <a:gd name="connsiteX52" fmla="*/ 1044459 w 8312795"/>
              <a:gd name="connsiteY52" fmla="*/ 1124067 h 2999232"/>
              <a:gd name="connsiteX53" fmla="*/ 1038624 w 8312795"/>
              <a:gd name="connsiteY53" fmla="*/ 1118330 h 2999232"/>
              <a:gd name="connsiteX54" fmla="*/ 1030844 w 8312795"/>
              <a:gd name="connsiteY54" fmla="*/ 1116298 h 2999232"/>
              <a:gd name="connsiteX55" fmla="*/ 577408 w 8312795"/>
              <a:gd name="connsiteY55" fmla="*/ 905570 h 2999232"/>
              <a:gd name="connsiteX56" fmla="*/ 577287 w 8312795"/>
              <a:gd name="connsiteY56" fmla="*/ 905690 h 2999232"/>
              <a:gd name="connsiteX57" fmla="*/ 454628 w 8312795"/>
              <a:gd name="connsiteY57" fmla="*/ 1026293 h 2999232"/>
              <a:gd name="connsiteX58" fmla="*/ 577408 w 8312795"/>
              <a:gd name="connsiteY58" fmla="*/ 1146777 h 2999232"/>
              <a:gd name="connsiteX59" fmla="*/ 700067 w 8312795"/>
              <a:gd name="connsiteY59" fmla="*/ 1026174 h 2999232"/>
              <a:gd name="connsiteX60" fmla="*/ 577408 w 8312795"/>
              <a:gd name="connsiteY60" fmla="*/ 905570 h 2999232"/>
              <a:gd name="connsiteX61" fmla="*/ 3534223 w 8312795"/>
              <a:gd name="connsiteY61" fmla="*/ 817120 h 2999232"/>
              <a:gd name="connsiteX62" fmla="*/ 3568869 w 8312795"/>
              <a:gd name="connsiteY62" fmla="*/ 824411 h 2999232"/>
              <a:gd name="connsiteX63" fmla="*/ 3596707 w 8312795"/>
              <a:gd name="connsiteY63" fmla="*/ 844850 h 2999232"/>
              <a:gd name="connsiteX64" fmla="*/ 3615307 w 8312795"/>
              <a:gd name="connsiteY64" fmla="*/ 876406 h 2999232"/>
              <a:gd name="connsiteX65" fmla="*/ 3621993 w 8312795"/>
              <a:gd name="connsiteY65" fmla="*/ 916089 h 2999232"/>
              <a:gd name="connsiteX66" fmla="*/ 3615307 w 8312795"/>
              <a:gd name="connsiteY66" fmla="*/ 956489 h 2999232"/>
              <a:gd name="connsiteX67" fmla="*/ 3596707 w 8312795"/>
              <a:gd name="connsiteY67" fmla="*/ 988045 h 2999232"/>
              <a:gd name="connsiteX68" fmla="*/ 3568869 w 8312795"/>
              <a:gd name="connsiteY68" fmla="*/ 1008484 h 2999232"/>
              <a:gd name="connsiteX69" fmla="*/ 3534223 w 8312795"/>
              <a:gd name="connsiteY69" fmla="*/ 1015775 h 2999232"/>
              <a:gd name="connsiteX70" fmla="*/ 3499577 w 8312795"/>
              <a:gd name="connsiteY70" fmla="*/ 1008484 h 2999232"/>
              <a:gd name="connsiteX71" fmla="*/ 3471739 w 8312795"/>
              <a:gd name="connsiteY71" fmla="*/ 988045 h 2999232"/>
              <a:gd name="connsiteX72" fmla="*/ 3453139 w 8312795"/>
              <a:gd name="connsiteY72" fmla="*/ 956848 h 2999232"/>
              <a:gd name="connsiteX73" fmla="*/ 3446453 w 8312795"/>
              <a:gd name="connsiteY73" fmla="*/ 916806 h 2999232"/>
              <a:gd name="connsiteX74" fmla="*/ 3446453 w 8312795"/>
              <a:gd name="connsiteY74" fmla="*/ 916687 h 2999232"/>
              <a:gd name="connsiteX75" fmla="*/ 3453139 w 8312795"/>
              <a:gd name="connsiteY75" fmla="*/ 877003 h 2999232"/>
              <a:gd name="connsiteX76" fmla="*/ 3471739 w 8312795"/>
              <a:gd name="connsiteY76" fmla="*/ 845448 h 2999232"/>
              <a:gd name="connsiteX77" fmla="*/ 3499577 w 8312795"/>
              <a:gd name="connsiteY77" fmla="*/ 824650 h 2999232"/>
              <a:gd name="connsiteX78" fmla="*/ 3534223 w 8312795"/>
              <a:gd name="connsiteY78" fmla="*/ 817120 h 2999232"/>
              <a:gd name="connsiteX79" fmla="*/ 2694576 w 8312795"/>
              <a:gd name="connsiteY79" fmla="*/ 808155 h 2999232"/>
              <a:gd name="connsiteX80" fmla="*/ 2753535 w 8312795"/>
              <a:gd name="connsiteY80" fmla="*/ 830148 h 2999232"/>
              <a:gd name="connsiteX81" fmla="*/ 2781009 w 8312795"/>
              <a:gd name="connsiteY81" fmla="*/ 888717 h 2999232"/>
              <a:gd name="connsiteX82" fmla="*/ 2781130 w 8312795"/>
              <a:gd name="connsiteY82" fmla="*/ 888836 h 2999232"/>
              <a:gd name="connsiteX83" fmla="*/ 2609481 w 8312795"/>
              <a:gd name="connsiteY83" fmla="*/ 888836 h 2999232"/>
              <a:gd name="connsiteX84" fmla="*/ 2617990 w 8312795"/>
              <a:gd name="connsiteY84" fmla="*/ 855966 h 2999232"/>
              <a:gd name="connsiteX85" fmla="*/ 2636590 w 8312795"/>
              <a:gd name="connsiteY85" fmla="*/ 830507 h 2999232"/>
              <a:gd name="connsiteX86" fmla="*/ 2662726 w 8312795"/>
              <a:gd name="connsiteY86" fmla="*/ 814012 h 2999232"/>
              <a:gd name="connsiteX87" fmla="*/ 2694576 w 8312795"/>
              <a:gd name="connsiteY87" fmla="*/ 808155 h 2999232"/>
              <a:gd name="connsiteX88" fmla="*/ 1795121 w 8312795"/>
              <a:gd name="connsiteY88" fmla="*/ 749586 h 2999232"/>
              <a:gd name="connsiteX89" fmla="*/ 1795121 w 8312795"/>
              <a:gd name="connsiteY89" fmla="*/ 1085101 h 2999232"/>
              <a:gd name="connsiteX90" fmla="*/ 1881189 w 8312795"/>
              <a:gd name="connsiteY90" fmla="*/ 1085101 h 2999232"/>
              <a:gd name="connsiteX91" fmla="*/ 1881189 w 8312795"/>
              <a:gd name="connsiteY91" fmla="*/ 749586 h 2999232"/>
              <a:gd name="connsiteX92" fmla="*/ 2369878 w 8312795"/>
              <a:gd name="connsiteY92" fmla="*/ 748271 h 2999232"/>
              <a:gd name="connsiteX93" fmla="*/ 2297911 w 8312795"/>
              <a:gd name="connsiteY93" fmla="*/ 766320 h 2999232"/>
              <a:gd name="connsiteX94" fmla="*/ 2245882 w 8312795"/>
              <a:gd name="connsiteY94" fmla="*/ 818434 h 2999232"/>
              <a:gd name="connsiteX95" fmla="*/ 2216341 w 8312795"/>
              <a:gd name="connsiteY95" fmla="*/ 768591 h 2999232"/>
              <a:gd name="connsiteX96" fmla="*/ 2150818 w 8312795"/>
              <a:gd name="connsiteY96" fmla="*/ 748391 h 2999232"/>
              <a:gd name="connsiteX97" fmla="*/ 2076664 w 8312795"/>
              <a:gd name="connsiteY97" fmla="*/ 765722 h 2999232"/>
              <a:gd name="connsiteX98" fmla="*/ 2025607 w 8312795"/>
              <a:gd name="connsiteY98" fmla="*/ 815326 h 2999232"/>
              <a:gd name="connsiteX99" fmla="*/ 2025607 w 8312795"/>
              <a:gd name="connsiteY99" fmla="*/ 749466 h 2999232"/>
              <a:gd name="connsiteX100" fmla="*/ 1947927 w 8312795"/>
              <a:gd name="connsiteY100" fmla="*/ 749466 h 2999232"/>
              <a:gd name="connsiteX101" fmla="*/ 1947927 w 8312795"/>
              <a:gd name="connsiteY101" fmla="*/ 1085101 h 2999232"/>
              <a:gd name="connsiteX102" fmla="*/ 2033995 w 8312795"/>
              <a:gd name="connsiteY102" fmla="*/ 1085101 h 2999232"/>
              <a:gd name="connsiteX103" fmla="*/ 2033995 w 8312795"/>
              <a:gd name="connsiteY103" fmla="*/ 891824 h 2999232"/>
              <a:gd name="connsiteX104" fmla="*/ 2066453 w 8312795"/>
              <a:gd name="connsiteY104" fmla="*/ 841981 h 2999232"/>
              <a:gd name="connsiteX105" fmla="*/ 2114349 w 8312795"/>
              <a:gd name="connsiteY105" fmla="*/ 823096 h 2999232"/>
              <a:gd name="connsiteX106" fmla="*/ 2152520 w 8312795"/>
              <a:gd name="connsiteY106" fmla="*/ 841383 h 2999232"/>
              <a:gd name="connsiteX107" fmla="*/ 2166379 w 8312795"/>
              <a:gd name="connsiteY107" fmla="*/ 899474 h 2999232"/>
              <a:gd name="connsiteX108" fmla="*/ 2166379 w 8312795"/>
              <a:gd name="connsiteY108" fmla="*/ 1085101 h 2999232"/>
              <a:gd name="connsiteX109" fmla="*/ 2252446 w 8312795"/>
              <a:gd name="connsiteY109" fmla="*/ 1085101 h 2999232"/>
              <a:gd name="connsiteX110" fmla="*/ 2252446 w 8312795"/>
              <a:gd name="connsiteY110" fmla="*/ 892541 h 2999232"/>
              <a:gd name="connsiteX111" fmla="*/ 2284539 w 8312795"/>
              <a:gd name="connsiteY111" fmla="*/ 842340 h 2999232"/>
              <a:gd name="connsiteX112" fmla="*/ 2332679 w 8312795"/>
              <a:gd name="connsiteY112" fmla="*/ 823096 h 2999232"/>
              <a:gd name="connsiteX113" fmla="*/ 2370850 w 8312795"/>
              <a:gd name="connsiteY113" fmla="*/ 841383 h 2999232"/>
              <a:gd name="connsiteX114" fmla="*/ 2384708 w 8312795"/>
              <a:gd name="connsiteY114" fmla="*/ 899474 h 2999232"/>
              <a:gd name="connsiteX115" fmla="*/ 2384708 w 8312795"/>
              <a:gd name="connsiteY115" fmla="*/ 1085101 h 2999232"/>
              <a:gd name="connsiteX116" fmla="*/ 2470776 w 8312795"/>
              <a:gd name="connsiteY116" fmla="*/ 1085101 h 2999232"/>
              <a:gd name="connsiteX117" fmla="*/ 2470655 w 8312795"/>
              <a:gd name="connsiteY117" fmla="*/ 1084862 h 2999232"/>
              <a:gd name="connsiteX118" fmla="*/ 2470655 w 8312795"/>
              <a:gd name="connsiteY118" fmla="*/ 878317 h 2999232"/>
              <a:gd name="connsiteX119" fmla="*/ 2466521 w 8312795"/>
              <a:gd name="connsiteY119" fmla="*/ 830984 h 2999232"/>
              <a:gd name="connsiteX120" fmla="*/ 2451447 w 8312795"/>
              <a:gd name="connsiteY120" fmla="*/ 789269 h 2999232"/>
              <a:gd name="connsiteX121" fmla="*/ 2420570 w 8312795"/>
              <a:gd name="connsiteY121" fmla="*/ 759626 h 2999232"/>
              <a:gd name="connsiteX122" fmla="*/ 2369878 w 8312795"/>
              <a:gd name="connsiteY122" fmla="*/ 748271 h 2999232"/>
              <a:gd name="connsiteX123" fmla="*/ 2695913 w 8312795"/>
              <a:gd name="connsiteY123" fmla="*/ 747913 h 2999232"/>
              <a:gd name="connsiteX124" fmla="*/ 2622975 w 8312795"/>
              <a:gd name="connsiteY124" fmla="*/ 761539 h 2999232"/>
              <a:gd name="connsiteX125" fmla="*/ 2567784 w 8312795"/>
              <a:gd name="connsiteY125" fmla="*/ 798473 h 2999232"/>
              <a:gd name="connsiteX126" fmla="*/ 2533017 w 8312795"/>
              <a:gd name="connsiteY126" fmla="*/ 852500 h 2999232"/>
              <a:gd name="connsiteX127" fmla="*/ 2520982 w 8312795"/>
              <a:gd name="connsiteY127" fmla="*/ 918001 h 2999232"/>
              <a:gd name="connsiteX128" fmla="*/ 2533260 w 8312795"/>
              <a:gd name="connsiteY128" fmla="*/ 981949 h 2999232"/>
              <a:gd name="connsiteX129" fmla="*/ 2568271 w 8312795"/>
              <a:gd name="connsiteY129" fmla="*/ 1035258 h 2999232"/>
              <a:gd name="connsiteX130" fmla="*/ 2623096 w 8312795"/>
              <a:gd name="connsiteY130" fmla="*/ 1071595 h 2999232"/>
              <a:gd name="connsiteX131" fmla="*/ 2695062 w 8312795"/>
              <a:gd name="connsiteY131" fmla="*/ 1084982 h 2999232"/>
              <a:gd name="connsiteX132" fmla="*/ 2695184 w 8312795"/>
              <a:gd name="connsiteY132" fmla="*/ 1084743 h 2999232"/>
              <a:gd name="connsiteX133" fmla="*/ 2790734 w 8312795"/>
              <a:gd name="connsiteY133" fmla="*/ 1060837 h 2999232"/>
              <a:gd name="connsiteX134" fmla="*/ 2849085 w 8312795"/>
              <a:gd name="connsiteY134" fmla="*/ 999758 h 2999232"/>
              <a:gd name="connsiteX135" fmla="*/ 2776511 w 8312795"/>
              <a:gd name="connsiteY135" fmla="*/ 979917 h 2999232"/>
              <a:gd name="connsiteX136" fmla="*/ 2745876 w 8312795"/>
              <a:gd name="connsiteY136" fmla="*/ 1011831 h 2999232"/>
              <a:gd name="connsiteX137" fmla="*/ 2698223 w 8312795"/>
              <a:gd name="connsiteY137" fmla="*/ 1023903 h 2999232"/>
              <a:gd name="connsiteX138" fmla="*/ 2666738 w 8312795"/>
              <a:gd name="connsiteY138" fmla="*/ 1018285 h 2999232"/>
              <a:gd name="connsiteX139" fmla="*/ 2639629 w 8312795"/>
              <a:gd name="connsiteY139" fmla="*/ 1002149 h 2999232"/>
              <a:gd name="connsiteX140" fmla="*/ 2620057 w 8312795"/>
              <a:gd name="connsiteY140" fmla="*/ 976690 h 2999232"/>
              <a:gd name="connsiteX141" fmla="*/ 2610575 w 8312795"/>
              <a:gd name="connsiteY141" fmla="*/ 942624 h 2999232"/>
              <a:gd name="connsiteX142" fmla="*/ 2866104 w 8312795"/>
              <a:gd name="connsiteY142" fmla="*/ 942624 h 2999232"/>
              <a:gd name="connsiteX143" fmla="*/ 2867684 w 8312795"/>
              <a:gd name="connsiteY143" fmla="*/ 930193 h 2999232"/>
              <a:gd name="connsiteX144" fmla="*/ 2868049 w 8312795"/>
              <a:gd name="connsiteY144" fmla="*/ 914655 h 2999232"/>
              <a:gd name="connsiteX145" fmla="*/ 2856379 w 8312795"/>
              <a:gd name="connsiteY145" fmla="*/ 851424 h 2999232"/>
              <a:gd name="connsiteX146" fmla="*/ 2822340 w 8312795"/>
              <a:gd name="connsiteY146" fmla="*/ 798115 h 2999232"/>
              <a:gd name="connsiteX147" fmla="*/ 2768123 w 8312795"/>
              <a:gd name="connsiteY147" fmla="*/ 761539 h 2999232"/>
              <a:gd name="connsiteX148" fmla="*/ 2695913 w 8312795"/>
              <a:gd name="connsiteY148" fmla="*/ 747913 h 2999232"/>
              <a:gd name="connsiteX149" fmla="*/ 3534223 w 8312795"/>
              <a:gd name="connsiteY149" fmla="*/ 745403 h 2999232"/>
              <a:gd name="connsiteX150" fmla="*/ 3460555 w 8312795"/>
              <a:gd name="connsiteY150" fmla="*/ 759268 h 2999232"/>
              <a:gd name="connsiteX151" fmla="*/ 3405121 w 8312795"/>
              <a:gd name="connsiteY151" fmla="*/ 796800 h 2999232"/>
              <a:gd name="connsiteX152" fmla="*/ 3370232 w 8312795"/>
              <a:gd name="connsiteY152" fmla="*/ 851305 h 2999232"/>
              <a:gd name="connsiteX153" fmla="*/ 3358076 w 8312795"/>
              <a:gd name="connsiteY153" fmla="*/ 916806 h 2999232"/>
              <a:gd name="connsiteX154" fmla="*/ 3370232 w 8312795"/>
              <a:gd name="connsiteY154" fmla="*/ 981710 h 2999232"/>
              <a:gd name="connsiteX155" fmla="*/ 3405121 w 8312795"/>
              <a:gd name="connsiteY155" fmla="*/ 1036215 h 2999232"/>
              <a:gd name="connsiteX156" fmla="*/ 3460555 w 8312795"/>
              <a:gd name="connsiteY156" fmla="*/ 1073746 h 2999232"/>
              <a:gd name="connsiteX157" fmla="*/ 3534223 w 8312795"/>
              <a:gd name="connsiteY157" fmla="*/ 1087612 h 2999232"/>
              <a:gd name="connsiteX158" fmla="*/ 3607891 w 8312795"/>
              <a:gd name="connsiteY158" fmla="*/ 1073746 h 2999232"/>
              <a:gd name="connsiteX159" fmla="*/ 3663081 w 8312795"/>
              <a:gd name="connsiteY159" fmla="*/ 1036215 h 2999232"/>
              <a:gd name="connsiteX160" fmla="*/ 3697727 w 8312795"/>
              <a:gd name="connsiteY160" fmla="*/ 981710 h 2999232"/>
              <a:gd name="connsiteX161" fmla="*/ 3709884 w 8312795"/>
              <a:gd name="connsiteY161" fmla="*/ 916806 h 2999232"/>
              <a:gd name="connsiteX162" fmla="*/ 3697727 w 8312795"/>
              <a:gd name="connsiteY162" fmla="*/ 851305 h 2999232"/>
              <a:gd name="connsiteX163" fmla="*/ 3662838 w 8312795"/>
              <a:gd name="connsiteY163" fmla="*/ 796800 h 2999232"/>
              <a:gd name="connsiteX164" fmla="*/ 3607648 w 8312795"/>
              <a:gd name="connsiteY164" fmla="*/ 759268 h 2999232"/>
              <a:gd name="connsiteX165" fmla="*/ 3534223 w 8312795"/>
              <a:gd name="connsiteY165" fmla="*/ 745403 h 2999232"/>
              <a:gd name="connsiteX166" fmla="*/ 3142420 w 8312795"/>
              <a:gd name="connsiteY166" fmla="*/ 630417 h 2999232"/>
              <a:gd name="connsiteX167" fmla="*/ 3047356 w 8312795"/>
              <a:gd name="connsiteY167" fmla="*/ 650020 h 2999232"/>
              <a:gd name="connsiteX168" fmla="*/ 2976727 w 8312795"/>
              <a:gd name="connsiteY168" fmla="*/ 701178 h 2999232"/>
              <a:gd name="connsiteX169" fmla="*/ 2932721 w 8312795"/>
              <a:gd name="connsiteY169" fmla="*/ 772894 h 2999232"/>
              <a:gd name="connsiteX170" fmla="*/ 2917659 w 8312795"/>
              <a:gd name="connsiteY170" fmla="*/ 853993 h 2999232"/>
              <a:gd name="connsiteX171" fmla="*/ 2917647 w 8312795"/>
              <a:gd name="connsiteY171" fmla="*/ 853934 h 2999232"/>
              <a:gd name="connsiteX172" fmla="*/ 2917647 w 8312795"/>
              <a:gd name="connsiteY172" fmla="*/ 854054 h 2999232"/>
              <a:gd name="connsiteX173" fmla="*/ 2917659 w 8312795"/>
              <a:gd name="connsiteY173" fmla="*/ 853993 h 2999232"/>
              <a:gd name="connsiteX174" fmla="*/ 2934058 w 8312795"/>
              <a:gd name="connsiteY174" fmla="*/ 938202 h 2999232"/>
              <a:gd name="connsiteX175" fmla="*/ 2979645 w 8312795"/>
              <a:gd name="connsiteY175" fmla="*/ 1012070 h 2999232"/>
              <a:gd name="connsiteX176" fmla="*/ 3049301 w 8312795"/>
              <a:gd name="connsiteY176" fmla="*/ 1064782 h 2999232"/>
              <a:gd name="connsiteX177" fmla="*/ 3138530 w 8312795"/>
              <a:gd name="connsiteY177" fmla="*/ 1084982 h 2999232"/>
              <a:gd name="connsiteX178" fmla="*/ 3195057 w 8312795"/>
              <a:gd name="connsiteY178" fmla="*/ 1078049 h 2999232"/>
              <a:gd name="connsiteX179" fmla="*/ 3249275 w 8312795"/>
              <a:gd name="connsiteY179" fmla="*/ 1057849 h 2999232"/>
              <a:gd name="connsiteX180" fmla="*/ 3294862 w 8312795"/>
              <a:gd name="connsiteY180" fmla="*/ 1025337 h 2999232"/>
              <a:gd name="connsiteX181" fmla="*/ 3325982 w 8312795"/>
              <a:gd name="connsiteY181" fmla="*/ 980873 h 2999232"/>
              <a:gd name="connsiteX182" fmla="*/ 3253408 w 8312795"/>
              <a:gd name="connsiteY182" fmla="*/ 939875 h 2999232"/>
              <a:gd name="connsiteX183" fmla="*/ 3232864 w 8312795"/>
              <a:gd name="connsiteY183" fmla="*/ 971191 h 2999232"/>
              <a:gd name="connsiteX184" fmla="*/ 3204904 w 8312795"/>
              <a:gd name="connsiteY184" fmla="*/ 992348 h 2999232"/>
              <a:gd name="connsiteX185" fmla="*/ 3173176 w 8312795"/>
              <a:gd name="connsiteY185" fmla="*/ 1004300 h 2999232"/>
              <a:gd name="connsiteX186" fmla="*/ 3141083 w 8312795"/>
              <a:gd name="connsiteY186" fmla="*/ 1008125 h 2999232"/>
              <a:gd name="connsiteX187" fmla="*/ 3086865 w 8312795"/>
              <a:gd name="connsiteY187" fmla="*/ 995455 h 2999232"/>
              <a:gd name="connsiteX188" fmla="*/ 3044439 w 8312795"/>
              <a:gd name="connsiteY188" fmla="*/ 961988 h 2999232"/>
              <a:gd name="connsiteX189" fmla="*/ 3017087 w 8312795"/>
              <a:gd name="connsiteY189" fmla="*/ 913698 h 2999232"/>
              <a:gd name="connsiteX190" fmla="*/ 3007483 w 8312795"/>
              <a:gd name="connsiteY190" fmla="*/ 856564 h 2999232"/>
              <a:gd name="connsiteX191" fmla="*/ 3015871 w 8312795"/>
              <a:gd name="connsiteY191" fmla="*/ 803135 h 2999232"/>
              <a:gd name="connsiteX192" fmla="*/ 3040670 w 8312795"/>
              <a:gd name="connsiteY192" fmla="*/ 755204 h 2999232"/>
              <a:gd name="connsiteX193" fmla="*/ 3081759 w 8312795"/>
              <a:gd name="connsiteY193" fmla="*/ 720780 h 2999232"/>
              <a:gd name="connsiteX194" fmla="*/ 3139867 w 8312795"/>
              <a:gd name="connsiteY194" fmla="*/ 707513 h 2999232"/>
              <a:gd name="connsiteX195" fmla="*/ 3171352 w 8312795"/>
              <a:gd name="connsiteY195" fmla="*/ 710979 h 2999232"/>
              <a:gd name="connsiteX196" fmla="*/ 3202230 w 8312795"/>
              <a:gd name="connsiteY196" fmla="*/ 721975 h 2999232"/>
              <a:gd name="connsiteX197" fmla="*/ 3229825 w 8312795"/>
              <a:gd name="connsiteY197" fmla="*/ 742534 h 2999232"/>
              <a:gd name="connsiteX198" fmla="*/ 3251706 w 8312795"/>
              <a:gd name="connsiteY198" fmla="*/ 774448 h 2999232"/>
              <a:gd name="connsiteX199" fmla="*/ 3319783 w 8312795"/>
              <a:gd name="connsiteY199" fmla="*/ 728310 h 2999232"/>
              <a:gd name="connsiteX200" fmla="*/ 3251342 w 8312795"/>
              <a:gd name="connsiteY200" fmla="*/ 657550 h 2999232"/>
              <a:gd name="connsiteX201" fmla="*/ 3142420 w 8312795"/>
              <a:gd name="connsiteY201" fmla="*/ 630417 h 2999232"/>
              <a:gd name="connsiteX202" fmla="*/ 1371711 w 8312795"/>
              <a:gd name="connsiteY202" fmla="*/ 630417 h 2999232"/>
              <a:gd name="connsiteX203" fmla="*/ 1276647 w 8312795"/>
              <a:gd name="connsiteY203" fmla="*/ 650020 h 2999232"/>
              <a:gd name="connsiteX204" fmla="*/ 1206018 w 8312795"/>
              <a:gd name="connsiteY204" fmla="*/ 701178 h 2999232"/>
              <a:gd name="connsiteX205" fmla="*/ 1162012 w 8312795"/>
              <a:gd name="connsiteY205" fmla="*/ 772894 h 2999232"/>
              <a:gd name="connsiteX206" fmla="*/ 1146950 w 8312795"/>
              <a:gd name="connsiteY206" fmla="*/ 853993 h 2999232"/>
              <a:gd name="connsiteX207" fmla="*/ 1146938 w 8312795"/>
              <a:gd name="connsiteY207" fmla="*/ 853934 h 2999232"/>
              <a:gd name="connsiteX208" fmla="*/ 1146938 w 8312795"/>
              <a:gd name="connsiteY208" fmla="*/ 854054 h 2999232"/>
              <a:gd name="connsiteX209" fmla="*/ 1146950 w 8312795"/>
              <a:gd name="connsiteY209" fmla="*/ 853993 h 2999232"/>
              <a:gd name="connsiteX210" fmla="*/ 1163349 w 8312795"/>
              <a:gd name="connsiteY210" fmla="*/ 938202 h 2999232"/>
              <a:gd name="connsiteX211" fmla="*/ 1208936 w 8312795"/>
              <a:gd name="connsiteY211" fmla="*/ 1012070 h 2999232"/>
              <a:gd name="connsiteX212" fmla="*/ 1278592 w 8312795"/>
              <a:gd name="connsiteY212" fmla="*/ 1064782 h 2999232"/>
              <a:gd name="connsiteX213" fmla="*/ 1367821 w 8312795"/>
              <a:gd name="connsiteY213" fmla="*/ 1084982 h 2999232"/>
              <a:gd name="connsiteX214" fmla="*/ 1424348 w 8312795"/>
              <a:gd name="connsiteY214" fmla="*/ 1078049 h 2999232"/>
              <a:gd name="connsiteX215" fmla="*/ 1478688 w 8312795"/>
              <a:gd name="connsiteY215" fmla="*/ 1057849 h 2999232"/>
              <a:gd name="connsiteX216" fmla="*/ 1524274 w 8312795"/>
              <a:gd name="connsiteY216" fmla="*/ 1025337 h 2999232"/>
              <a:gd name="connsiteX217" fmla="*/ 1555395 w 8312795"/>
              <a:gd name="connsiteY217" fmla="*/ 980873 h 2999232"/>
              <a:gd name="connsiteX218" fmla="*/ 1482821 w 8312795"/>
              <a:gd name="connsiteY218" fmla="*/ 939875 h 2999232"/>
              <a:gd name="connsiteX219" fmla="*/ 1462276 w 8312795"/>
              <a:gd name="connsiteY219" fmla="*/ 971191 h 2999232"/>
              <a:gd name="connsiteX220" fmla="*/ 1434317 w 8312795"/>
              <a:gd name="connsiteY220" fmla="*/ 992348 h 2999232"/>
              <a:gd name="connsiteX221" fmla="*/ 1402588 w 8312795"/>
              <a:gd name="connsiteY221" fmla="*/ 1004300 h 2999232"/>
              <a:gd name="connsiteX222" fmla="*/ 1370495 w 8312795"/>
              <a:gd name="connsiteY222" fmla="*/ 1008125 h 2999232"/>
              <a:gd name="connsiteX223" fmla="*/ 1316277 w 8312795"/>
              <a:gd name="connsiteY223" fmla="*/ 995455 h 2999232"/>
              <a:gd name="connsiteX224" fmla="*/ 1273851 w 8312795"/>
              <a:gd name="connsiteY224" fmla="*/ 961988 h 2999232"/>
              <a:gd name="connsiteX225" fmla="*/ 1246499 w 8312795"/>
              <a:gd name="connsiteY225" fmla="*/ 913698 h 2999232"/>
              <a:gd name="connsiteX226" fmla="*/ 1236896 w 8312795"/>
              <a:gd name="connsiteY226" fmla="*/ 856564 h 2999232"/>
              <a:gd name="connsiteX227" fmla="*/ 1245284 w 8312795"/>
              <a:gd name="connsiteY227" fmla="*/ 803135 h 2999232"/>
              <a:gd name="connsiteX228" fmla="*/ 1269961 w 8312795"/>
              <a:gd name="connsiteY228" fmla="*/ 755204 h 2999232"/>
              <a:gd name="connsiteX229" fmla="*/ 1311050 w 8312795"/>
              <a:gd name="connsiteY229" fmla="*/ 720780 h 2999232"/>
              <a:gd name="connsiteX230" fmla="*/ 1369158 w 8312795"/>
              <a:gd name="connsiteY230" fmla="*/ 707513 h 2999232"/>
              <a:gd name="connsiteX231" fmla="*/ 1400643 w 8312795"/>
              <a:gd name="connsiteY231" fmla="*/ 710979 h 2999232"/>
              <a:gd name="connsiteX232" fmla="*/ 1431521 w 8312795"/>
              <a:gd name="connsiteY232" fmla="*/ 721975 h 2999232"/>
              <a:gd name="connsiteX233" fmla="*/ 1459116 w 8312795"/>
              <a:gd name="connsiteY233" fmla="*/ 742534 h 2999232"/>
              <a:gd name="connsiteX234" fmla="*/ 1480997 w 8312795"/>
              <a:gd name="connsiteY234" fmla="*/ 774448 h 2999232"/>
              <a:gd name="connsiteX235" fmla="*/ 1549074 w 8312795"/>
              <a:gd name="connsiteY235" fmla="*/ 728310 h 2999232"/>
              <a:gd name="connsiteX236" fmla="*/ 1480633 w 8312795"/>
              <a:gd name="connsiteY236" fmla="*/ 657550 h 2999232"/>
              <a:gd name="connsiteX237" fmla="*/ 1371711 w 8312795"/>
              <a:gd name="connsiteY237" fmla="*/ 630417 h 2999232"/>
              <a:gd name="connsiteX238" fmla="*/ 1795121 w 8312795"/>
              <a:gd name="connsiteY238" fmla="*/ 624082 h 2999232"/>
              <a:gd name="connsiteX239" fmla="*/ 1795121 w 8312795"/>
              <a:gd name="connsiteY239" fmla="*/ 708110 h 2999232"/>
              <a:gd name="connsiteX240" fmla="*/ 1881189 w 8312795"/>
              <a:gd name="connsiteY240" fmla="*/ 708110 h 2999232"/>
              <a:gd name="connsiteX241" fmla="*/ 1881189 w 8312795"/>
              <a:gd name="connsiteY241" fmla="*/ 624082 h 2999232"/>
              <a:gd name="connsiteX242" fmla="*/ 1598186 w 8312795"/>
              <a:gd name="connsiteY242" fmla="*/ 619181 h 2999232"/>
              <a:gd name="connsiteX243" fmla="*/ 1598186 w 8312795"/>
              <a:gd name="connsiteY243" fmla="*/ 1003822 h 2999232"/>
              <a:gd name="connsiteX244" fmla="*/ 1620311 w 8312795"/>
              <a:gd name="connsiteY244" fmla="*/ 1064184 h 2999232"/>
              <a:gd name="connsiteX245" fmla="*/ 1621162 w 8312795"/>
              <a:gd name="connsiteY245" fmla="*/ 1065020 h 2999232"/>
              <a:gd name="connsiteX246" fmla="*/ 1634169 w 8312795"/>
              <a:gd name="connsiteY246" fmla="*/ 1074343 h 2999232"/>
              <a:gd name="connsiteX247" fmla="*/ 1644502 w 8312795"/>
              <a:gd name="connsiteY247" fmla="*/ 1079005 h 2999232"/>
              <a:gd name="connsiteX248" fmla="*/ 1696532 w 8312795"/>
              <a:gd name="connsiteY248" fmla="*/ 1084981 h 2999232"/>
              <a:gd name="connsiteX249" fmla="*/ 1701151 w 8312795"/>
              <a:gd name="connsiteY249" fmla="*/ 1084742 h 2999232"/>
              <a:gd name="connsiteX250" fmla="*/ 1706014 w 8312795"/>
              <a:gd name="connsiteY250" fmla="*/ 1084384 h 2999232"/>
              <a:gd name="connsiteX251" fmla="*/ 1710755 w 8312795"/>
              <a:gd name="connsiteY251" fmla="*/ 1083906 h 2999232"/>
              <a:gd name="connsiteX252" fmla="*/ 1715496 w 8312795"/>
              <a:gd name="connsiteY252" fmla="*/ 1083308 h 2999232"/>
              <a:gd name="connsiteX253" fmla="*/ 1720237 w 8312795"/>
              <a:gd name="connsiteY253" fmla="*/ 1082591 h 2999232"/>
              <a:gd name="connsiteX254" fmla="*/ 1725099 w 8312795"/>
              <a:gd name="connsiteY254" fmla="*/ 1081635 h 2999232"/>
              <a:gd name="connsiteX255" fmla="*/ 1727652 w 8312795"/>
              <a:gd name="connsiteY255" fmla="*/ 1081037 h 2999232"/>
              <a:gd name="connsiteX256" fmla="*/ 1733001 w 8312795"/>
              <a:gd name="connsiteY256" fmla="*/ 1079483 h 2999232"/>
              <a:gd name="connsiteX257" fmla="*/ 1734946 w 8312795"/>
              <a:gd name="connsiteY257" fmla="*/ 1078886 h 2999232"/>
              <a:gd name="connsiteX258" fmla="*/ 1723154 w 8312795"/>
              <a:gd name="connsiteY258" fmla="*/ 1005137 h 2999232"/>
              <a:gd name="connsiteX259" fmla="*/ 1695194 w 8312795"/>
              <a:gd name="connsiteY259" fmla="*/ 1006691 h 2999232"/>
              <a:gd name="connsiteX260" fmla="*/ 1695073 w 8312795"/>
              <a:gd name="connsiteY260" fmla="*/ 1006691 h 2999232"/>
              <a:gd name="connsiteX261" fmla="*/ 1684254 w 8312795"/>
              <a:gd name="connsiteY261" fmla="*/ 976689 h 2999232"/>
              <a:gd name="connsiteX262" fmla="*/ 1684254 w 8312795"/>
              <a:gd name="connsiteY262" fmla="*/ 619181 h 2999232"/>
              <a:gd name="connsiteX263" fmla="*/ 576725 w 8312795"/>
              <a:gd name="connsiteY263" fmla="*/ 564647 h 2999232"/>
              <a:gd name="connsiteX264" fmla="*/ 490003 w 8312795"/>
              <a:gd name="connsiteY264" fmla="*/ 600057 h 2999232"/>
              <a:gd name="connsiteX265" fmla="*/ 490003 w 8312795"/>
              <a:gd name="connsiteY265" fmla="*/ 770624 h 2999232"/>
              <a:gd name="connsiteX266" fmla="*/ 663476 w 8312795"/>
              <a:gd name="connsiteY266" fmla="*/ 770624 h 2999232"/>
              <a:gd name="connsiteX267" fmla="*/ 837070 w 8312795"/>
              <a:gd name="connsiteY267" fmla="*/ 770624 h 2999232"/>
              <a:gd name="connsiteX268" fmla="*/ 837070 w 8312795"/>
              <a:gd name="connsiteY268" fmla="*/ 941309 h 2999232"/>
              <a:gd name="connsiteX269" fmla="*/ 837070 w 8312795"/>
              <a:gd name="connsiteY269" fmla="*/ 1111876 h 2999232"/>
              <a:gd name="connsiteX270" fmla="*/ 1010664 w 8312795"/>
              <a:gd name="connsiteY270" fmla="*/ 1111876 h 2999232"/>
              <a:gd name="connsiteX271" fmla="*/ 1010664 w 8312795"/>
              <a:gd name="connsiteY271" fmla="*/ 941309 h 2999232"/>
              <a:gd name="connsiteX272" fmla="*/ 1010664 w 8312795"/>
              <a:gd name="connsiteY272" fmla="*/ 770624 h 2999232"/>
              <a:gd name="connsiteX273" fmla="*/ 1010543 w 8312795"/>
              <a:gd name="connsiteY273" fmla="*/ 770624 h 2999232"/>
              <a:gd name="connsiteX274" fmla="*/ 1010543 w 8312795"/>
              <a:gd name="connsiteY274" fmla="*/ 600057 h 2999232"/>
              <a:gd name="connsiteX275" fmla="*/ 836949 w 8312795"/>
              <a:gd name="connsiteY275" fmla="*/ 600057 h 2999232"/>
              <a:gd name="connsiteX276" fmla="*/ 663355 w 8312795"/>
              <a:gd name="connsiteY276" fmla="*/ 600057 h 2999232"/>
              <a:gd name="connsiteX277" fmla="*/ 576725 w 8312795"/>
              <a:gd name="connsiteY277" fmla="*/ 564647 h 2999232"/>
              <a:gd name="connsiteX278" fmla="*/ 0 w 8312795"/>
              <a:gd name="connsiteY278" fmla="*/ 0 h 2999232"/>
              <a:gd name="connsiteX279" fmla="*/ 7880428 w 8312795"/>
              <a:gd name="connsiteY279" fmla="*/ 0 h 2999232"/>
              <a:gd name="connsiteX280" fmla="*/ 8312795 w 8312795"/>
              <a:gd name="connsiteY280" fmla="*/ 275419 h 2999232"/>
              <a:gd name="connsiteX281" fmla="*/ 8312795 w 8312795"/>
              <a:gd name="connsiteY281" fmla="*/ 2723813 h 2999232"/>
              <a:gd name="connsiteX282" fmla="*/ 7880428 w 8312795"/>
              <a:gd name="connsiteY282" fmla="*/ 2999232 h 2999232"/>
              <a:gd name="connsiteX283" fmla="*/ 0 w 8312795"/>
              <a:gd name="connsiteY283" fmla="*/ 2999232 h 299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8312795" h="2999232">
                <a:moveTo>
                  <a:pt x="1027075" y="1126219"/>
                </a:moveTo>
                <a:lnTo>
                  <a:pt x="1028413" y="1126219"/>
                </a:lnTo>
                <a:cubicBezTo>
                  <a:pt x="1030358" y="1126219"/>
                  <a:pt x="1031573" y="1126338"/>
                  <a:pt x="1032059" y="1126458"/>
                </a:cubicBezTo>
                <a:cubicBezTo>
                  <a:pt x="1032546" y="1126577"/>
                  <a:pt x="1032910" y="1126816"/>
                  <a:pt x="1033154" y="1127175"/>
                </a:cubicBezTo>
                <a:cubicBezTo>
                  <a:pt x="1033397" y="1127534"/>
                  <a:pt x="1033518" y="1128012"/>
                  <a:pt x="1033518" y="1128370"/>
                </a:cubicBezTo>
                <a:cubicBezTo>
                  <a:pt x="1033518" y="1128729"/>
                  <a:pt x="1033397" y="1129207"/>
                  <a:pt x="1033154" y="1129566"/>
                </a:cubicBezTo>
                <a:cubicBezTo>
                  <a:pt x="1032910" y="1130044"/>
                  <a:pt x="1032546" y="1130283"/>
                  <a:pt x="1032059" y="1130402"/>
                </a:cubicBezTo>
                <a:cubicBezTo>
                  <a:pt x="1031573" y="1130641"/>
                  <a:pt x="1030358" y="1130641"/>
                  <a:pt x="1028413" y="1130641"/>
                </a:cubicBezTo>
                <a:lnTo>
                  <a:pt x="1027075" y="1130641"/>
                </a:lnTo>
                <a:close/>
                <a:moveTo>
                  <a:pt x="1023672" y="1123589"/>
                </a:moveTo>
                <a:lnTo>
                  <a:pt x="1023672" y="1139965"/>
                </a:lnTo>
                <a:lnTo>
                  <a:pt x="1023793" y="1139965"/>
                </a:lnTo>
                <a:lnTo>
                  <a:pt x="1027197" y="1139965"/>
                </a:lnTo>
                <a:lnTo>
                  <a:pt x="1027197" y="1133271"/>
                </a:lnTo>
                <a:lnTo>
                  <a:pt x="1028048" y="1133271"/>
                </a:lnTo>
                <a:cubicBezTo>
                  <a:pt x="1028899" y="1133271"/>
                  <a:pt x="1029750" y="1133510"/>
                  <a:pt x="1030358" y="1133988"/>
                </a:cubicBezTo>
                <a:cubicBezTo>
                  <a:pt x="1030965" y="1134466"/>
                  <a:pt x="1031695" y="1135542"/>
                  <a:pt x="1032667" y="1137335"/>
                </a:cubicBezTo>
                <a:lnTo>
                  <a:pt x="1034126" y="1139965"/>
                </a:lnTo>
                <a:lnTo>
                  <a:pt x="1038259" y="1139965"/>
                </a:lnTo>
                <a:lnTo>
                  <a:pt x="1036314" y="1136618"/>
                </a:lnTo>
                <a:cubicBezTo>
                  <a:pt x="1035706" y="1135422"/>
                  <a:pt x="1035220" y="1134705"/>
                  <a:pt x="1035099" y="1134586"/>
                </a:cubicBezTo>
                <a:cubicBezTo>
                  <a:pt x="1034612" y="1133869"/>
                  <a:pt x="1034248" y="1133510"/>
                  <a:pt x="1034004" y="1133271"/>
                </a:cubicBezTo>
                <a:cubicBezTo>
                  <a:pt x="1033640" y="1133032"/>
                  <a:pt x="1033275" y="1132912"/>
                  <a:pt x="1032789" y="1132673"/>
                </a:cubicBezTo>
                <a:cubicBezTo>
                  <a:pt x="1034248" y="1132434"/>
                  <a:pt x="1035342" y="1131956"/>
                  <a:pt x="1036071" y="1131119"/>
                </a:cubicBezTo>
                <a:cubicBezTo>
                  <a:pt x="1036922" y="1130283"/>
                  <a:pt x="1037287" y="1129327"/>
                  <a:pt x="1037287" y="1128131"/>
                </a:cubicBezTo>
                <a:cubicBezTo>
                  <a:pt x="1037287" y="1127175"/>
                  <a:pt x="1037044" y="1126458"/>
                  <a:pt x="1036679" y="1125741"/>
                </a:cubicBezTo>
                <a:cubicBezTo>
                  <a:pt x="1036193" y="1125024"/>
                  <a:pt x="1035706" y="1124545"/>
                  <a:pt x="1035099" y="1124187"/>
                </a:cubicBezTo>
                <a:cubicBezTo>
                  <a:pt x="1034369" y="1123948"/>
                  <a:pt x="1033518" y="1123589"/>
                  <a:pt x="1032424" y="1123589"/>
                </a:cubicBezTo>
                <a:cubicBezTo>
                  <a:pt x="1032059" y="1123589"/>
                  <a:pt x="1030236" y="1123589"/>
                  <a:pt x="1027075" y="1123589"/>
                </a:cubicBezTo>
                <a:close/>
                <a:moveTo>
                  <a:pt x="1030844" y="1119286"/>
                </a:moveTo>
                <a:cubicBezTo>
                  <a:pt x="1033032" y="1119286"/>
                  <a:pt x="1035099" y="1119764"/>
                  <a:pt x="1037044" y="1120840"/>
                </a:cubicBezTo>
                <a:cubicBezTo>
                  <a:pt x="1039110" y="1121916"/>
                  <a:pt x="1040691" y="1123350"/>
                  <a:pt x="1041785" y="1125382"/>
                </a:cubicBezTo>
                <a:cubicBezTo>
                  <a:pt x="1042879" y="1127295"/>
                  <a:pt x="1043487" y="1129446"/>
                  <a:pt x="1043487" y="1131598"/>
                </a:cubicBezTo>
                <a:cubicBezTo>
                  <a:pt x="1043487" y="1133749"/>
                  <a:pt x="1042879" y="1135901"/>
                  <a:pt x="1041785" y="1137813"/>
                </a:cubicBezTo>
                <a:cubicBezTo>
                  <a:pt x="1040691" y="1139725"/>
                  <a:pt x="1039110" y="1141279"/>
                  <a:pt x="1037165" y="1142355"/>
                </a:cubicBezTo>
                <a:cubicBezTo>
                  <a:pt x="1035099" y="1143431"/>
                  <a:pt x="1033032" y="1144028"/>
                  <a:pt x="1030844" y="1144028"/>
                </a:cubicBezTo>
                <a:cubicBezTo>
                  <a:pt x="1028656" y="1144028"/>
                  <a:pt x="1026468" y="1143431"/>
                  <a:pt x="1024522" y="1142355"/>
                </a:cubicBezTo>
                <a:cubicBezTo>
                  <a:pt x="1022577" y="1141279"/>
                  <a:pt x="1020997" y="1139725"/>
                  <a:pt x="1019903" y="1137813"/>
                </a:cubicBezTo>
                <a:cubicBezTo>
                  <a:pt x="1018809" y="1135781"/>
                  <a:pt x="1018201" y="1133749"/>
                  <a:pt x="1018201" y="1131598"/>
                </a:cubicBezTo>
                <a:cubicBezTo>
                  <a:pt x="1018201" y="1129446"/>
                  <a:pt x="1018809" y="1127414"/>
                  <a:pt x="1019903" y="1125382"/>
                </a:cubicBezTo>
                <a:cubicBezTo>
                  <a:pt x="1021119" y="1123470"/>
                  <a:pt x="1022699" y="1121916"/>
                  <a:pt x="1024644" y="1120840"/>
                </a:cubicBezTo>
                <a:cubicBezTo>
                  <a:pt x="1026589" y="1119764"/>
                  <a:pt x="1028656" y="1119286"/>
                  <a:pt x="1030844" y="1119286"/>
                </a:cubicBezTo>
                <a:close/>
                <a:moveTo>
                  <a:pt x="1030844" y="1116298"/>
                </a:moveTo>
                <a:cubicBezTo>
                  <a:pt x="1028169" y="1116298"/>
                  <a:pt x="1025495" y="1117015"/>
                  <a:pt x="1023064" y="1118330"/>
                </a:cubicBezTo>
                <a:cubicBezTo>
                  <a:pt x="1020632" y="1119764"/>
                  <a:pt x="1018687" y="1121557"/>
                  <a:pt x="1017229" y="1124067"/>
                </a:cubicBezTo>
                <a:cubicBezTo>
                  <a:pt x="1015891" y="1126577"/>
                  <a:pt x="1015162" y="1129207"/>
                  <a:pt x="1015162" y="1131837"/>
                </a:cubicBezTo>
                <a:cubicBezTo>
                  <a:pt x="1015162" y="1134466"/>
                  <a:pt x="1015891" y="1137096"/>
                  <a:pt x="1017229" y="1139486"/>
                </a:cubicBezTo>
                <a:cubicBezTo>
                  <a:pt x="1018687" y="1141996"/>
                  <a:pt x="1020632" y="1143909"/>
                  <a:pt x="1023064" y="1145224"/>
                </a:cubicBezTo>
                <a:cubicBezTo>
                  <a:pt x="1025495" y="1146539"/>
                  <a:pt x="1028169" y="1147256"/>
                  <a:pt x="1030844" y="1147256"/>
                </a:cubicBezTo>
                <a:cubicBezTo>
                  <a:pt x="1033518" y="1147256"/>
                  <a:pt x="1036193" y="1146539"/>
                  <a:pt x="1038624" y="1145224"/>
                </a:cubicBezTo>
                <a:cubicBezTo>
                  <a:pt x="1041177" y="1143789"/>
                  <a:pt x="1043122" y="1141877"/>
                  <a:pt x="1044459" y="1139486"/>
                </a:cubicBezTo>
                <a:cubicBezTo>
                  <a:pt x="1045796" y="1137096"/>
                  <a:pt x="1046526" y="1134586"/>
                  <a:pt x="1046526" y="1131837"/>
                </a:cubicBezTo>
                <a:cubicBezTo>
                  <a:pt x="1046526" y="1129087"/>
                  <a:pt x="1045918" y="1126577"/>
                  <a:pt x="1044459" y="1124067"/>
                </a:cubicBezTo>
                <a:cubicBezTo>
                  <a:pt x="1043000" y="1121557"/>
                  <a:pt x="1041055" y="1119645"/>
                  <a:pt x="1038624" y="1118330"/>
                </a:cubicBezTo>
                <a:cubicBezTo>
                  <a:pt x="1036071" y="1117015"/>
                  <a:pt x="1033518" y="1116298"/>
                  <a:pt x="1030844" y="1116298"/>
                </a:cubicBezTo>
                <a:close/>
                <a:moveTo>
                  <a:pt x="577408" y="905570"/>
                </a:moveTo>
                <a:lnTo>
                  <a:pt x="577287" y="905690"/>
                </a:lnTo>
                <a:cubicBezTo>
                  <a:pt x="509575" y="905690"/>
                  <a:pt x="454628" y="959716"/>
                  <a:pt x="454628" y="1026293"/>
                </a:cubicBezTo>
                <a:cubicBezTo>
                  <a:pt x="454628" y="1092870"/>
                  <a:pt x="509697" y="1146777"/>
                  <a:pt x="577408" y="1146777"/>
                </a:cubicBezTo>
                <a:cubicBezTo>
                  <a:pt x="645120" y="1146777"/>
                  <a:pt x="700067" y="1092751"/>
                  <a:pt x="700067" y="1026174"/>
                </a:cubicBezTo>
                <a:cubicBezTo>
                  <a:pt x="700067" y="959597"/>
                  <a:pt x="645120" y="905570"/>
                  <a:pt x="577408" y="905570"/>
                </a:cubicBezTo>
                <a:close/>
                <a:moveTo>
                  <a:pt x="3534223" y="817120"/>
                </a:moveTo>
                <a:cubicBezTo>
                  <a:pt x="3546623" y="817120"/>
                  <a:pt x="3558171" y="819630"/>
                  <a:pt x="3568869" y="824411"/>
                </a:cubicBezTo>
                <a:cubicBezTo>
                  <a:pt x="3579445" y="829192"/>
                  <a:pt x="3588805" y="836005"/>
                  <a:pt x="3596707" y="844850"/>
                </a:cubicBezTo>
                <a:cubicBezTo>
                  <a:pt x="3604609" y="853695"/>
                  <a:pt x="3610809" y="864214"/>
                  <a:pt x="3615307" y="876406"/>
                </a:cubicBezTo>
                <a:cubicBezTo>
                  <a:pt x="3619804" y="888598"/>
                  <a:pt x="3621993" y="901267"/>
                  <a:pt x="3621993" y="916089"/>
                </a:cubicBezTo>
                <a:cubicBezTo>
                  <a:pt x="3621993" y="930910"/>
                  <a:pt x="3619804" y="944298"/>
                  <a:pt x="3615307" y="956489"/>
                </a:cubicBezTo>
                <a:cubicBezTo>
                  <a:pt x="3610809" y="968681"/>
                  <a:pt x="3604609" y="979200"/>
                  <a:pt x="3596707" y="988045"/>
                </a:cubicBezTo>
                <a:cubicBezTo>
                  <a:pt x="3588805" y="996890"/>
                  <a:pt x="3579567" y="1003703"/>
                  <a:pt x="3568869" y="1008484"/>
                </a:cubicBezTo>
                <a:cubicBezTo>
                  <a:pt x="3558171" y="1013385"/>
                  <a:pt x="3546623" y="1015775"/>
                  <a:pt x="3534223" y="1015775"/>
                </a:cubicBezTo>
                <a:cubicBezTo>
                  <a:pt x="3521823" y="1015775"/>
                  <a:pt x="3510275" y="1013265"/>
                  <a:pt x="3499577" y="1008484"/>
                </a:cubicBezTo>
                <a:cubicBezTo>
                  <a:pt x="3488879" y="1003703"/>
                  <a:pt x="3479641" y="996890"/>
                  <a:pt x="3471739" y="988045"/>
                </a:cubicBezTo>
                <a:cubicBezTo>
                  <a:pt x="3463837" y="979200"/>
                  <a:pt x="3457637" y="968801"/>
                  <a:pt x="3453139" y="956848"/>
                </a:cubicBezTo>
                <a:cubicBezTo>
                  <a:pt x="3448642" y="944895"/>
                  <a:pt x="3446453" y="931508"/>
                  <a:pt x="3446453" y="916806"/>
                </a:cubicBezTo>
                <a:lnTo>
                  <a:pt x="3446453" y="916687"/>
                </a:lnTo>
                <a:cubicBezTo>
                  <a:pt x="3446453" y="902463"/>
                  <a:pt x="3448642" y="889195"/>
                  <a:pt x="3453139" y="877003"/>
                </a:cubicBezTo>
                <a:cubicBezTo>
                  <a:pt x="3457637" y="864811"/>
                  <a:pt x="3463837" y="854293"/>
                  <a:pt x="3471739" y="845448"/>
                </a:cubicBezTo>
                <a:cubicBezTo>
                  <a:pt x="3479641" y="836603"/>
                  <a:pt x="3488879" y="829670"/>
                  <a:pt x="3499577" y="824650"/>
                </a:cubicBezTo>
                <a:cubicBezTo>
                  <a:pt x="3510275" y="819630"/>
                  <a:pt x="3521823" y="817120"/>
                  <a:pt x="3534223" y="817120"/>
                </a:cubicBezTo>
                <a:close/>
                <a:moveTo>
                  <a:pt x="2694576" y="808155"/>
                </a:moveTo>
                <a:cubicBezTo>
                  <a:pt x="2717673" y="808155"/>
                  <a:pt x="2737367" y="815446"/>
                  <a:pt x="2753535" y="830148"/>
                </a:cubicBezTo>
                <a:cubicBezTo>
                  <a:pt x="2769703" y="844731"/>
                  <a:pt x="2778942" y="864333"/>
                  <a:pt x="2781009" y="888717"/>
                </a:cubicBezTo>
                <a:lnTo>
                  <a:pt x="2781130" y="888836"/>
                </a:lnTo>
                <a:lnTo>
                  <a:pt x="2609481" y="888836"/>
                </a:lnTo>
                <a:cubicBezTo>
                  <a:pt x="2610332" y="876884"/>
                  <a:pt x="2613128" y="865887"/>
                  <a:pt x="2617990" y="855966"/>
                </a:cubicBezTo>
                <a:cubicBezTo>
                  <a:pt x="2622853" y="846045"/>
                  <a:pt x="2629053" y="837559"/>
                  <a:pt x="2636590" y="830507"/>
                </a:cubicBezTo>
                <a:cubicBezTo>
                  <a:pt x="2644127" y="823455"/>
                  <a:pt x="2652879" y="817956"/>
                  <a:pt x="2662726" y="814012"/>
                </a:cubicBezTo>
                <a:cubicBezTo>
                  <a:pt x="2672573" y="810068"/>
                  <a:pt x="2683271" y="808155"/>
                  <a:pt x="2694576" y="808155"/>
                </a:cubicBezTo>
                <a:close/>
                <a:moveTo>
                  <a:pt x="1795121" y="749586"/>
                </a:moveTo>
                <a:lnTo>
                  <a:pt x="1795121" y="1085101"/>
                </a:lnTo>
                <a:lnTo>
                  <a:pt x="1881189" y="1085101"/>
                </a:lnTo>
                <a:lnTo>
                  <a:pt x="1881189" y="749586"/>
                </a:lnTo>
                <a:close/>
                <a:moveTo>
                  <a:pt x="2369878" y="748271"/>
                </a:moveTo>
                <a:cubicBezTo>
                  <a:pt x="2342890" y="748271"/>
                  <a:pt x="2318942" y="754367"/>
                  <a:pt x="2297911" y="766320"/>
                </a:cubicBezTo>
                <a:cubicBezTo>
                  <a:pt x="2276881" y="778392"/>
                  <a:pt x="2259619" y="795724"/>
                  <a:pt x="2245882" y="818434"/>
                </a:cubicBezTo>
                <a:cubicBezTo>
                  <a:pt x="2241627" y="798712"/>
                  <a:pt x="2231780" y="782097"/>
                  <a:pt x="2216341" y="768591"/>
                </a:cubicBezTo>
                <a:cubicBezTo>
                  <a:pt x="2200903" y="755084"/>
                  <a:pt x="2178657" y="748391"/>
                  <a:pt x="2150818" y="748391"/>
                </a:cubicBezTo>
                <a:cubicBezTo>
                  <a:pt x="2122980" y="748391"/>
                  <a:pt x="2098302" y="754128"/>
                  <a:pt x="2076664" y="765722"/>
                </a:cubicBezTo>
                <a:cubicBezTo>
                  <a:pt x="2055025" y="777316"/>
                  <a:pt x="2038006" y="793931"/>
                  <a:pt x="2025607" y="815326"/>
                </a:cubicBezTo>
                <a:lnTo>
                  <a:pt x="2025607" y="749466"/>
                </a:lnTo>
                <a:lnTo>
                  <a:pt x="1947927" y="749466"/>
                </a:lnTo>
                <a:lnTo>
                  <a:pt x="1947927" y="1085101"/>
                </a:lnTo>
                <a:lnTo>
                  <a:pt x="2033995" y="1085101"/>
                </a:lnTo>
                <a:lnTo>
                  <a:pt x="2033995" y="891824"/>
                </a:lnTo>
                <a:cubicBezTo>
                  <a:pt x="2040438" y="871265"/>
                  <a:pt x="2051257" y="854651"/>
                  <a:pt x="2066453" y="841981"/>
                </a:cubicBezTo>
                <a:cubicBezTo>
                  <a:pt x="2081648" y="829430"/>
                  <a:pt x="2098181" y="823096"/>
                  <a:pt x="2114349" y="823096"/>
                </a:cubicBezTo>
                <a:cubicBezTo>
                  <a:pt x="2130517" y="823096"/>
                  <a:pt x="2143281" y="829191"/>
                  <a:pt x="2152520" y="841383"/>
                </a:cubicBezTo>
                <a:cubicBezTo>
                  <a:pt x="2161759" y="853575"/>
                  <a:pt x="2166379" y="872939"/>
                  <a:pt x="2166379" y="899474"/>
                </a:cubicBezTo>
                <a:lnTo>
                  <a:pt x="2166379" y="1085101"/>
                </a:lnTo>
                <a:lnTo>
                  <a:pt x="2252446" y="1085101"/>
                </a:lnTo>
                <a:lnTo>
                  <a:pt x="2252446" y="892541"/>
                </a:lnTo>
                <a:cubicBezTo>
                  <a:pt x="2258889" y="871982"/>
                  <a:pt x="2269587" y="855129"/>
                  <a:pt x="2284539" y="842340"/>
                </a:cubicBezTo>
                <a:cubicBezTo>
                  <a:pt x="2299492" y="829550"/>
                  <a:pt x="2315538" y="823096"/>
                  <a:pt x="2332679" y="823096"/>
                </a:cubicBezTo>
                <a:cubicBezTo>
                  <a:pt x="2348968" y="823096"/>
                  <a:pt x="2361611" y="829191"/>
                  <a:pt x="2370850" y="841383"/>
                </a:cubicBezTo>
                <a:cubicBezTo>
                  <a:pt x="2380089" y="853575"/>
                  <a:pt x="2384708" y="872939"/>
                  <a:pt x="2384708" y="899474"/>
                </a:cubicBezTo>
                <a:lnTo>
                  <a:pt x="2384708" y="1085101"/>
                </a:lnTo>
                <a:lnTo>
                  <a:pt x="2470776" y="1085101"/>
                </a:lnTo>
                <a:lnTo>
                  <a:pt x="2470655" y="1084862"/>
                </a:lnTo>
                <a:lnTo>
                  <a:pt x="2470655" y="878317"/>
                </a:lnTo>
                <a:cubicBezTo>
                  <a:pt x="2470655" y="862301"/>
                  <a:pt x="2469317" y="846523"/>
                  <a:pt x="2466521" y="830984"/>
                </a:cubicBezTo>
                <a:cubicBezTo>
                  <a:pt x="2463725" y="815326"/>
                  <a:pt x="2458741" y="801461"/>
                  <a:pt x="2451447" y="789269"/>
                </a:cubicBezTo>
                <a:cubicBezTo>
                  <a:pt x="2444153" y="777077"/>
                  <a:pt x="2433821" y="767156"/>
                  <a:pt x="2420570" y="759626"/>
                </a:cubicBezTo>
                <a:cubicBezTo>
                  <a:pt x="2407319" y="752096"/>
                  <a:pt x="2390422" y="748271"/>
                  <a:pt x="2369878" y="748271"/>
                </a:cubicBezTo>
                <a:close/>
                <a:moveTo>
                  <a:pt x="2695913" y="747913"/>
                </a:moveTo>
                <a:cubicBezTo>
                  <a:pt x="2668926" y="747913"/>
                  <a:pt x="2644613" y="752455"/>
                  <a:pt x="2622975" y="761539"/>
                </a:cubicBezTo>
                <a:cubicBezTo>
                  <a:pt x="2601336" y="770623"/>
                  <a:pt x="2582858" y="782935"/>
                  <a:pt x="2567784" y="798473"/>
                </a:cubicBezTo>
                <a:cubicBezTo>
                  <a:pt x="2552589" y="814012"/>
                  <a:pt x="2541040" y="832061"/>
                  <a:pt x="2533017" y="852500"/>
                </a:cubicBezTo>
                <a:cubicBezTo>
                  <a:pt x="2524994" y="873059"/>
                  <a:pt x="2520982" y="895650"/>
                  <a:pt x="2520982" y="918001"/>
                </a:cubicBezTo>
                <a:cubicBezTo>
                  <a:pt x="2520982" y="940353"/>
                  <a:pt x="2524994" y="961749"/>
                  <a:pt x="2533260" y="981949"/>
                </a:cubicBezTo>
                <a:cubicBezTo>
                  <a:pt x="2541405" y="1002149"/>
                  <a:pt x="2553075" y="1019959"/>
                  <a:pt x="2568271" y="1035258"/>
                </a:cubicBezTo>
                <a:cubicBezTo>
                  <a:pt x="2583344" y="1050677"/>
                  <a:pt x="2601701" y="1062750"/>
                  <a:pt x="2623096" y="1071595"/>
                </a:cubicBezTo>
                <a:cubicBezTo>
                  <a:pt x="2644613" y="1080559"/>
                  <a:pt x="2668561" y="1084982"/>
                  <a:pt x="2695062" y="1084982"/>
                </a:cubicBezTo>
                <a:lnTo>
                  <a:pt x="2695184" y="1084743"/>
                </a:lnTo>
                <a:cubicBezTo>
                  <a:pt x="2732140" y="1084743"/>
                  <a:pt x="2763989" y="1076734"/>
                  <a:pt x="2790734" y="1060837"/>
                </a:cubicBezTo>
                <a:cubicBezTo>
                  <a:pt x="2817478" y="1044940"/>
                  <a:pt x="2836928" y="1024620"/>
                  <a:pt x="2849085" y="999758"/>
                </a:cubicBezTo>
                <a:lnTo>
                  <a:pt x="2776511" y="979917"/>
                </a:lnTo>
                <a:cubicBezTo>
                  <a:pt x="2771040" y="993184"/>
                  <a:pt x="2760829" y="1003822"/>
                  <a:pt x="2745876" y="1011831"/>
                </a:cubicBezTo>
                <a:cubicBezTo>
                  <a:pt x="2730924" y="1019839"/>
                  <a:pt x="2714999" y="1023903"/>
                  <a:pt x="2698223" y="1023903"/>
                </a:cubicBezTo>
                <a:cubicBezTo>
                  <a:pt x="2687404" y="1023903"/>
                  <a:pt x="2676828" y="1021991"/>
                  <a:pt x="2666738" y="1018285"/>
                </a:cubicBezTo>
                <a:cubicBezTo>
                  <a:pt x="2656648" y="1014580"/>
                  <a:pt x="2647652" y="1009201"/>
                  <a:pt x="2639629" y="1002149"/>
                </a:cubicBezTo>
                <a:cubicBezTo>
                  <a:pt x="2631606" y="995097"/>
                  <a:pt x="2625041" y="986610"/>
                  <a:pt x="2620057" y="976690"/>
                </a:cubicBezTo>
                <a:cubicBezTo>
                  <a:pt x="2614951" y="966769"/>
                  <a:pt x="2611791" y="955414"/>
                  <a:pt x="2610575" y="942624"/>
                </a:cubicBezTo>
                <a:lnTo>
                  <a:pt x="2866104" y="942624"/>
                </a:lnTo>
                <a:cubicBezTo>
                  <a:pt x="2866955" y="939277"/>
                  <a:pt x="2867441" y="935213"/>
                  <a:pt x="2867684" y="930193"/>
                </a:cubicBezTo>
                <a:cubicBezTo>
                  <a:pt x="2868049" y="925173"/>
                  <a:pt x="2868049" y="920033"/>
                  <a:pt x="2868049" y="914655"/>
                </a:cubicBezTo>
                <a:cubicBezTo>
                  <a:pt x="2868049" y="892781"/>
                  <a:pt x="2864159" y="871744"/>
                  <a:pt x="2856379" y="851424"/>
                </a:cubicBezTo>
                <a:cubicBezTo>
                  <a:pt x="2848598" y="831224"/>
                  <a:pt x="2837293" y="813414"/>
                  <a:pt x="2822340" y="798115"/>
                </a:cubicBezTo>
                <a:cubicBezTo>
                  <a:pt x="2807510" y="782815"/>
                  <a:pt x="2789397" y="770623"/>
                  <a:pt x="2768123" y="761539"/>
                </a:cubicBezTo>
                <a:cubicBezTo>
                  <a:pt x="2746849" y="752455"/>
                  <a:pt x="2722901" y="747913"/>
                  <a:pt x="2695913" y="747913"/>
                </a:cubicBezTo>
                <a:close/>
                <a:moveTo>
                  <a:pt x="3534223" y="745403"/>
                </a:moveTo>
                <a:cubicBezTo>
                  <a:pt x="3506871" y="745403"/>
                  <a:pt x="3482315" y="750065"/>
                  <a:pt x="3460555" y="759268"/>
                </a:cubicBezTo>
                <a:cubicBezTo>
                  <a:pt x="3438795" y="768591"/>
                  <a:pt x="3420317" y="781022"/>
                  <a:pt x="3405121" y="796800"/>
                </a:cubicBezTo>
                <a:cubicBezTo>
                  <a:pt x="3390047" y="812578"/>
                  <a:pt x="3378377" y="830746"/>
                  <a:pt x="3370232" y="851305"/>
                </a:cubicBezTo>
                <a:cubicBezTo>
                  <a:pt x="3362087" y="871864"/>
                  <a:pt x="3358076" y="894096"/>
                  <a:pt x="3358076" y="916806"/>
                </a:cubicBezTo>
                <a:cubicBezTo>
                  <a:pt x="3358076" y="939516"/>
                  <a:pt x="3362087" y="961151"/>
                  <a:pt x="3370232" y="981710"/>
                </a:cubicBezTo>
                <a:cubicBezTo>
                  <a:pt x="3378256" y="1002269"/>
                  <a:pt x="3389926" y="1020437"/>
                  <a:pt x="3405121" y="1036215"/>
                </a:cubicBezTo>
                <a:cubicBezTo>
                  <a:pt x="3420317" y="1051992"/>
                  <a:pt x="3438795" y="1064543"/>
                  <a:pt x="3460555" y="1073746"/>
                </a:cubicBezTo>
                <a:cubicBezTo>
                  <a:pt x="3482315" y="1082950"/>
                  <a:pt x="3506871" y="1087612"/>
                  <a:pt x="3534223" y="1087612"/>
                </a:cubicBezTo>
                <a:cubicBezTo>
                  <a:pt x="3561575" y="1087612"/>
                  <a:pt x="3586131" y="1082950"/>
                  <a:pt x="3607891" y="1073746"/>
                </a:cubicBezTo>
                <a:cubicBezTo>
                  <a:pt x="3629773" y="1064423"/>
                  <a:pt x="3648129" y="1051992"/>
                  <a:pt x="3663081" y="1036215"/>
                </a:cubicBezTo>
                <a:cubicBezTo>
                  <a:pt x="3678034" y="1020437"/>
                  <a:pt x="3689582" y="1002269"/>
                  <a:pt x="3697727" y="981710"/>
                </a:cubicBezTo>
                <a:cubicBezTo>
                  <a:pt x="3705872" y="961151"/>
                  <a:pt x="3709884" y="939875"/>
                  <a:pt x="3709884" y="916806"/>
                </a:cubicBezTo>
                <a:cubicBezTo>
                  <a:pt x="3709884" y="893737"/>
                  <a:pt x="3705872" y="871864"/>
                  <a:pt x="3697727" y="851305"/>
                </a:cubicBezTo>
                <a:cubicBezTo>
                  <a:pt x="3689704" y="830746"/>
                  <a:pt x="3678034" y="812578"/>
                  <a:pt x="3662838" y="796800"/>
                </a:cubicBezTo>
                <a:cubicBezTo>
                  <a:pt x="3647643" y="781022"/>
                  <a:pt x="3629165" y="768472"/>
                  <a:pt x="3607648" y="759268"/>
                </a:cubicBezTo>
                <a:cubicBezTo>
                  <a:pt x="3586010" y="750065"/>
                  <a:pt x="3561575" y="745403"/>
                  <a:pt x="3534223" y="745403"/>
                </a:cubicBezTo>
                <a:close/>
                <a:moveTo>
                  <a:pt x="3142420" y="630417"/>
                </a:moveTo>
                <a:cubicBezTo>
                  <a:pt x="3106801" y="630417"/>
                  <a:pt x="3075195" y="636991"/>
                  <a:pt x="3047356" y="650020"/>
                </a:cubicBezTo>
                <a:cubicBezTo>
                  <a:pt x="3019518" y="663048"/>
                  <a:pt x="2996056" y="680141"/>
                  <a:pt x="2976727" y="701178"/>
                </a:cubicBezTo>
                <a:cubicBezTo>
                  <a:pt x="2957399" y="722214"/>
                  <a:pt x="2942811" y="746120"/>
                  <a:pt x="2932721" y="772894"/>
                </a:cubicBezTo>
                <a:lnTo>
                  <a:pt x="2917659" y="853993"/>
                </a:lnTo>
                <a:lnTo>
                  <a:pt x="2917647" y="853934"/>
                </a:lnTo>
                <a:lnTo>
                  <a:pt x="2917647" y="854054"/>
                </a:lnTo>
                <a:lnTo>
                  <a:pt x="2917659" y="853993"/>
                </a:lnTo>
                <a:lnTo>
                  <a:pt x="2934058" y="938202"/>
                </a:lnTo>
                <a:cubicBezTo>
                  <a:pt x="2944999" y="965812"/>
                  <a:pt x="2960195" y="990435"/>
                  <a:pt x="2979645" y="1012070"/>
                </a:cubicBezTo>
                <a:cubicBezTo>
                  <a:pt x="2999095" y="1033704"/>
                  <a:pt x="3022314" y="1051275"/>
                  <a:pt x="3049301" y="1064782"/>
                </a:cubicBezTo>
                <a:cubicBezTo>
                  <a:pt x="3076167" y="1078288"/>
                  <a:pt x="3105951" y="1084982"/>
                  <a:pt x="3138530" y="1084982"/>
                </a:cubicBezTo>
                <a:cubicBezTo>
                  <a:pt x="3156886" y="1084982"/>
                  <a:pt x="3175729" y="1082711"/>
                  <a:pt x="3195057" y="1078049"/>
                </a:cubicBezTo>
                <a:cubicBezTo>
                  <a:pt x="3214265" y="1073388"/>
                  <a:pt x="3232378" y="1066694"/>
                  <a:pt x="3249275" y="1057849"/>
                </a:cubicBezTo>
                <a:cubicBezTo>
                  <a:pt x="3266173" y="1049004"/>
                  <a:pt x="3281368" y="1038127"/>
                  <a:pt x="3294862" y="1025337"/>
                </a:cubicBezTo>
                <a:cubicBezTo>
                  <a:pt x="3308355" y="1012548"/>
                  <a:pt x="3318688" y="997726"/>
                  <a:pt x="3325982" y="980873"/>
                </a:cubicBezTo>
                <a:lnTo>
                  <a:pt x="3253408" y="939875"/>
                </a:lnTo>
                <a:cubicBezTo>
                  <a:pt x="3248303" y="952186"/>
                  <a:pt x="3241373" y="962585"/>
                  <a:pt x="3232864" y="971191"/>
                </a:cubicBezTo>
                <a:cubicBezTo>
                  <a:pt x="3224233" y="979797"/>
                  <a:pt x="3214994" y="986849"/>
                  <a:pt x="3204904" y="992348"/>
                </a:cubicBezTo>
                <a:cubicBezTo>
                  <a:pt x="3194936" y="997726"/>
                  <a:pt x="3184360" y="1001790"/>
                  <a:pt x="3173176" y="1004300"/>
                </a:cubicBezTo>
                <a:cubicBezTo>
                  <a:pt x="3162113" y="1006811"/>
                  <a:pt x="3151416" y="1008125"/>
                  <a:pt x="3141083" y="1008125"/>
                </a:cubicBezTo>
                <a:cubicBezTo>
                  <a:pt x="3121389" y="1008125"/>
                  <a:pt x="3103276" y="1003942"/>
                  <a:pt x="3086865" y="995455"/>
                </a:cubicBezTo>
                <a:cubicBezTo>
                  <a:pt x="3070332" y="987088"/>
                  <a:pt x="3056231" y="975853"/>
                  <a:pt x="3044439" y="961988"/>
                </a:cubicBezTo>
                <a:cubicBezTo>
                  <a:pt x="3032647" y="948122"/>
                  <a:pt x="3023530" y="931986"/>
                  <a:pt x="3017087" y="913698"/>
                </a:cubicBezTo>
                <a:cubicBezTo>
                  <a:pt x="3010644" y="895411"/>
                  <a:pt x="3007483" y="876406"/>
                  <a:pt x="3007483" y="856564"/>
                </a:cubicBezTo>
                <a:cubicBezTo>
                  <a:pt x="3007483" y="838874"/>
                  <a:pt x="3010279" y="821064"/>
                  <a:pt x="3015871" y="803135"/>
                </a:cubicBezTo>
                <a:cubicBezTo>
                  <a:pt x="3021463" y="785325"/>
                  <a:pt x="3029730" y="769309"/>
                  <a:pt x="3040670" y="755204"/>
                </a:cubicBezTo>
                <a:cubicBezTo>
                  <a:pt x="3051611" y="741100"/>
                  <a:pt x="3065226" y="729625"/>
                  <a:pt x="3081759" y="720780"/>
                </a:cubicBezTo>
                <a:cubicBezTo>
                  <a:pt x="3098170" y="711935"/>
                  <a:pt x="3117621" y="707513"/>
                  <a:pt x="3139867" y="707513"/>
                </a:cubicBezTo>
                <a:cubicBezTo>
                  <a:pt x="3150200" y="707513"/>
                  <a:pt x="3160655" y="708708"/>
                  <a:pt x="3171352" y="710979"/>
                </a:cubicBezTo>
                <a:cubicBezTo>
                  <a:pt x="3182050" y="713250"/>
                  <a:pt x="3192383" y="716955"/>
                  <a:pt x="3202230" y="721975"/>
                </a:cubicBezTo>
                <a:cubicBezTo>
                  <a:pt x="3212076" y="727115"/>
                  <a:pt x="3221194" y="733928"/>
                  <a:pt x="3229825" y="742534"/>
                </a:cubicBezTo>
                <a:cubicBezTo>
                  <a:pt x="3238456" y="751140"/>
                  <a:pt x="3245750" y="761778"/>
                  <a:pt x="3251706" y="774448"/>
                </a:cubicBezTo>
                <a:lnTo>
                  <a:pt x="3319783" y="728310"/>
                </a:lnTo>
                <a:cubicBezTo>
                  <a:pt x="3304709" y="699265"/>
                  <a:pt x="3281976" y="675718"/>
                  <a:pt x="3251342" y="657550"/>
                </a:cubicBezTo>
                <a:cubicBezTo>
                  <a:pt x="3220707" y="639501"/>
                  <a:pt x="3184360" y="630417"/>
                  <a:pt x="3142420" y="630417"/>
                </a:cubicBezTo>
                <a:close/>
                <a:moveTo>
                  <a:pt x="1371711" y="630417"/>
                </a:moveTo>
                <a:cubicBezTo>
                  <a:pt x="1336092" y="630417"/>
                  <a:pt x="1304486" y="636991"/>
                  <a:pt x="1276647" y="650020"/>
                </a:cubicBezTo>
                <a:cubicBezTo>
                  <a:pt x="1248809" y="663048"/>
                  <a:pt x="1225226" y="680141"/>
                  <a:pt x="1206018" y="701178"/>
                </a:cubicBezTo>
                <a:cubicBezTo>
                  <a:pt x="1186690" y="722214"/>
                  <a:pt x="1172102" y="746120"/>
                  <a:pt x="1162012" y="772894"/>
                </a:cubicBezTo>
                <a:lnTo>
                  <a:pt x="1146950" y="853993"/>
                </a:lnTo>
                <a:lnTo>
                  <a:pt x="1146938" y="853934"/>
                </a:lnTo>
                <a:lnTo>
                  <a:pt x="1146938" y="854054"/>
                </a:lnTo>
                <a:lnTo>
                  <a:pt x="1146950" y="853993"/>
                </a:lnTo>
                <a:lnTo>
                  <a:pt x="1163349" y="938202"/>
                </a:lnTo>
                <a:cubicBezTo>
                  <a:pt x="1174290" y="965812"/>
                  <a:pt x="1189486" y="990435"/>
                  <a:pt x="1208936" y="1012070"/>
                </a:cubicBezTo>
                <a:cubicBezTo>
                  <a:pt x="1228386" y="1033704"/>
                  <a:pt x="1251605" y="1051275"/>
                  <a:pt x="1278592" y="1064782"/>
                </a:cubicBezTo>
                <a:cubicBezTo>
                  <a:pt x="1305580" y="1078288"/>
                  <a:pt x="1335241" y="1084982"/>
                  <a:pt x="1367821" y="1084982"/>
                </a:cubicBezTo>
                <a:cubicBezTo>
                  <a:pt x="1386177" y="1084982"/>
                  <a:pt x="1405141" y="1082711"/>
                  <a:pt x="1424348" y="1078049"/>
                </a:cubicBezTo>
                <a:cubicBezTo>
                  <a:pt x="1443677" y="1073388"/>
                  <a:pt x="1461790" y="1066694"/>
                  <a:pt x="1478688" y="1057849"/>
                </a:cubicBezTo>
                <a:cubicBezTo>
                  <a:pt x="1495585" y="1049004"/>
                  <a:pt x="1510781" y="1038127"/>
                  <a:pt x="1524274" y="1025337"/>
                </a:cubicBezTo>
                <a:cubicBezTo>
                  <a:pt x="1537768" y="1012548"/>
                  <a:pt x="1548101" y="997726"/>
                  <a:pt x="1555395" y="980873"/>
                </a:cubicBezTo>
                <a:lnTo>
                  <a:pt x="1482821" y="939875"/>
                </a:lnTo>
                <a:cubicBezTo>
                  <a:pt x="1477715" y="952186"/>
                  <a:pt x="1470786" y="962585"/>
                  <a:pt x="1462276" y="971191"/>
                </a:cubicBezTo>
                <a:cubicBezTo>
                  <a:pt x="1453645" y="979797"/>
                  <a:pt x="1444406" y="986849"/>
                  <a:pt x="1434317" y="992348"/>
                </a:cubicBezTo>
                <a:cubicBezTo>
                  <a:pt x="1424348" y="997726"/>
                  <a:pt x="1413772" y="1001790"/>
                  <a:pt x="1402588" y="1004300"/>
                </a:cubicBezTo>
                <a:cubicBezTo>
                  <a:pt x="1391526" y="1006811"/>
                  <a:pt x="1380828" y="1008125"/>
                  <a:pt x="1370495" y="1008125"/>
                </a:cubicBezTo>
                <a:cubicBezTo>
                  <a:pt x="1350923" y="1008125"/>
                  <a:pt x="1332810" y="1003942"/>
                  <a:pt x="1316277" y="995455"/>
                </a:cubicBezTo>
                <a:cubicBezTo>
                  <a:pt x="1299746" y="987088"/>
                  <a:pt x="1285643" y="975853"/>
                  <a:pt x="1273851" y="961988"/>
                </a:cubicBezTo>
                <a:cubicBezTo>
                  <a:pt x="1262060" y="948122"/>
                  <a:pt x="1252942" y="931986"/>
                  <a:pt x="1246499" y="913698"/>
                </a:cubicBezTo>
                <a:cubicBezTo>
                  <a:pt x="1240056" y="895411"/>
                  <a:pt x="1236896" y="876406"/>
                  <a:pt x="1236896" y="856564"/>
                </a:cubicBezTo>
                <a:cubicBezTo>
                  <a:pt x="1236896" y="838874"/>
                  <a:pt x="1239692" y="821064"/>
                  <a:pt x="1245284" y="803135"/>
                </a:cubicBezTo>
                <a:cubicBezTo>
                  <a:pt x="1250754" y="785325"/>
                  <a:pt x="1259021" y="769309"/>
                  <a:pt x="1269961" y="755204"/>
                </a:cubicBezTo>
                <a:cubicBezTo>
                  <a:pt x="1280902" y="741100"/>
                  <a:pt x="1294517" y="729625"/>
                  <a:pt x="1311050" y="720780"/>
                </a:cubicBezTo>
                <a:cubicBezTo>
                  <a:pt x="1327461" y="711935"/>
                  <a:pt x="1346912" y="707513"/>
                  <a:pt x="1369158" y="707513"/>
                </a:cubicBezTo>
                <a:cubicBezTo>
                  <a:pt x="1379491" y="707513"/>
                  <a:pt x="1389945" y="708708"/>
                  <a:pt x="1400643" y="710979"/>
                </a:cubicBezTo>
                <a:cubicBezTo>
                  <a:pt x="1411341" y="713250"/>
                  <a:pt x="1421674" y="716955"/>
                  <a:pt x="1431521" y="721975"/>
                </a:cubicBezTo>
                <a:cubicBezTo>
                  <a:pt x="1441367" y="727115"/>
                  <a:pt x="1450606" y="733928"/>
                  <a:pt x="1459116" y="742534"/>
                </a:cubicBezTo>
                <a:cubicBezTo>
                  <a:pt x="1467747" y="751140"/>
                  <a:pt x="1475041" y="761778"/>
                  <a:pt x="1480997" y="774448"/>
                </a:cubicBezTo>
                <a:lnTo>
                  <a:pt x="1549074" y="728310"/>
                </a:lnTo>
                <a:cubicBezTo>
                  <a:pt x="1534000" y="699265"/>
                  <a:pt x="1511267" y="675718"/>
                  <a:pt x="1480633" y="657550"/>
                </a:cubicBezTo>
                <a:cubicBezTo>
                  <a:pt x="1449998" y="639501"/>
                  <a:pt x="1413651" y="630417"/>
                  <a:pt x="1371711" y="630417"/>
                </a:cubicBezTo>
                <a:close/>
                <a:moveTo>
                  <a:pt x="1795121" y="624082"/>
                </a:moveTo>
                <a:lnTo>
                  <a:pt x="1795121" y="708110"/>
                </a:lnTo>
                <a:lnTo>
                  <a:pt x="1881189" y="708110"/>
                </a:lnTo>
                <a:lnTo>
                  <a:pt x="1881189" y="624082"/>
                </a:lnTo>
                <a:close/>
                <a:moveTo>
                  <a:pt x="1598186" y="619181"/>
                </a:moveTo>
                <a:lnTo>
                  <a:pt x="1598186" y="1003822"/>
                </a:lnTo>
                <a:cubicBezTo>
                  <a:pt x="1598186" y="1029879"/>
                  <a:pt x="1605601" y="1050079"/>
                  <a:pt x="1620311" y="1064184"/>
                </a:cubicBezTo>
                <a:cubicBezTo>
                  <a:pt x="1620675" y="1064423"/>
                  <a:pt x="1620919" y="1064781"/>
                  <a:pt x="1621162" y="1065020"/>
                </a:cubicBezTo>
                <a:cubicBezTo>
                  <a:pt x="1625052" y="1068606"/>
                  <a:pt x="1629428" y="1071714"/>
                  <a:pt x="1634169" y="1074343"/>
                </a:cubicBezTo>
                <a:cubicBezTo>
                  <a:pt x="1637451" y="1076136"/>
                  <a:pt x="1640977" y="1077690"/>
                  <a:pt x="1644502" y="1079005"/>
                </a:cubicBezTo>
                <a:cubicBezTo>
                  <a:pt x="1660913" y="1085101"/>
                  <a:pt x="1679270" y="1085579"/>
                  <a:pt x="1696532" y="1084981"/>
                </a:cubicBezTo>
                <a:cubicBezTo>
                  <a:pt x="1697990" y="1084981"/>
                  <a:pt x="1699571" y="1084862"/>
                  <a:pt x="1701151" y="1084742"/>
                </a:cubicBezTo>
                <a:cubicBezTo>
                  <a:pt x="1702731" y="1084742"/>
                  <a:pt x="1704433" y="1084503"/>
                  <a:pt x="1706014" y="1084384"/>
                </a:cubicBezTo>
                <a:cubicBezTo>
                  <a:pt x="1707594" y="1084384"/>
                  <a:pt x="1709174" y="1084145"/>
                  <a:pt x="1710755" y="1083906"/>
                </a:cubicBezTo>
                <a:cubicBezTo>
                  <a:pt x="1712335" y="1083786"/>
                  <a:pt x="1713915" y="1083547"/>
                  <a:pt x="1715496" y="1083308"/>
                </a:cubicBezTo>
                <a:cubicBezTo>
                  <a:pt x="1717076" y="1083069"/>
                  <a:pt x="1718656" y="1082830"/>
                  <a:pt x="1720237" y="1082591"/>
                </a:cubicBezTo>
                <a:cubicBezTo>
                  <a:pt x="1721817" y="1082352"/>
                  <a:pt x="1723397" y="1081993"/>
                  <a:pt x="1725099" y="1081635"/>
                </a:cubicBezTo>
                <a:cubicBezTo>
                  <a:pt x="1725950" y="1081396"/>
                  <a:pt x="1726801" y="1081276"/>
                  <a:pt x="1727652" y="1081037"/>
                </a:cubicBezTo>
                <a:cubicBezTo>
                  <a:pt x="1729476" y="1080559"/>
                  <a:pt x="1731178" y="1080081"/>
                  <a:pt x="1733001" y="1079483"/>
                </a:cubicBezTo>
                <a:cubicBezTo>
                  <a:pt x="1733609" y="1079244"/>
                  <a:pt x="1734217" y="1079125"/>
                  <a:pt x="1734946" y="1078886"/>
                </a:cubicBezTo>
                <a:lnTo>
                  <a:pt x="1723154" y="1005137"/>
                </a:lnTo>
                <a:cubicBezTo>
                  <a:pt x="1714159" y="1008005"/>
                  <a:pt x="1702488" y="1009320"/>
                  <a:pt x="1695194" y="1006691"/>
                </a:cubicBezTo>
                <a:lnTo>
                  <a:pt x="1695073" y="1006691"/>
                </a:lnTo>
                <a:cubicBezTo>
                  <a:pt x="1682916" y="1002388"/>
                  <a:pt x="1684254" y="989957"/>
                  <a:pt x="1684254" y="976689"/>
                </a:cubicBezTo>
                <a:lnTo>
                  <a:pt x="1684254" y="619181"/>
                </a:lnTo>
                <a:close/>
                <a:moveTo>
                  <a:pt x="576725" y="564647"/>
                </a:moveTo>
                <a:cubicBezTo>
                  <a:pt x="545346" y="564647"/>
                  <a:pt x="513952" y="576450"/>
                  <a:pt x="490003" y="600057"/>
                </a:cubicBezTo>
                <a:cubicBezTo>
                  <a:pt x="441986" y="647151"/>
                  <a:pt x="441986" y="723530"/>
                  <a:pt x="490003" y="770624"/>
                </a:cubicBezTo>
                <a:cubicBezTo>
                  <a:pt x="537900" y="817718"/>
                  <a:pt x="615580" y="817718"/>
                  <a:pt x="663476" y="770624"/>
                </a:cubicBezTo>
                <a:cubicBezTo>
                  <a:pt x="711373" y="723530"/>
                  <a:pt x="789052" y="723530"/>
                  <a:pt x="837070" y="770624"/>
                </a:cubicBezTo>
                <a:cubicBezTo>
                  <a:pt x="884967" y="817718"/>
                  <a:pt x="884967" y="894096"/>
                  <a:pt x="837070" y="941309"/>
                </a:cubicBezTo>
                <a:cubicBezTo>
                  <a:pt x="789174" y="988404"/>
                  <a:pt x="789174" y="1064782"/>
                  <a:pt x="837070" y="1111876"/>
                </a:cubicBezTo>
                <a:cubicBezTo>
                  <a:pt x="884967" y="1158970"/>
                  <a:pt x="962646" y="1158970"/>
                  <a:pt x="1010664" y="1111876"/>
                </a:cubicBezTo>
                <a:cubicBezTo>
                  <a:pt x="1058561" y="1064782"/>
                  <a:pt x="1058561" y="988404"/>
                  <a:pt x="1010664" y="941309"/>
                </a:cubicBezTo>
                <a:cubicBezTo>
                  <a:pt x="963011" y="893857"/>
                  <a:pt x="963011" y="817479"/>
                  <a:pt x="1010664" y="770624"/>
                </a:cubicBezTo>
                <a:lnTo>
                  <a:pt x="1010543" y="770624"/>
                </a:lnTo>
                <a:cubicBezTo>
                  <a:pt x="1058439" y="723530"/>
                  <a:pt x="1058439" y="647151"/>
                  <a:pt x="1010543" y="600057"/>
                </a:cubicBezTo>
                <a:cubicBezTo>
                  <a:pt x="962646" y="552963"/>
                  <a:pt x="884967" y="552963"/>
                  <a:pt x="836949" y="600057"/>
                </a:cubicBezTo>
                <a:cubicBezTo>
                  <a:pt x="789052" y="647151"/>
                  <a:pt x="711373" y="647151"/>
                  <a:pt x="663355" y="600057"/>
                </a:cubicBezTo>
                <a:cubicBezTo>
                  <a:pt x="639468" y="576450"/>
                  <a:pt x="608104" y="564647"/>
                  <a:pt x="576725" y="564647"/>
                </a:cubicBezTo>
                <a:close/>
                <a:moveTo>
                  <a:pt x="0" y="0"/>
                </a:moveTo>
                <a:lnTo>
                  <a:pt x="7880428" y="0"/>
                </a:lnTo>
                <a:cubicBezTo>
                  <a:pt x="8119218" y="0"/>
                  <a:pt x="8312795" y="123309"/>
                  <a:pt x="8312795" y="275419"/>
                </a:cubicBezTo>
                <a:lnTo>
                  <a:pt x="8312795" y="2723813"/>
                </a:lnTo>
                <a:cubicBezTo>
                  <a:pt x="8312795" y="2875923"/>
                  <a:pt x="8119218" y="2999232"/>
                  <a:pt x="7880428" y="2999232"/>
                </a:cubicBezTo>
                <a:lnTo>
                  <a:pt x="0" y="2999232"/>
                </a:lnTo>
                <a:close/>
              </a:path>
            </a:pathLst>
          </a:custGeom>
          <a:solidFill>
            <a:schemeClr val="bg1">
              <a:alpha val="8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29768" tIns="1188720">
            <a:noAutofit/>
          </a:bodyPr>
          <a:lstStyle>
            <a:lvl1pPr marL="0" indent="0">
              <a:buNone/>
              <a:defRPr sz="2800" b="1">
                <a:solidFill>
                  <a:schemeClr val="tx2"/>
                </a:solidFill>
                <a:latin typeface="Raleway" panose="020B0503030101060003" pitchFamily="34" charset="77"/>
              </a:defRPr>
            </a:lvl1pPr>
            <a:lvl2pPr marL="0" indent="0">
              <a:lnSpc>
                <a:spcPct val="90000"/>
              </a:lnSpc>
              <a:spcBef>
                <a:spcPts val="0"/>
              </a:spcBef>
              <a:buNone/>
              <a:defRPr cap="all" baseline="0">
                <a:solidFill>
                  <a:schemeClr val="accent5"/>
                </a:solidFill>
              </a:defRPr>
            </a:lvl2pPr>
          </a:lstStyle>
          <a:p>
            <a:pPr lvl="0"/>
            <a:r>
              <a:rPr lang="en-US"/>
              <a:t>Click to edit Master text styles</a:t>
            </a:r>
          </a:p>
        </p:txBody>
      </p:sp>
      <p:sp>
        <p:nvSpPr>
          <p:cNvPr id="14" name="Freeform 13">
            <a:extLst>
              <a:ext uri="{FF2B5EF4-FFF2-40B4-BE49-F238E27FC236}">
                <a16:creationId xmlns:a16="http://schemas.microsoft.com/office/drawing/2014/main" id="{C25900A6-F3E0-02F1-B335-926593133DE4}"/>
              </a:ext>
            </a:extLst>
          </p:cNvPr>
          <p:cNvSpPr/>
          <p:nvPr/>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8" name="Footer Placeholder 4">
            <a:extLst>
              <a:ext uri="{FF2B5EF4-FFF2-40B4-BE49-F238E27FC236}">
                <a16:creationId xmlns:a16="http://schemas.microsoft.com/office/drawing/2014/main" id="{1B398D60-C321-493C-ADE8-AC824C411BA2}"/>
              </a:ext>
            </a:extLst>
          </p:cNvPr>
          <p:cNvSpPr txBox="1">
            <a:spLocks/>
          </p:cNvSpPr>
          <p:nvPr/>
        </p:nvSpPr>
        <p:spPr>
          <a:xfrm>
            <a:off x="4038600" y="7781188"/>
            <a:ext cx="4114800" cy="222140"/>
          </a:xfrm>
          <a:prstGeom prst="rect">
            <a:avLst/>
          </a:prstGeom>
        </p:spPr>
        <p:txBody>
          <a:bodyPr vert="horz" lIns="0" tIns="0" rIns="0" bIns="0" rtlCol="0" anchor="t" anchorCtr="0"/>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bg1"/>
                </a:solidFill>
              </a:rPr>
              <a:t>Proprietary &amp; Confidential: Not For Distribution</a:t>
            </a:r>
          </a:p>
        </p:txBody>
      </p:sp>
      <p:sp>
        <p:nvSpPr>
          <p:cNvPr id="3" name="Subtitle 2">
            <a:extLst>
              <a:ext uri="{FF2B5EF4-FFF2-40B4-BE49-F238E27FC236}">
                <a16:creationId xmlns:a16="http://schemas.microsoft.com/office/drawing/2014/main" id="{3B5DCC05-4DEC-E6B4-BFB1-CEB9A74C045C}"/>
              </a:ext>
            </a:extLst>
          </p:cNvPr>
          <p:cNvSpPr>
            <a:spLocks noGrp="1"/>
          </p:cNvSpPr>
          <p:nvPr>
            <p:ph type="subTitle" idx="1"/>
          </p:nvPr>
        </p:nvSpPr>
        <p:spPr>
          <a:xfrm>
            <a:off x="445389" y="4057866"/>
            <a:ext cx="3270086" cy="870750"/>
          </a:xfrm>
        </p:spPr>
        <p:txBody>
          <a:bodyPr lIns="0" tIns="0" rIns="0" bIns="0">
            <a:noAutofit/>
          </a:bodyPr>
          <a:lstStyle>
            <a:lvl1pPr marL="0" indent="0" algn="l">
              <a:lnSpc>
                <a:spcPct val="114000"/>
              </a:lnSpc>
              <a:buNone/>
              <a:defRPr sz="1600" b="0">
                <a:solidFill>
                  <a:schemeClr val="tx2"/>
                </a:solidFill>
              </a:defRPr>
            </a:lvl1pPr>
            <a:lvl2pPr marL="0" indent="0" algn="l">
              <a:lnSpc>
                <a:spcPct val="114000"/>
              </a:lnSpc>
              <a:spcBef>
                <a:spcPts val="0"/>
              </a:spcBef>
              <a:buNone/>
              <a:defRPr sz="1400" b="0">
                <a:solidFill>
                  <a:schemeClr val="tx2"/>
                </a:solidFill>
              </a:defRPr>
            </a:lvl2pPr>
            <a:lvl3pPr marL="0" indent="0" algn="l">
              <a:lnSpc>
                <a:spcPct val="114000"/>
              </a:lnSpc>
              <a:spcBef>
                <a:spcPts val="0"/>
              </a:spcBef>
              <a:buNone/>
              <a:defRPr sz="1200" i="1">
                <a:solidFill>
                  <a:schemeClr val="tx2"/>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9" name="Footer Placeholder 118">
            <a:extLst>
              <a:ext uri="{FF2B5EF4-FFF2-40B4-BE49-F238E27FC236}">
                <a16:creationId xmlns:a16="http://schemas.microsoft.com/office/drawing/2014/main" id="{DAD300A3-3D1E-D54B-D069-0C48ADCB5FDA}"/>
              </a:ext>
            </a:extLst>
          </p:cNvPr>
          <p:cNvSpPr>
            <a:spLocks noGrp="1"/>
          </p:cNvSpPr>
          <p:nvPr>
            <p:ph type="ftr" sz="quarter" idx="11"/>
          </p:nvPr>
        </p:nvSpPr>
        <p:spPr>
          <a:xfrm>
            <a:off x="438912" y="6537960"/>
            <a:ext cx="4114800" cy="211606"/>
          </a:xfrm>
        </p:spPr>
        <p:txBody>
          <a:bodyPr/>
          <a:lstStyle>
            <a:lvl1pPr marL="0" indent="0">
              <a:buNone/>
              <a:defRPr>
                <a:solidFill>
                  <a:schemeClr val="bg1"/>
                </a:solidFill>
              </a:defRPr>
            </a:lvl1pPr>
          </a:lstStyle>
          <a:p>
            <a:r>
              <a:rPr lang="en-US" dirty="0"/>
              <a:t>Proprietary &amp; Confidential: Not for Distribution.</a:t>
            </a:r>
          </a:p>
        </p:txBody>
      </p:sp>
      <p:sp>
        <p:nvSpPr>
          <p:cNvPr id="120" name="Slide Number Placeholder 119">
            <a:extLst>
              <a:ext uri="{FF2B5EF4-FFF2-40B4-BE49-F238E27FC236}">
                <a16:creationId xmlns:a16="http://schemas.microsoft.com/office/drawing/2014/main" id="{26E5CE8B-FE5C-ED2A-262A-7D52E96791D6}"/>
              </a:ext>
            </a:extLst>
          </p:cNvPr>
          <p:cNvSpPr>
            <a:spLocks noGrp="1"/>
          </p:cNvSpPr>
          <p:nvPr>
            <p:ph type="sldNum" sz="quarter" idx="12"/>
          </p:nvPr>
        </p:nvSpPr>
        <p:spPr>
          <a:xfrm>
            <a:off x="11730088" y="6990807"/>
            <a:ext cx="461912" cy="252001"/>
          </a:xfrm>
        </p:spPr>
        <p:txBody>
          <a:bodyPr/>
          <a:lstStyle>
            <a:lvl1pPr marL="0" indent="0">
              <a:buNone/>
              <a:defRPr/>
            </a:lvl1pPr>
          </a:lstStyle>
          <a:p>
            <a:fld id="{B42C0624-09E4-9E4F-9228-01F5B6A588DD}" type="slidenum">
              <a:rPr lang="en-US" smtClean="0"/>
              <a:pPr/>
              <a:t>‹#›</a:t>
            </a:fld>
            <a:endParaRPr lang="en-US" dirty="0"/>
          </a:p>
        </p:txBody>
      </p:sp>
      <p:sp>
        <p:nvSpPr>
          <p:cNvPr id="7" name="Text Placeholder 6">
            <a:extLst>
              <a:ext uri="{FF2B5EF4-FFF2-40B4-BE49-F238E27FC236}">
                <a16:creationId xmlns:a16="http://schemas.microsoft.com/office/drawing/2014/main" id="{40633549-A8EA-2F9A-5F92-1D325BFC5184}"/>
              </a:ext>
            </a:extLst>
          </p:cNvPr>
          <p:cNvSpPr>
            <a:spLocks noGrp="1"/>
          </p:cNvSpPr>
          <p:nvPr>
            <p:ph type="body" sz="quarter" idx="13"/>
          </p:nvPr>
        </p:nvSpPr>
        <p:spPr>
          <a:xfrm>
            <a:off x="4571916" y="4057650"/>
            <a:ext cx="3192463" cy="870966"/>
          </a:xfrm>
        </p:spPr>
        <p:txBody>
          <a:bodyPr lIns="0" tIns="0" rIns="0" bIns="0">
            <a:noAutofit/>
          </a:bodyPr>
          <a:lstStyle>
            <a:lvl1pPr marL="0" indent="0">
              <a:lnSpc>
                <a:spcPct val="114000"/>
              </a:lnSpc>
              <a:spcBef>
                <a:spcPts val="0"/>
              </a:spcBef>
              <a:buNone/>
              <a:defRPr sz="1600">
                <a:solidFill>
                  <a:schemeClr val="tx2"/>
                </a:solidFill>
              </a:defRPr>
            </a:lvl1pPr>
            <a:lvl2pPr marL="0" indent="0">
              <a:lnSpc>
                <a:spcPct val="114000"/>
              </a:lnSpc>
              <a:spcBef>
                <a:spcPts val="0"/>
              </a:spcBef>
              <a:buNone/>
              <a:defRPr sz="1400">
                <a:solidFill>
                  <a:schemeClr val="tx2"/>
                </a:solidFill>
              </a:defRPr>
            </a:lvl2pPr>
            <a:lvl3pPr marL="0" indent="0">
              <a:lnSpc>
                <a:spcPct val="114000"/>
              </a:lnSpc>
              <a:spcBef>
                <a:spcPts val="0"/>
              </a:spcBef>
              <a:buNone/>
              <a:defRPr sz="1200" i="1">
                <a:solidFill>
                  <a:schemeClr val="tx2"/>
                </a:solidFill>
              </a:defRPr>
            </a:lvl3pPr>
            <a:lvl4pPr marL="1371600" indent="0">
              <a:spcBef>
                <a:spcPts val="0"/>
              </a:spcBef>
              <a:buNone/>
              <a:defRPr sz="1600">
                <a:solidFill>
                  <a:schemeClr val="tx2"/>
                </a:solidFill>
              </a:defRPr>
            </a:lvl4pPr>
            <a:lvl5pPr marL="1828800" indent="0">
              <a:spcBef>
                <a:spcPts val="0"/>
              </a:spcBef>
              <a:buNone/>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A0FAAE1B-B707-1B76-79F5-FC6981E9374F}"/>
              </a:ext>
            </a:extLst>
          </p:cNvPr>
          <p:cNvSpPr txBox="1">
            <a:spLocks/>
          </p:cNvSpPr>
          <p:nvPr userDrawn="1"/>
        </p:nvSpPr>
        <p:spPr>
          <a:xfrm>
            <a:off x="4038600" y="7781188"/>
            <a:ext cx="4114800" cy="222140"/>
          </a:xfrm>
          <a:prstGeom prst="rect">
            <a:avLst/>
          </a:prstGeom>
        </p:spPr>
        <p:txBody>
          <a:bodyPr vert="horz" lIns="0" tIns="0" rIns="0" bIns="0" rtlCol="0" anchor="t" anchorCtr="0"/>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bg1"/>
                </a:solidFill>
              </a:rPr>
              <a:t>Proprietary &amp; Confidential: Not For Distribution</a:t>
            </a:r>
          </a:p>
        </p:txBody>
      </p:sp>
      <p:sp>
        <p:nvSpPr>
          <p:cNvPr id="22" name="Freeform 21">
            <a:extLst>
              <a:ext uri="{FF2B5EF4-FFF2-40B4-BE49-F238E27FC236}">
                <a16:creationId xmlns:a16="http://schemas.microsoft.com/office/drawing/2014/main" id="{D0775B02-A459-2FFB-7083-C4E9D96954BE}"/>
              </a:ext>
            </a:extLst>
          </p:cNvPr>
          <p:cNvSpPr/>
          <p:nvPr userDrawn="1"/>
        </p:nvSpPr>
        <p:spPr>
          <a:xfrm>
            <a:off x="445388" y="2494061"/>
            <a:ext cx="3264250" cy="582579"/>
          </a:xfrm>
          <a:custGeom>
            <a:avLst/>
            <a:gdLst>
              <a:gd name="connsiteX0" fmla="*/ 0 w 3264250"/>
              <a:gd name="connsiteY0" fmla="*/ 0 h 582579"/>
              <a:gd name="connsiteX1" fmla="*/ 3264251 w 3264250"/>
              <a:gd name="connsiteY1" fmla="*/ 0 h 582579"/>
              <a:gd name="connsiteX2" fmla="*/ 3264251 w 3264250"/>
              <a:gd name="connsiteY2" fmla="*/ 582579 h 582579"/>
              <a:gd name="connsiteX3" fmla="*/ 0 w 3264250"/>
              <a:gd name="connsiteY3" fmla="*/ 582579 h 582579"/>
            </a:gdLst>
            <a:ahLst/>
            <a:cxnLst>
              <a:cxn ang="0">
                <a:pos x="connsiteX0" y="connsiteY0"/>
              </a:cxn>
              <a:cxn ang="0">
                <a:pos x="connsiteX1" y="connsiteY1"/>
              </a:cxn>
              <a:cxn ang="0">
                <a:pos x="connsiteX2" y="connsiteY2"/>
              </a:cxn>
              <a:cxn ang="0">
                <a:pos x="connsiteX3" y="connsiteY3"/>
              </a:cxn>
            </a:cxnLst>
            <a:rect l="l" t="t" r="r" b="b"/>
            <a:pathLst>
              <a:path w="3264250" h="582579">
                <a:moveTo>
                  <a:pt x="0" y="0"/>
                </a:moveTo>
                <a:lnTo>
                  <a:pt x="3264251" y="0"/>
                </a:lnTo>
                <a:lnTo>
                  <a:pt x="3264251" y="582579"/>
                </a:lnTo>
                <a:lnTo>
                  <a:pt x="0" y="582579"/>
                </a:lnTo>
                <a:close/>
              </a:path>
            </a:pathLst>
          </a:custGeom>
          <a:noFill/>
          <a:ln w="12145"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34010BF-7D12-2658-3B22-8DC814CD3CCB}"/>
              </a:ext>
            </a:extLst>
          </p:cNvPr>
          <p:cNvSpPr/>
          <p:nvPr userDrawn="1"/>
        </p:nvSpPr>
        <p:spPr>
          <a:xfrm>
            <a:off x="445388" y="2494061"/>
            <a:ext cx="3264250" cy="582579"/>
          </a:xfrm>
          <a:custGeom>
            <a:avLst/>
            <a:gdLst>
              <a:gd name="connsiteX0" fmla="*/ 0 w 3264250"/>
              <a:gd name="connsiteY0" fmla="*/ 0 h 582579"/>
              <a:gd name="connsiteX1" fmla="*/ 3264251 w 3264250"/>
              <a:gd name="connsiteY1" fmla="*/ 0 h 582579"/>
              <a:gd name="connsiteX2" fmla="*/ 3264251 w 3264250"/>
              <a:gd name="connsiteY2" fmla="*/ 582579 h 582579"/>
              <a:gd name="connsiteX3" fmla="*/ 0 w 3264250"/>
              <a:gd name="connsiteY3" fmla="*/ 582579 h 582579"/>
            </a:gdLst>
            <a:ahLst/>
            <a:cxnLst>
              <a:cxn ang="0">
                <a:pos x="connsiteX0" y="connsiteY0"/>
              </a:cxn>
              <a:cxn ang="0">
                <a:pos x="connsiteX1" y="connsiteY1"/>
              </a:cxn>
              <a:cxn ang="0">
                <a:pos x="connsiteX2" y="connsiteY2"/>
              </a:cxn>
              <a:cxn ang="0">
                <a:pos x="connsiteX3" y="connsiteY3"/>
              </a:cxn>
            </a:cxnLst>
            <a:rect l="l" t="t" r="r" b="b"/>
            <a:pathLst>
              <a:path w="3264250" h="582579">
                <a:moveTo>
                  <a:pt x="0" y="0"/>
                </a:moveTo>
                <a:lnTo>
                  <a:pt x="3264251" y="0"/>
                </a:lnTo>
                <a:lnTo>
                  <a:pt x="3264251" y="582579"/>
                </a:lnTo>
                <a:lnTo>
                  <a:pt x="0" y="582579"/>
                </a:lnTo>
                <a:close/>
              </a:path>
            </a:pathLst>
          </a:custGeom>
          <a:noFill/>
          <a:ln w="12145" cap="flat">
            <a:noFill/>
            <a:prstDash val="solid"/>
            <a:miter/>
          </a:ln>
        </p:spPr>
        <p:txBody>
          <a:bodyPr rtlCol="0" anchor="ctr"/>
          <a:lstStyle/>
          <a:p>
            <a:endParaRPr lang="en-US" dirty="0"/>
          </a:p>
        </p:txBody>
      </p:sp>
      <p:sp>
        <p:nvSpPr>
          <p:cNvPr id="47" name="Freeform 46">
            <a:extLst>
              <a:ext uri="{FF2B5EF4-FFF2-40B4-BE49-F238E27FC236}">
                <a16:creationId xmlns:a16="http://schemas.microsoft.com/office/drawing/2014/main" id="{884A57D1-C078-4730-B8C0-743850FE8485}"/>
              </a:ext>
            </a:extLst>
          </p:cNvPr>
          <p:cNvSpPr/>
          <p:nvPr/>
        </p:nvSpPr>
        <p:spPr>
          <a:xfrm>
            <a:off x="445388" y="2494061"/>
            <a:ext cx="3264250" cy="582579"/>
          </a:xfrm>
          <a:custGeom>
            <a:avLst/>
            <a:gdLst>
              <a:gd name="connsiteX0" fmla="*/ 0 w 3264250"/>
              <a:gd name="connsiteY0" fmla="*/ 0 h 582579"/>
              <a:gd name="connsiteX1" fmla="*/ 3264251 w 3264250"/>
              <a:gd name="connsiteY1" fmla="*/ 0 h 582579"/>
              <a:gd name="connsiteX2" fmla="*/ 3264251 w 3264250"/>
              <a:gd name="connsiteY2" fmla="*/ 582579 h 582579"/>
              <a:gd name="connsiteX3" fmla="*/ 0 w 3264250"/>
              <a:gd name="connsiteY3" fmla="*/ 582579 h 582579"/>
            </a:gdLst>
            <a:ahLst/>
            <a:cxnLst>
              <a:cxn ang="0">
                <a:pos x="connsiteX0" y="connsiteY0"/>
              </a:cxn>
              <a:cxn ang="0">
                <a:pos x="connsiteX1" y="connsiteY1"/>
              </a:cxn>
              <a:cxn ang="0">
                <a:pos x="connsiteX2" y="connsiteY2"/>
              </a:cxn>
              <a:cxn ang="0">
                <a:pos x="connsiteX3" y="connsiteY3"/>
              </a:cxn>
            </a:cxnLst>
            <a:rect l="l" t="t" r="r" b="b"/>
            <a:pathLst>
              <a:path w="3264250" h="582579">
                <a:moveTo>
                  <a:pt x="0" y="0"/>
                </a:moveTo>
                <a:lnTo>
                  <a:pt x="3264251" y="0"/>
                </a:lnTo>
                <a:lnTo>
                  <a:pt x="3264251" y="582579"/>
                </a:lnTo>
                <a:lnTo>
                  <a:pt x="0" y="582579"/>
                </a:lnTo>
                <a:close/>
              </a:path>
            </a:pathLst>
          </a:custGeom>
          <a:noFill/>
          <a:ln w="12145" cap="flat">
            <a:noFill/>
            <a:prstDash val="solid"/>
            <a:miter/>
          </a:ln>
        </p:spPr>
        <p:txBody>
          <a:bodyPr rtlCol="0" anchor="ctr"/>
          <a:lstStyle/>
          <a:p>
            <a:endParaRPr lang="en-US" dirty="0"/>
          </a:p>
        </p:txBody>
      </p:sp>
      <p:sp>
        <p:nvSpPr>
          <p:cNvPr id="50" name="Freeform 49">
            <a:extLst>
              <a:ext uri="{FF2B5EF4-FFF2-40B4-BE49-F238E27FC236}">
                <a16:creationId xmlns:a16="http://schemas.microsoft.com/office/drawing/2014/main" id="{8B4B9A82-BF72-9177-646F-D215F9BB9393}"/>
              </a:ext>
            </a:extLst>
          </p:cNvPr>
          <p:cNvSpPr/>
          <p:nvPr/>
        </p:nvSpPr>
        <p:spPr>
          <a:xfrm>
            <a:off x="445388" y="2494061"/>
            <a:ext cx="3264250" cy="582579"/>
          </a:xfrm>
          <a:custGeom>
            <a:avLst/>
            <a:gdLst>
              <a:gd name="connsiteX0" fmla="*/ 0 w 3264250"/>
              <a:gd name="connsiteY0" fmla="*/ 0 h 582579"/>
              <a:gd name="connsiteX1" fmla="*/ 3264251 w 3264250"/>
              <a:gd name="connsiteY1" fmla="*/ 0 h 582579"/>
              <a:gd name="connsiteX2" fmla="*/ 3264251 w 3264250"/>
              <a:gd name="connsiteY2" fmla="*/ 582579 h 582579"/>
              <a:gd name="connsiteX3" fmla="*/ 0 w 3264250"/>
              <a:gd name="connsiteY3" fmla="*/ 582579 h 582579"/>
            </a:gdLst>
            <a:ahLst/>
            <a:cxnLst>
              <a:cxn ang="0">
                <a:pos x="connsiteX0" y="connsiteY0"/>
              </a:cxn>
              <a:cxn ang="0">
                <a:pos x="connsiteX1" y="connsiteY1"/>
              </a:cxn>
              <a:cxn ang="0">
                <a:pos x="connsiteX2" y="connsiteY2"/>
              </a:cxn>
              <a:cxn ang="0">
                <a:pos x="connsiteX3" y="connsiteY3"/>
              </a:cxn>
            </a:cxnLst>
            <a:rect l="l" t="t" r="r" b="b"/>
            <a:pathLst>
              <a:path w="3264250" h="582579">
                <a:moveTo>
                  <a:pt x="0" y="0"/>
                </a:moveTo>
                <a:lnTo>
                  <a:pt x="3264251" y="0"/>
                </a:lnTo>
                <a:lnTo>
                  <a:pt x="3264251" y="582579"/>
                </a:lnTo>
                <a:lnTo>
                  <a:pt x="0" y="582579"/>
                </a:lnTo>
                <a:close/>
              </a:path>
            </a:pathLst>
          </a:custGeom>
          <a:noFill/>
          <a:ln w="12145" cap="flat">
            <a:noFill/>
            <a:prstDash val="solid"/>
            <a:miter/>
          </a:ln>
        </p:spPr>
        <p:txBody>
          <a:bodyPr rtlCol="0" anchor="ctr"/>
          <a:lstStyle/>
          <a:p>
            <a:endParaRPr lang="en-US" dirty="0"/>
          </a:p>
        </p:txBody>
      </p:sp>
      <p:sp>
        <p:nvSpPr>
          <p:cNvPr id="9" name="Text Placeholder 4">
            <a:extLst>
              <a:ext uri="{FF2B5EF4-FFF2-40B4-BE49-F238E27FC236}">
                <a16:creationId xmlns:a16="http://schemas.microsoft.com/office/drawing/2014/main" id="{62B35DD9-083D-68DE-E1F5-A7FE72DD4A47}"/>
              </a:ext>
            </a:extLst>
          </p:cNvPr>
          <p:cNvSpPr>
            <a:spLocks noGrp="1"/>
          </p:cNvSpPr>
          <p:nvPr>
            <p:ph type="body" sz="quarter" idx="18"/>
          </p:nvPr>
        </p:nvSpPr>
        <p:spPr>
          <a:xfrm>
            <a:off x="438913" y="3602736"/>
            <a:ext cx="4856358" cy="415925"/>
          </a:xfrm>
        </p:spPr>
        <p:txBody>
          <a:bodyPr/>
          <a:lstStyle>
            <a:lvl1pPr marL="0" indent="0">
              <a:lnSpc>
                <a:spcPct val="90000"/>
              </a:lnSpc>
              <a:buNone/>
              <a:defRPr cap="all" baseline="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79284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and-Text-and-photo-righ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513EEA4-3F84-877D-01E6-CE76FA82CE6E}"/>
              </a:ext>
            </a:extLst>
          </p:cNvPr>
          <p:cNvGraphicFramePr>
            <a:graphicFrameLocks noChangeAspect="1"/>
          </p:cNvGraphicFramePr>
          <p:nvPr userDrawn="1">
            <p:custDataLst>
              <p:tags r:id="rId1"/>
            </p:custDataLst>
            <p:extLst>
              <p:ext uri="{D42A27DB-BD31-4B8C-83A1-F6EECF244321}">
                <p14:modId xmlns:p14="http://schemas.microsoft.com/office/powerpoint/2010/main" val="5160011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513EEA4-3F84-877D-01E6-CE76FA82CE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9BE11FC8-5F96-CC50-CE8D-B5D15B3F036C}"/>
              </a:ext>
            </a:extLst>
          </p:cNvPr>
          <p:cNvSpPr>
            <a:spLocks noGrp="1"/>
          </p:cNvSpPr>
          <p:nvPr>
            <p:ph type="pic" sz="quarter" idx="29"/>
          </p:nvPr>
        </p:nvSpPr>
        <p:spPr>
          <a:xfrm>
            <a:off x="6323428" y="1600200"/>
            <a:ext cx="5212080" cy="4402138"/>
          </a:xfrm>
          <a:custGeom>
            <a:avLst/>
            <a:gdLst>
              <a:gd name="connsiteX0" fmla="*/ 0 w 5212080"/>
              <a:gd name="connsiteY0" fmla="*/ 0 h 4402138"/>
              <a:gd name="connsiteX1" fmla="*/ 5212080 w 5212080"/>
              <a:gd name="connsiteY1" fmla="*/ 0 h 4402138"/>
              <a:gd name="connsiteX2" fmla="*/ 5212080 w 5212080"/>
              <a:gd name="connsiteY2" fmla="*/ 4402138 h 4402138"/>
              <a:gd name="connsiteX3" fmla="*/ 0 w 52120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5212080" h="4402138">
                <a:moveTo>
                  <a:pt x="0" y="0"/>
                </a:moveTo>
                <a:lnTo>
                  <a:pt x="5212080" y="0"/>
                </a:lnTo>
                <a:lnTo>
                  <a:pt x="5212080" y="4402138"/>
                </a:lnTo>
                <a:lnTo>
                  <a:pt x="0" y="4402138"/>
                </a:lnTo>
                <a:close/>
              </a:path>
            </a:pathLst>
          </a:cu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p>
            <a:r>
              <a:rPr lang="en-US" dirty="0"/>
              <a:t>Click icon to add picture</a:t>
            </a:r>
          </a:p>
        </p:txBody>
      </p:sp>
      <p:sp>
        <p:nvSpPr>
          <p:cNvPr id="11" name="Content Placeholder 10">
            <a:extLst>
              <a:ext uri="{FF2B5EF4-FFF2-40B4-BE49-F238E27FC236}">
                <a16:creationId xmlns:a16="http://schemas.microsoft.com/office/drawing/2014/main" id="{4DC1977E-810E-15A0-D75B-CC5990E6FBDC}"/>
              </a:ext>
            </a:extLst>
          </p:cNvPr>
          <p:cNvSpPr>
            <a:spLocks noGrp="1"/>
          </p:cNvSpPr>
          <p:nvPr>
            <p:ph sz="quarter" idx="15"/>
          </p:nvPr>
        </p:nvSpPr>
        <p:spPr>
          <a:xfrm>
            <a:off x="609600" y="1600200"/>
            <a:ext cx="5212080" cy="4402138"/>
          </a:xfrm>
          <a:custGeom>
            <a:avLst/>
            <a:gdLst>
              <a:gd name="connsiteX0" fmla="*/ 0 w 5212080"/>
              <a:gd name="connsiteY0" fmla="*/ 0 h 4402138"/>
              <a:gd name="connsiteX1" fmla="*/ 5212080 w 5212080"/>
              <a:gd name="connsiteY1" fmla="*/ 0 h 4402138"/>
              <a:gd name="connsiteX2" fmla="*/ 5212080 w 5212080"/>
              <a:gd name="connsiteY2" fmla="*/ 4402138 h 4402138"/>
              <a:gd name="connsiteX3" fmla="*/ 0 w 52120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5212080" h="4402138">
                <a:moveTo>
                  <a:pt x="0" y="0"/>
                </a:moveTo>
                <a:lnTo>
                  <a:pt x="5212080" y="0"/>
                </a:lnTo>
                <a:lnTo>
                  <a:pt x="5212080" y="4402138"/>
                </a:lnTo>
                <a:lnTo>
                  <a:pt x="0" y="4402138"/>
                </a:lnTo>
                <a:close/>
              </a:path>
            </a:pathLst>
          </a:cu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5C79A336-D3F1-EE3F-F62D-2F28B85D4E58}"/>
              </a:ext>
            </a:extLst>
          </p:cNvPr>
          <p:cNvSpPr>
            <a:spLocks noGrp="1"/>
          </p:cNvSpPr>
          <p:nvPr>
            <p:ph type="body" sz="quarter" idx="25"/>
          </p:nvPr>
        </p:nvSpPr>
        <p:spPr>
          <a:xfrm>
            <a:off x="609600" y="2011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
        <p:nvSpPr>
          <p:cNvPr id="15" name="Title 14">
            <a:extLst>
              <a:ext uri="{FF2B5EF4-FFF2-40B4-BE49-F238E27FC236}">
                <a16:creationId xmlns:a16="http://schemas.microsoft.com/office/drawing/2014/main" id="{9BC6D4DC-FC0C-E3E6-7E30-E331F5091751}"/>
              </a:ext>
            </a:extLst>
          </p:cNvPr>
          <p:cNvSpPr>
            <a:spLocks noGrp="1"/>
          </p:cNvSpPr>
          <p:nvPr>
            <p:ph type="title"/>
          </p:nvPr>
        </p:nvSpPr>
        <p:spPr/>
        <p:txBody>
          <a:bodyPr vert="horz"/>
          <a:lstStyle/>
          <a:p>
            <a:r>
              <a:rPr lang="en-US"/>
              <a:t>Click to edit Master title style</a:t>
            </a:r>
          </a:p>
        </p:txBody>
      </p:sp>
      <p:cxnSp>
        <p:nvCxnSpPr>
          <p:cNvPr id="16" name="Straight Connector 15">
            <a:extLst>
              <a:ext uri="{FF2B5EF4-FFF2-40B4-BE49-F238E27FC236}">
                <a16:creationId xmlns:a16="http://schemas.microsoft.com/office/drawing/2014/main" id="{B970698A-DC1D-27BB-467C-911075FA12BD}"/>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cxnSp>
        <p:nvCxnSpPr>
          <p:cNvPr id="2" name="Straight Connector 1">
            <a:extLst>
              <a:ext uri="{FF2B5EF4-FFF2-40B4-BE49-F238E27FC236}">
                <a16:creationId xmlns:a16="http://schemas.microsoft.com/office/drawing/2014/main" id="{CB0B297D-2D8A-FA59-8BFF-F3E80BFA6D86}"/>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7" name="Footer Placeholder 6">
            <a:extLst>
              <a:ext uri="{FF2B5EF4-FFF2-40B4-BE49-F238E27FC236}">
                <a16:creationId xmlns:a16="http://schemas.microsoft.com/office/drawing/2014/main" id="{16DA7EA5-169B-47CD-3D93-9CF331292FD4}"/>
              </a:ext>
            </a:extLst>
          </p:cNvPr>
          <p:cNvSpPr>
            <a:spLocks noGrp="1"/>
          </p:cNvSpPr>
          <p:nvPr>
            <p:ph type="ftr" sz="quarter" idx="27"/>
          </p:nvPr>
        </p:nvSpPr>
        <p:spPr/>
        <p:txBody>
          <a:bodyPr/>
          <a:lstStyle/>
          <a:p>
            <a:pPr algn="l"/>
            <a:r>
              <a:rPr lang="en-US" dirty="0"/>
              <a:t>Proprietary &amp; Confidential: Not for Distribution.</a:t>
            </a:r>
          </a:p>
        </p:txBody>
      </p:sp>
      <p:sp>
        <p:nvSpPr>
          <p:cNvPr id="8" name="Slide Number Placeholder 7">
            <a:extLst>
              <a:ext uri="{FF2B5EF4-FFF2-40B4-BE49-F238E27FC236}">
                <a16:creationId xmlns:a16="http://schemas.microsoft.com/office/drawing/2014/main" id="{C1888A65-240A-5D2C-454B-2AAE317A9601}"/>
              </a:ext>
            </a:extLst>
          </p:cNvPr>
          <p:cNvSpPr>
            <a:spLocks noGrp="1"/>
          </p:cNvSpPr>
          <p:nvPr>
            <p:ph type="sldNum" sz="quarter" idx="28"/>
          </p:nvPr>
        </p:nvSpPr>
        <p:spPr/>
        <p:txBody>
          <a:bodyPr/>
          <a:lstStyle/>
          <a:p>
            <a:fld id="{8FA36BF0-F6E7-4838-BA02-50111582EAFB}" type="slidenum">
              <a:rPr lang="en-US" smtClean="0"/>
              <a:t>‹#›</a:t>
            </a:fld>
            <a:endParaRPr lang="en-US" dirty="0"/>
          </a:p>
        </p:txBody>
      </p:sp>
    </p:spTree>
    <p:extLst>
      <p:ext uri="{BB962C8B-B14F-4D97-AF65-F5344CB8AC3E}">
        <p14:creationId xmlns:p14="http://schemas.microsoft.com/office/powerpoint/2010/main" val="12443304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and-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1873F5-7FED-0E33-0E1B-F6D607CB32FC}"/>
              </a:ext>
            </a:extLst>
          </p:cNvPr>
          <p:cNvGraphicFramePr>
            <a:graphicFrameLocks noChangeAspect="1"/>
          </p:cNvGraphicFramePr>
          <p:nvPr>
            <p:custDataLst>
              <p:tags r:id="rId1"/>
            </p:custDataLst>
            <p:extLst>
              <p:ext uri="{D42A27DB-BD31-4B8C-83A1-F6EECF244321}">
                <p14:modId xmlns:p14="http://schemas.microsoft.com/office/powerpoint/2010/main" val="4042590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DC1873F5-7FED-0E33-0E1B-F6D607CB32F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02E54BDD-85F3-53B5-207C-591CFA0B6B7E}"/>
              </a:ext>
            </a:extLst>
          </p:cNvPr>
          <p:cNvSpPr>
            <a:spLocks noGrp="1"/>
          </p:cNvSpPr>
          <p:nvPr>
            <p:ph sz="quarter" idx="14"/>
          </p:nvPr>
        </p:nvSpPr>
        <p:spPr>
          <a:xfrm>
            <a:off x="609600" y="1600200"/>
            <a:ext cx="10823553" cy="4740865"/>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a:lnSpc>
                <a:spcPct val="120000"/>
              </a:lnSpc>
              <a:spcBef>
                <a:spcPts val="1000"/>
              </a:spcBef>
              <a:defRPr/>
            </a:lvl1pPr>
            <a:lvl2pPr>
              <a:lnSpc>
                <a:spcPct val="120000"/>
              </a:lnSpc>
              <a:spcBef>
                <a:spcPts val="300"/>
              </a:spcBef>
              <a:defRPr/>
            </a:lvl2pPr>
            <a:lvl3pPr>
              <a:lnSpc>
                <a:spcPct val="120000"/>
              </a:lnSpc>
              <a:spcBef>
                <a:spcPts val="300"/>
              </a:spcBef>
              <a:defRPr/>
            </a:lvl3pPr>
            <a:lvl4pPr>
              <a:lnSpc>
                <a:spcPct val="120000"/>
              </a:lnSpc>
              <a:spcBef>
                <a:spcPts val="300"/>
              </a:spcBef>
              <a:defRPr/>
            </a:lvl4pPr>
            <a:lvl5pPr>
              <a:lnSpc>
                <a:spcPct val="120000"/>
              </a:lnSpc>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68038C00-0120-1675-279A-F2529E73DF9F}"/>
              </a:ext>
            </a:extLst>
          </p:cNvPr>
          <p:cNvSpPr>
            <a:spLocks noGrp="1"/>
          </p:cNvSpPr>
          <p:nvPr>
            <p:ph type="sldNum" sz="quarter" idx="10"/>
          </p:nvPr>
        </p:nvSpPr>
        <p:spPr/>
        <p:txBody>
          <a:bodyPr/>
          <a:lstStyle>
            <a:lvl1pPr marL="0" indent="0">
              <a:buNone/>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87F5D486-E967-163F-1E9B-C8B37D6E97FA}"/>
              </a:ext>
            </a:extLst>
          </p:cNvPr>
          <p:cNvSpPr>
            <a:spLocks noGrp="1"/>
          </p:cNvSpPr>
          <p:nvPr>
            <p:ph type="ftr" sz="quarter" idx="11"/>
          </p:nvPr>
        </p:nvSpPr>
        <p:spPr/>
        <p:txBody>
          <a:bodyPr/>
          <a:lstStyle>
            <a:lvl1pPr marL="0" indent="0">
              <a:buNone/>
              <a:defRPr/>
            </a:lvl1pPr>
          </a:lstStyle>
          <a:p>
            <a:r>
              <a:rPr lang="en-US" dirty="0"/>
              <a:t>Proprietary &amp; Confidential: Not for Distribution.</a:t>
            </a:r>
          </a:p>
        </p:txBody>
      </p:sp>
      <p:sp>
        <p:nvSpPr>
          <p:cNvPr id="7" name="Title 6">
            <a:extLst>
              <a:ext uri="{FF2B5EF4-FFF2-40B4-BE49-F238E27FC236}">
                <a16:creationId xmlns:a16="http://schemas.microsoft.com/office/drawing/2014/main" id="{AC877001-E75B-9962-B575-3EEEB902297F}"/>
              </a:ext>
            </a:extLst>
          </p:cNvPr>
          <p:cNvSpPr>
            <a:spLocks noGrp="1"/>
          </p:cNvSpPr>
          <p:nvPr>
            <p:ph type="title"/>
          </p:nvPr>
        </p:nvSpPr>
        <p:spPr>
          <a:xfrm>
            <a:off x="609600" y="555170"/>
            <a:ext cx="7482114" cy="441291"/>
          </a:xfrm>
        </p:spPr>
        <p:txBody>
          <a:bodyPr vert="horz"/>
          <a:lstStyle/>
          <a:p>
            <a:r>
              <a:rPr lang="en-US"/>
              <a:t>Click to edit Master title style</a:t>
            </a:r>
          </a:p>
        </p:txBody>
      </p:sp>
      <p:graphicFrame>
        <p:nvGraphicFramePr>
          <p:cNvPr id="2" name="think-cell data - do not delete" hidden="1">
            <a:extLst>
              <a:ext uri="{FF2B5EF4-FFF2-40B4-BE49-F238E27FC236}">
                <a16:creationId xmlns:a16="http://schemas.microsoft.com/office/drawing/2014/main" id="{32331F4A-7142-90CE-041A-3FC9A86C296B}"/>
              </a:ext>
            </a:extLst>
          </p:cNvPr>
          <p:cNvGraphicFramePr>
            <a:graphicFrameLocks noChangeAspect="1"/>
          </p:cNvGraphicFramePr>
          <p:nvPr userDrawn="1">
            <p:custDataLst>
              <p:tags r:id="rId2"/>
            </p:custDataLst>
            <p:extLst>
              <p:ext uri="{D42A27DB-BD31-4B8C-83A1-F6EECF244321}">
                <p14:modId xmlns:p14="http://schemas.microsoft.com/office/powerpoint/2010/main" val="4042590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32331F4A-7142-90CE-041A-3FC9A86C296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CC502848-D831-4F2F-4112-5F30246D87A2}"/>
              </a:ext>
            </a:extLst>
          </p:cNvPr>
          <p:cNvSpPr>
            <a:spLocks noGrp="1"/>
          </p:cNvSpPr>
          <p:nvPr>
            <p:ph type="body" sz="quarter" idx="25"/>
          </p:nvPr>
        </p:nvSpPr>
        <p:spPr>
          <a:xfrm>
            <a:off x="612648" y="2011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85862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Divider Slid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9D2A16-24A6-AA7D-BFB7-9E6C4A3A004A}"/>
              </a:ext>
            </a:extLst>
          </p:cNvPr>
          <p:cNvGraphicFramePr>
            <a:graphicFrameLocks noChangeAspect="1"/>
          </p:cNvGraphicFramePr>
          <p:nvPr>
            <p:custDataLst>
              <p:tags r:id="rId1"/>
            </p:custDataLst>
            <p:extLst>
              <p:ext uri="{D42A27DB-BD31-4B8C-83A1-F6EECF244321}">
                <p14:modId xmlns:p14="http://schemas.microsoft.com/office/powerpoint/2010/main" val="14440585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A39D2A16-24A6-AA7D-BFB7-9E6C4A3A00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2DA09BC3-0B6A-EDF0-177B-071D33AC2277}"/>
              </a:ext>
            </a:extLst>
          </p:cNvPr>
          <p:cNvSpPr/>
          <p:nvPr/>
        </p:nvSpPr>
        <p:spPr>
          <a:xfrm>
            <a:off x="2" y="-7496"/>
            <a:ext cx="11961045" cy="6865497"/>
          </a:xfrm>
          <a:custGeom>
            <a:avLst/>
            <a:gdLst>
              <a:gd name="connsiteX0" fmla="*/ 0 w 11961045"/>
              <a:gd name="connsiteY0" fmla="*/ 0 h 6865497"/>
              <a:gd name="connsiteX1" fmla="*/ 11465408 w 11961045"/>
              <a:gd name="connsiteY1" fmla="*/ 0 h 6865497"/>
              <a:gd name="connsiteX2" fmla="*/ 11609808 w 11961045"/>
              <a:gd name="connsiteY2" fmla="*/ 524966 h 6865497"/>
              <a:gd name="connsiteX3" fmla="*/ 11961045 w 11961045"/>
              <a:gd name="connsiteY3" fmla="*/ 3436498 h 6865497"/>
              <a:gd name="connsiteX4" fmla="*/ 11609807 w 11961045"/>
              <a:gd name="connsiteY4" fmla="*/ 6348030 h 6865497"/>
              <a:gd name="connsiteX5" fmla="*/ 11467471 w 11961045"/>
              <a:gd name="connsiteY5" fmla="*/ 6865497 h 6865497"/>
              <a:gd name="connsiteX6" fmla="*/ 0 w 11961045"/>
              <a:gd name="connsiteY6" fmla="*/ 6865497 h 686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1045" h="6865497">
                <a:moveTo>
                  <a:pt x="0" y="0"/>
                </a:moveTo>
                <a:lnTo>
                  <a:pt x="11465408" y="0"/>
                </a:lnTo>
                <a:lnTo>
                  <a:pt x="11609808" y="524966"/>
                </a:lnTo>
                <a:cubicBezTo>
                  <a:pt x="11837817" y="1441845"/>
                  <a:pt x="11961045" y="2420383"/>
                  <a:pt x="11961045" y="3436498"/>
                </a:cubicBezTo>
                <a:cubicBezTo>
                  <a:pt x="11961045" y="4452613"/>
                  <a:pt x="11837817" y="5431152"/>
                  <a:pt x="11609807" y="6348030"/>
                </a:cubicBezTo>
                <a:lnTo>
                  <a:pt x="11467471" y="6865497"/>
                </a:lnTo>
                <a:lnTo>
                  <a:pt x="0" y="6865497"/>
                </a:lnTo>
                <a:close/>
              </a:path>
            </a:pathLst>
          </a:custGeom>
          <a:solidFill>
            <a:schemeClr val="accent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7" name="Footer Placeholder 6">
            <a:extLst>
              <a:ext uri="{FF2B5EF4-FFF2-40B4-BE49-F238E27FC236}">
                <a16:creationId xmlns:a16="http://schemas.microsoft.com/office/drawing/2014/main" id="{5A14651F-5B90-6D48-B155-7C269311F86A}"/>
              </a:ext>
            </a:extLst>
          </p:cNvPr>
          <p:cNvSpPr>
            <a:spLocks noGrp="1"/>
          </p:cNvSpPr>
          <p:nvPr>
            <p:ph type="ftr" sz="quarter" idx="15"/>
          </p:nvPr>
        </p:nvSpPr>
        <p:spPr>
          <a:xfrm>
            <a:off x="438912" y="6539152"/>
            <a:ext cx="2743200" cy="236552"/>
          </a:xfrm>
        </p:spPr>
        <p:txBody>
          <a:bodyPr/>
          <a:lstStyle>
            <a:lvl1pPr>
              <a:defRPr>
                <a:solidFill>
                  <a:schemeClr val="bg1"/>
                </a:solidFill>
              </a:defRPr>
            </a:lvl1pPr>
          </a:lstStyle>
          <a:p>
            <a:pPr algn="l"/>
            <a:r>
              <a:rPr lang="en-US" dirty="0"/>
              <a:t>Proprietary &amp; Confidential: Not for Distribution.</a:t>
            </a:r>
          </a:p>
        </p:txBody>
      </p:sp>
      <p:sp>
        <p:nvSpPr>
          <p:cNvPr id="17" name="Title 16">
            <a:extLst>
              <a:ext uri="{FF2B5EF4-FFF2-40B4-BE49-F238E27FC236}">
                <a16:creationId xmlns:a16="http://schemas.microsoft.com/office/drawing/2014/main" id="{72A6A1EC-58A8-6873-E286-D09F4F540AC8}"/>
              </a:ext>
            </a:extLst>
          </p:cNvPr>
          <p:cNvSpPr>
            <a:spLocks noGrp="1"/>
          </p:cNvSpPr>
          <p:nvPr>
            <p:ph type="ctrTitle" hasCustomPrompt="1"/>
          </p:nvPr>
        </p:nvSpPr>
        <p:spPr>
          <a:xfrm>
            <a:off x="-2" y="1929384"/>
            <a:ext cx="8312794" cy="2999232"/>
          </a:xfrm>
          <a:custGeom>
            <a:avLst/>
            <a:gdLst>
              <a:gd name="connsiteX0" fmla="*/ 1156010 w 8312794"/>
              <a:gd name="connsiteY0" fmla="*/ 1790099 h 2999232"/>
              <a:gd name="connsiteX1" fmla="*/ 1157617 w 8312794"/>
              <a:gd name="connsiteY1" fmla="*/ 1790099 h 2999232"/>
              <a:gd name="connsiteX2" fmla="*/ 1162000 w 8312794"/>
              <a:gd name="connsiteY2" fmla="*/ 1790387 h 2999232"/>
              <a:gd name="connsiteX3" fmla="*/ 1163315 w 8312794"/>
              <a:gd name="connsiteY3" fmla="*/ 1791248 h 2999232"/>
              <a:gd name="connsiteX4" fmla="*/ 1163753 w 8312794"/>
              <a:gd name="connsiteY4" fmla="*/ 1792685 h 2999232"/>
              <a:gd name="connsiteX5" fmla="*/ 1163315 w 8312794"/>
              <a:gd name="connsiteY5" fmla="*/ 1794121 h 2999232"/>
              <a:gd name="connsiteX6" fmla="*/ 1162000 w 8312794"/>
              <a:gd name="connsiteY6" fmla="*/ 1795127 h 2999232"/>
              <a:gd name="connsiteX7" fmla="*/ 1157617 w 8312794"/>
              <a:gd name="connsiteY7" fmla="*/ 1795414 h 2999232"/>
              <a:gd name="connsiteX8" fmla="*/ 1156010 w 8312794"/>
              <a:gd name="connsiteY8" fmla="*/ 1795414 h 2999232"/>
              <a:gd name="connsiteX9" fmla="*/ 1151920 w 8312794"/>
              <a:gd name="connsiteY9" fmla="*/ 1786939 h 2999232"/>
              <a:gd name="connsiteX10" fmla="*/ 1151920 w 8312794"/>
              <a:gd name="connsiteY10" fmla="*/ 1806619 h 2999232"/>
              <a:gd name="connsiteX11" fmla="*/ 1152066 w 8312794"/>
              <a:gd name="connsiteY11" fmla="*/ 1806619 h 2999232"/>
              <a:gd name="connsiteX12" fmla="*/ 1156156 w 8312794"/>
              <a:gd name="connsiteY12" fmla="*/ 1806619 h 2999232"/>
              <a:gd name="connsiteX13" fmla="*/ 1156156 w 8312794"/>
              <a:gd name="connsiteY13" fmla="*/ 1798575 h 2999232"/>
              <a:gd name="connsiteX14" fmla="*/ 1157179 w 8312794"/>
              <a:gd name="connsiteY14" fmla="*/ 1798575 h 2999232"/>
              <a:gd name="connsiteX15" fmla="*/ 1159955 w 8312794"/>
              <a:gd name="connsiteY15" fmla="*/ 1799437 h 2999232"/>
              <a:gd name="connsiteX16" fmla="*/ 1162731 w 8312794"/>
              <a:gd name="connsiteY16" fmla="*/ 1803459 h 2999232"/>
              <a:gd name="connsiteX17" fmla="*/ 1164484 w 8312794"/>
              <a:gd name="connsiteY17" fmla="*/ 1806619 h 2999232"/>
              <a:gd name="connsiteX18" fmla="*/ 1169451 w 8312794"/>
              <a:gd name="connsiteY18" fmla="*/ 1806619 h 2999232"/>
              <a:gd name="connsiteX19" fmla="*/ 1167114 w 8312794"/>
              <a:gd name="connsiteY19" fmla="*/ 1802597 h 2999232"/>
              <a:gd name="connsiteX20" fmla="*/ 1165653 w 8312794"/>
              <a:gd name="connsiteY20" fmla="*/ 1800155 h 2999232"/>
              <a:gd name="connsiteX21" fmla="*/ 1164338 w 8312794"/>
              <a:gd name="connsiteY21" fmla="*/ 1798575 h 2999232"/>
              <a:gd name="connsiteX22" fmla="*/ 1162877 w 8312794"/>
              <a:gd name="connsiteY22" fmla="*/ 1797857 h 2999232"/>
              <a:gd name="connsiteX23" fmla="*/ 1166821 w 8312794"/>
              <a:gd name="connsiteY23" fmla="*/ 1795989 h 2999232"/>
              <a:gd name="connsiteX24" fmla="*/ 1168282 w 8312794"/>
              <a:gd name="connsiteY24" fmla="*/ 1792398 h 2999232"/>
              <a:gd name="connsiteX25" fmla="*/ 1167552 w 8312794"/>
              <a:gd name="connsiteY25" fmla="*/ 1789525 h 2999232"/>
              <a:gd name="connsiteX26" fmla="*/ 1165653 w 8312794"/>
              <a:gd name="connsiteY26" fmla="*/ 1787657 h 2999232"/>
              <a:gd name="connsiteX27" fmla="*/ 1162439 w 8312794"/>
              <a:gd name="connsiteY27" fmla="*/ 1786939 h 2999232"/>
              <a:gd name="connsiteX28" fmla="*/ 1156010 w 8312794"/>
              <a:gd name="connsiteY28" fmla="*/ 1786939 h 2999232"/>
              <a:gd name="connsiteX29" fmla="*/ 1160539 w 8312794"/>
              <a:gd name="connsiteY29" fmla="*/ 1781767 h 2999232"/>
              <a:gd name="connsiteX30" fmla="*/ 1167990 w 8312794"/>
              <a:gd name="connsiteY30" fmla="*/ 1783635 h 2999232"/>
              <a:gd name="connsiteX31" fmla="*/ 1173688 w 8312794"/>
              <a:gd name="connsiteY31" fmla="*/ 1789094 h 2999232"/>
              <a:gd name="connsiteX32" fmla="*/ 1175733 w 8312794"/>
              <a:gd name="connsiteY32" fmla="*/ 1796564 h 2999232"/>
              <a:gd name="connsiteX33" fmla="*/ 1173688 w 8312794"/>
              <a:gd name="connsiteY33" fmla="*/ 1804034 h 2999232"/>
              <a:gd name="connsiteX34" fmla="*/ 1168136 w 8312794"/>
              <a:gd name="connsiteY34" fmla="*/ 1809492 h 2999232"/>
              <a:gd name="connsiteX35" fmla="*/ 1160539 w 8312794"/>
              <a:gd name="connsiteY35" fmla="*/ 1811504 h 2999232"/>
              <a:gd name="connsiteX36" fmla="*/ 1152942 w 8312794"/>
              <a:gd name="connsiteY36" fmla="*/ 1809492 h 2999232"/>
              <a:gd name="connsiteX37" fmla="*/ 1147391 w 8312794"/>
              <a:gd name="connsiteY37" fmla="*/ 1804034 h 2999232"/>
              <a:gd name="connsiteX38" fmla="*/ 1145345 w 8312794"/>
              <a:gd name="connsiteY38" fmla="*/ 1796564 h 2999232"/>
              <a:gd name="connsiteX39" fmla="*/ 1147391 w 8312794"/>
              <a:gd name="connsiteY39" fmla="*/ 1789094 h 2999232"/>
              <a:gd name="connsiteX40" fmla="*/ 1153088 w 8312794"/>
              <a:gd name="connsiteY40" fmla="*/ 1783635 h 2999232"/>
              <a:gd name="connsiteX41" fmla="*/ 1160539 w 8312794"/>
              <a:gd name="connsiteY41" fmla="*/ 1781767 h 2999232"/>
              <a:gd name="connsiteX42" fmla="*/ 1160539 w 8312794"/>
              <a:gd name="connsiteY42" fmla="*/ 1778176 h 2999232"/>
              <a:gd name="connsiteX43" fmla="*/ 1151189 w 8312794"/>
              <a:gd name="connsiteY43" fmla="*/ 1780618 h 2999232"/>
              <a:gd name="connsiteX44" fmla="*/ 1144177 w 8312794"/>
              <a:gd name="connsiteY44" fmla="*/ 1787513 h 2999232"/>
              <a:gd name="connsiteX45" fmla="*/ 1141693 w 8312794"/>
              <a:gd name="connsiteY45" fmla="*/ 1796851 h 2999232"/>
              <a:gd name="connsiteX46" fmla="*/ 1144177 w 8312794"/>
              <a:gd name="connsiteY46" fmla="*/ 1806045 h 2999232"/>
              <a:gd name="connsiteX47" fmla="*/ 1151189 w 8312794"/>
              <a:gd name="connsiteY47" fmla="*/ 1812940 h 2999232"/>
              <a:gd name="connsiteX48" fmla="*/ 1160539 w 8312794"/>
              <a:gd name="connsiteY48" fmla="*/ 1815382 h 2999232"/>
              <a:gd name="connsiteX49" fmla="*/ 1169889 w 8312794"/>
              <a:gd name="connsiteY49" fmla="*/ 1812940 h 2999232"/>
              <a:gd name="connsiteX50" fmla="*/ 1176902 w 8312794"/>
              <a:gd name="connsiteY50" fmla="*/ 1806045 h 2999232"/>
              <a:gd name="connsiteX51" fmla="*/ 1179386 w 8312794"/>
              <a:gd name="connsiteY51" fmla="*/ 1796851 h 2999232"/>
              <a:gd name="connsiteX52" fmla="*/ 1176902 w 8312794"/>
              <a:gd name="connsiteY52" fmla="*/ 1787513 h 2999232"/>
              <a:gd name="connsiteX53" fmla="*/ 1169889 w 8312794"/>
              <a:gd name="connsiteY53" fmla="*/ 1780618 h 2999232"/>
              <a:gd name="connsiteX54" fmla="*/ 1160539 w 8312794"/>
              <a:gd name="connsiteY54" fmla="*/ 1778176 h 2999232"/>
              <a:gd name="connsiteX55" fmla="*/ 615603 w 8312794"/>
              <a:gd name="connsiteY55" fmla="*/ 1524915 h 2999232"/>
              <a:gd name="connsiteX56" fmla="*/ 615457 w 8312794"/>
              <a:gd name="connsiteY56" fmla="*/ 1525059 h 2999232"/>
              <a:gd name="connsiteX57" fmla="*/ 468047 w 8312794"/>
              <a:gd name="connsiteY57" fmla="*/ 1670005 h 2999232"/>
              <a:gd name="connsiteX58" fmla="*/ 615603 w 8312794"/>
              <a:gd name="connsiteY58" fmla="*/ 1814808 h 2999232"/>
              <a:gd name="connsiteX59" fmla="*/ 763014 w 8312794"/>
              <a:gd name="connsiteY59" fmla="*/ 1669861 h 2999232"/>
              <a:gd name="connsiteX60" fmla="*/ 615603 w 8312794"/>
              <a:gd name="connsiteY60" fmla="*/ 1524915 h 2999232"/>
              <a:gd name="connsiteX61" fmla="*/ 614781 w 8312794"/>
              <a:gd name="connsiteY61" fmla="*/ 1115180 h 2999232"/>
              <a:gd name="connsiteX62" fmla="*/ 510561 w 8312794"/>
              <a:gd name="connsiteY62" fmla="*/ 1157737 h 2999232"/>
              <a:gd name="connsiteX63" fmla="*/ 510561 w 8312794"/>
              <a:gd name="connsiteY63" fmla="*/ 1362731 h 2999232"/>
              <a:gd name="connsiteX64" fmla="*/ 719039 w 8312794"/>
              <a:gd name="connsiteY64" fmla="*/ 1362731 h 2999232"/>
              <a:gd name="connsiteX65" fmla="*/ 927663 w 8312794"/>
              <a:gd name="connsiteY65" fmla="*/ 1362731 h 2999232"/>
              <a:gd name="connsiteX66" fmla="*/ 927663 w 8312794"/>
              <a:gd name="connsiteY66" fmla="*/ 1567868 h 2999232"/>
              <a:gd name="connsiteX67" fmla="*/ 927663 w 8312794"/>
              <a:gd name="connsiteY67" fmla="*/ 1772862 h 2999232"/>
              <a:gd name="connsiteX68" fmla="*/ 1136288 w 8312794"/>
              <a:gd name="connsiteY68" fmla="*/ 1772862 h 2999232"/>
              <a:gd name="connsiteX69" fmla="*/ 1136288 w 8312794"/>
              <a:gd name="connsiteY69" fmla="*/ 1567868 h 2999232"/>
              <a:gd name="connsiteX70" fmla="*/ 1136288 w 8312794"/>
              <a:gd name="connsiteY70" fmla="*/ 1362731 h 2999232"/>
              <a:gd name="connsiteX71" fmla="*/ 1136142 w 8312794"/>
              <a:gd name="connsiteY71" fmla="*/ 1362731 h 2999232"/>
              <a:gd name="connsiteX72" fmla="*/ 1136142 w 8312794"/>
              <a:gd name="connsiteY72" fmla="*/ 1157737 h 2999232"/>
              <a:gd name="connsiteX73" fmla="*/ 927517 w 8312794"/>
              <a:gd name="connsiteY73" fmla="*/ 1157737 h 2999232"/>
              <a:gd name="connsiteX74" fmla="*/ 718893 w 8312794"/>
              <a:gd name="connsiteY74" fmla="*/ 1157737 h 2999232"/>
              <a:gd name="connsiteX75" fmla="*/ 614781 w 8312794"/>
              <a:gd name="connsiteY75" fmla="*/ 1115180 h 2999232"/>
              <a:gd name="connsiteX76" fmla="*/ 0 w 8312794"/>
              <a:gd name="connsiteY76" fmla="*/ 0 h 2999232"/>
              <a:gd name="connsiteX77" fmla="*/ 3017522 w 8312794"/>
              <a:gd name="connsiteY77" fmla="*/ 0 h 2999232"/>
              <a:gd name="connsiteX78" fmla="*/ 5019853 w 8312794"/>
              <a:gd name="connsiteY78" fmla="*/ 0 h 2999232"/>
              <a:gd name="connsiteX79" fmla="*/ 8037375 w 8312794"/>
              <a:gd name="connsiteY79" fmla="*/ 0 h 2999232"/>
              <a:gd name="connsiteX80" fmla="*/ 8312794 w 8312794"/>
              <a:gd name="connsiteY80" fmla="*/ 275419 h 2999232"/>
              <a:gd name="connsiteX81" fmla="*/ 8312794 w 8312794"/>
              <a:gd name="connsiteY81" fmla="*/ 2723813 h 2999232"/>
              <a:gd name="connsiteX82" fmla="*/ 8037375 w 8312794"/>
              <a:gd name="connsiteY82" fmla="*/ 2999232 h 2999232"/>
              <a:gd name="connsiteX83" fmla="*/ 5019853 w 8312794"/>
              <a:gd name="connsiteY83" fmla="*/ 2999232 h 2999232"/>
              <a:gd name="connsiteX84" fmla="*/ 3017522 w 8312794"/>
              <a:gd name="connsiteY84" fmla="*/ 2999232 h 2999232"/>
              <a:gd name="connsiteX85" fmla="*/ 0 w 8312794"/>
              <a:gd name="connsiteY85" fmla="*/ 2999232 h 299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8312794" h="2999232">
                <a:moveTo>
                  <a:pt x="1156010" y="1790099"/>
                </a:moveTo>
                <a:lnTo>
                  <a:pt x="1157617" y="1790099"/>
                </a:lnTo>
                <a:cubicBezTo>
                  <a:pt x="1159955" y="1790099"/>
                  <a:pt x="1161416" y="1790243"/>
                  <a:pt x="1162000" y="1790387"/>
                </a:cubicBezTo>
                <a:cubicBezTo>
                  <a:pt x="1162585" y="1790530"/>
                  <a:pt x="1163023" y="1790817"/>
                  <a:pt x="1163315" y="1791248"/>
                </a:cubicBezTo>
                <a:cubicBezTo>
                  <a:pt x="1163607" y="1791679"/>
                  <a:pt x="1163753" y="1792254"/>
                  <a:pt x="1163753" y="1792685"/>
                </a:cubicBezTo>
                <a:cubicBezTo>
                  <a:pt x="1163753" y="1793116"/>
                  <a:pt x="1163607" y="1793691"/>
                  <a:pt x="1163315" y="1794121"/>
                </a:cubicBezTo>
                <a:cubicBezTo>
                  <a:pt x="1163023" y="1794696"/>
                  <a:pt x="1162585" y="1794983"/>
                  <a:pt x="1162000" y="1795127"/>
                </a:cubicBezTo>
                <a:cubicBezTo>
                  <a:pt x="1161416" y="1795414"/>
                  <a:pt x="1159955" y="1795414"/>
                  <a:pt x="1157617" y="1795414"/>
                </a:cubicBezTo>
                <a:lnTo>
                  <a:pt x="1156010" y="1795414"/>
                </a:lnTo>
                <a:close/>
                <a:moveTo>
                  <a:pt x="1151920" y="1786939"/>
                </a:moveTo>
                <a:lnTo>
                  <a:pt x="1151920" y="1806619"/>
                </a:lnTo>
                <a:lnTo>
                  <a:pt x="1152066" y="1806619"/>
                </a:lnTo>
                <a:lnTo>
                  <a:pt x="1156156" y="1806619"/>
                </a:lnTo>
                <a:lnTo>
                  <a:pt x="1156156" y="1798575"/>
                </a:lnTo>
                <a:lnTo>
                  <a:pt x="1157179" y="1798575"/>
                </a:lnTo>
                <a:cubicBezTo>
                  <a:pt x="1158202" y="1798575"/>
                  <a:pt x="1159224" y="1798862"/>
                  <a:pt x="1159955" y="1799437"/>
                </a:cubicBezTo>
                <a:cubicBezTo>
                  <a:pt x="1160685" y="1800011"/>
                  <a:pt x="1161562" y="1801304"/>
                  <a:pt x="1162731" y="1803459"/>
                </a:cubicBezTo>
                <a:lnTo>
                  <a:pt x="1164484" y="1806619"/>
                </a:lnTo>
                <a:lnTo>
                  <a:pt x="1169451" y="1806619"/>
                </a:lnTo>
                <a:lnTo>
                  <a:pt x="1167114" y="1802597"/>
                </a:lnTo>
                <a:cubicBezTo>
                  <a:pt x="1166383" y="1801161"/>
                  <a:pt x="1165799" y="1800299"/>
                  <a:pt x="1165653" y="1800155"/>
                </a:cubicBezTo>
                <a:cubicBezTo>
                  <a:pt x="1165068" y="1799293"/>
                  <a:pt x="1164630" y="1798862"/>
                  <a:pt x="1164338" y="1798575"/>
                </a:cubicBezTo>
                <a:cubicBezTo>
                  <a:pt x="1163900" y="1798287"/>
                  <a:pt x="1163461" y="1798144"/>
                  <a:pt x="1162877" y="1797857"/>
                </a:cubicBezTo>
                <a:cubicBezTo>
                  <a:pt x="1164630" y="1797569"/>
                  <a:pt x="1165945" y="1796995"/>
                  <a:pt x="1166821" y="1795989"/>
                </a:cubicBezTo>
                <a:cubicBezTo>
                  <a:pt x="1167844" y="1794983"/>
                  <a:pt x="1168282" y="1793834"/>
                  <a:pt x="1168282" y="1792398"/>
                </a:cubicBezTo>
                <a:cubicBezTo>
                  <a:pt x="1168282" y="1791248"/>
                  <a:pt x="1167990" y="1790387"/>
                  <a:pt x="1167552" y="1789525"/>
                </a:cubicBezTo>
                <a:cubicBezTo>
                  <a:pt x="1166968" y="1788663"/>
                  <a:pt x="1166383" y="1788088"/>
                  <a:pt x="1165653" y="1787657"/>
                </a:cubicBezTo>
                <a:cubicBezTo>
                  <a:pt x="1164776" y="1787370"/>
                  <a:pt x="1163753" y="1786939"/>
                  <a:pt x="1162439" y="1786939"/>
                </a:cubicBezTo>
                <a:cubicBezTo>
                  <a:pt x="1162000" y="1786939"/>
                  <a:pt x="1159809" y="1786939"/>
                  <a:pt x="1156010" y="1786939"/>
                </a:cubicBezTo>
                <a:close/>
                <a:moveTo>
                  <a:pt x="1160539" y="1781767"/>
                </a:moveTo>
                <a:cubicBezTo>
                  <a:pt x="1163169" y="1781767"/>
                  <a:pt x="1165653" y="1782342"/>
                  <a:pt x="1167990" y="1783635"/>
                </a:cubicBezTo>
                <a:cubicBezTo>
                  <a:pt x="1170474" y="1784928"/>
                  <a:pt x="1172373" y="1786652"/>
                  <a:pt x="1173688" y="1789094"/>
                </a:cubicBezTo>
                <a:cubicBezTo>
                  <a:pt x="1175003" y="1791392"/>
                  <a:pt x="1175733" y="1793978"/>
                  <a:pt x="1175733" y="1796564"/>
                </a:cubicBezTo>
                <a:cubicBezTo>
                  <a:pt x="1175733" y="1799149"/>
                  <a:pt x="1175003" y="1801735"/>
                  <a:pt x="1173688" y="1804034"/>
                </a:cubicBezTo>
                <a:cubicBezTo>
                  <a:pt x="1172373" y="1806332"/>
                  <a:pt x="1170474" y="1808200"/>
                  <a:pt x="1168136" y="1809492"/>
                </a:cubicBezTo>
                <a:cubicBezTo>
                  <a:pt x="1165653" y="1810785"/>
                  <a:pt x="1163169" y="1811504"/>
                  <a:pt x="1160539" y="1811504"/>
                </a:cubicBezTo>
                <a:cubicBezTo>
                  <a:pt x="1157910" y="1811504"/>
                  <a:pt x="1155280" y="1810785"/>
                  <a:pt x="1152942" y="1809492"/>
                </a:cubicBezTo>
                <a:cubicBezTo>
                  <a:pt x="1150605" y="1808200"/>
                  <a:pt x="1148706" y="1806332"/>
                  <a:pt x="1147391" y="1804034"/>
                </a:cubicBezTo>
                <a:cubicBezTo>
                  <a:pt x="1146076" y="1801591"/>
                  <a:pt x="1145345" y="1799149"/>
                  <a:pt x="1145345" y="1796564"/>
                </a:cubicBezTo>
                <a:cubicBezTo>
                  <a:pt x="1145345" y="1793978"/>
                  <a:pt x="1146076" y="1791536"/>
                  <a:pt x="1147391" y="1789094"/>
                </a:cubicBezTo>
                <a:cubicBezTo>
                  <a:pt x="1148852" y="1786795"/>
                  <a:pt x="1150751" y="1784928"/>
                  <a:pt x="1153088" y="1783635"/>
                </a:cubicBezTo>
                <a:cubicBezTo>
                  <a:pt x="1155426" y="1782342"/>
                  <a:pt x="1157910" y="1781767"/>
                  <a:pt x="1160539" y="1781767"/>
                </a:cubicBezTo>
                <a:close/>
                <a:moveTo>
                  <a:pt x="1160539" y="1778176"/>
                </a:moveTo>
                <a:cubicBezTo>
                  <a:pt x="1157325" y="1778176"/>
                  <a:pt x="1154111" y="1779038"/>
                  <a:pt x="1151189" y="1780618"/>
                </a:cubicBezTo>
                <a:cubicBezTo>
                  <a:pt x="1148267" y="1782342"/>
                  <a:pt x="1145930" y="1784497"/>
                  <a:pt x="1144177" y="1787513"/>
                </a:cubicBezTo>
                <a:cubicBezTo>
                  <a:pt x="1142570" y="1790530"/>
                  <a:pt x="1141693" y="1793691"/>
                  <a:pt x="1141693" y="1796851"/>
                </a:cubicBezTo>
                <a:cubicBezTo>
                  <a:pt x="1141693" y="1800011"/>
                  <a:pt x="1142570" y="1803172"/>
                  <a:pt x="1144177" y="1806045"/>
                </a:cubicBezTo>
                <a:cubicBezTo>
                  <a:pt x="1145930" y="1809061"/>
                  <a:pt x="1148267" y="1811360"/>
                  <a:pt x="1151189" y="1812940"/>
                </a:cubicBezTo>
                <a:cubicBezTo>
                  <a:pt x="1154111" y="1814520"/>
                  <a:pt x="1157325" y="1815382"/>
                  <a:pt x="1160539" y="1815382"/>
                </a:cubicBezTo>
                <a:cubicBezTo>
                  <a:pt x="1163753" y="1815382"/>
                  <a:pt x="1166968" y="1814520"/>
                  <a:pt x="1169889" y="1812940"/>
                </a:cubicBezTo>
                <a:cubicBezTo>
                  <a:pt x="1172957" y="1811216"/>
                  <a:pt x="1175295" y="1808918"/>
                  <a:pt x="1176902" y="1806045"/>
                </a:cubicBezTo>
                <a:cubicBezTo>
                  <a:pt x="1178509" y="1803172"/>
                  <a:pt x="1179386" y="1800155"/>
                  <a:pt x="1179386" y="1796851"/>
                </a:cubicBezTo>
                <a:cubicBezTo>
                  <a:pt x="1179386" y="1793547"/>
                  <a:pt x="1178655" y="1790530"/>
                  <a:pt x="1176902" y="1787513"/>
                </a:cubicBezTo>
                <a:cubicBezTo>
                  <a:pt x="1175149" y="1784497"/>
                  <a:pt x="1172811" y="1782198"/>
                  <a:pt x="1169889" y="1780618"/>
                </a:cubicBezTo>
                <a:cubicBezTo>
                  <a:pt x="1166821" y="1779038"/>
                  <a:pt x="1163753" y="1778176"/>
                  <a:pt x="1160539" y="1778176"/>
                </a:cubicBezTo>
                <a:close/>
                <a:moveTo>
                  <a:pt x="615603" y="1524915"/>
                </a:moveTo>
                <a:lnTo>
                  <a:pt x="615457" y="1525059"/>
                </a:lnTo>
                <a:cubicBezTo>
                  <a:pt x="534082" y="1525059"/>
                  <a:pt x="468047" y="1589990"/>
                  <a:pt x="468047" y="1670005"/>
                </a:cubicBezTo>
                <a:cubicBezTo>
                  <a:pt x="468047" y="1750020"/>
                  <a:pt x="534228" y="1814808"/>
                  <a:pt x="615603" y="1814808"/>
                </a:cubicBezTo>
                <a:cubicBezTo>
                  <a:pt x="696979" y="1814808"/>
                  <a:pt x="763014" y="1749876"/>
                  <a:pt x="763014" y="1669861"/>
                </a:cubicBezTo>
                <a:cubicBezTo>
                  <a:pt x="763014" y="1589846"/>
                  <a:pt x="696979" y="1524915"/>
                  <a:pt x="615603" y="1524915"/>
                </a:cubicBezTo>
                <a:close/>
                <a:moveTo>
                  <a:pt x="614781" y="1115180"/>
                </a:moveTo>
                <a:cubicBezTo>
                  <a:pt x="577070" y="1115180"/>
                  <a:pt x="539341" y="1129365"/>
                  <a:pt x="510561" y="1157737"/>
                </a:cubicBezTo>
                <a:cubicBezTo>
                  <a:pt x="452853" y="1214337"/>
                  <a:pt x="452853" y="1306131"/>
                  <a:pt x="510561" y="1362731"/>
                </a:cubicBezTo>
                <a:cubicBezTo>
                  <a:pt x="568122" y="1419330"/>
                  <a:pt x="661477" y="1419330"/>
                  <a:pt x="719039" y="1362731"/>
                </a:cubicBezTo>
                <a:cubicBezTo>
                  <a:pt x="776601" y="1306131"/>
                  <a:pt x="869956" y="1306131"/>
                  <a:pt x="927663" y="1362731"/>
                </a:cubicBezTo>
                <a:cubicBezTo>
                  <a:pt x="985225" y="1419330"/>
                  <a:pt x="985225" y="1511125"/>
                  <a:pt x="927663" y="1567868"/>
                </a:cubicBezTo>
                <a:cubicBezTo>
                  <a:pt x="870102" y="1624467"/>
                  <a:pt x="870102" y="1716262"/>
                  <a:pt x="927663" y="1772862"/>
                </a:cubicBezTo>
                <a:cubicBezTo>
                  <a:pt x="985225" y="1829461"/>
                  <a:pt x="1078580" y="1829461"/>
                  <a:pt x="1136288" y="1772862"/>
                </a:cubicBezTo>
                <a:cubicBezTo>
                  <a:pt x="1193849" y="1716262"/>
                  <a:pt x="1193849" y="1624467"/>
                  <a:pt x="1136288" y="1567868"/>
                </a:cubicBezTo>
                <a:cubicBezTo>
                  <a:pt x="1079018" y="1510838"/>
                  <a:pt x="1079018" y="1419043"/>
                  <a:pt x="1136288" y="1362731"/>
                </a:cubicBezTo>
                <a:lnTo>
                  <a:pt x="1136142" y="1362731"/>
                </a:lnTo>
                <a:cubicBezTo>
                  <a:pt x="1193703" y="1306131"/>
                  <a:pt x="1193703" y="1214337"/>
                  <a:pt x="1136142" y="1157737"/>
                </a:cubicBezTo>
                <a:cubicBezTo>
                  <a:pt x="1078580" y="1101138"/>
                  <a:pt x="985225" y="1101138"/>
                  <a:pt x="927517" y="1157737"/>
                </a:cubicBezTo>
                <a:cubicBezTo>
                  <a:pt x="869956" y="1214337"/>
                  <a:pt x="776601" y="1214337"/>
                  <a:pt x="718893" y="1157737"/>
                </a:cubicBezTo>
                <a:cubicBezTo>
                  <a:pt x="690185" y="1129365"/>
                  <a:pt x="652492" y="1115180"/>
                  <a:pt x="614781" y="1115180"/>
                </a:cubicBezTo>
                <a:close/>
                <a:moveTo>
                  <a:pt x="0" y="0"/>
                </a:moveTo>
                <a:lnTo>
                  <a:pt x="3017522" y="0"/>
                </a:lnTo>
                <a:lnTo>
                  <a:pt x="5019853" y="0"/>
                </a:lnTo>
                <a:lnTo>
                  <a:pt x="8037375" y="0"/>
                </a:lnTo>
                <a:cubicBezTo>
                  <a:pt x="8189485" y="0"/>
                  <a:pt x="8312794" y="123309"/>
                  <a:pt x="8312794" y="275419"/>
                </a:cubicBezTo>
                <a:lnTo>
                  <a:pt x="8312794" y="2723813"/>
                </a:lnTo>
                <a:cubicBezTo>
                  <a:pt x="8312794" y="2875923"/>
                  <a:pt x="8189485" y="2999232"/>
                  <a:pt x="8037375" y="2999232"/>
                </a:cubicBezTo>
                <a:lnTo>
                  <a:pt x="5019853" y="2999232"/>
                </a:lnTo>
                <a:lnTo>
                  <a:pt x="3017522" y="2999232"/>
                </a:lnTo>
                <a:lnTo>
                  <a:pt x="0" y="2999232"/>
                </a:lnTo>
                <a:close/>
              </a:path>
            </a:pathLst>
          </a:custGeom>
          <a:solidFill>
            <a:schemeClr val="bg1">
              <a:alpha val="8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wrap="square" anchor="ctr" anchorCtr="0">
            <a:noAutofit/>
          </a:bodyPr>
          <a:lstStyle>
            <a:lvl1pPr marL="1508760" algn="l">
              <a:lnSpc>
                <a:spcPct val="85000"/>
              </a:lnSpc>
              <a:defRPr kumimoji="0" lang="en-US" sz="2800" b="1" i="0" u="none" strike="noStrike" cap="none" spc="0" normalizeH="0" baseline="0" dirty="0">
                <a:ln>
                  <a:noFill/>
                </a:ln>
                <a:solidFill>
                  <a:schemeClr val="tx2"/>
                </a:solidFill>
                <a:effectLst/>
                <a:uFillTx/>
                <a:latin typeface="Raleway" panose="020B0503030101060003" pitchFamily="34" charset="77"/>
                <a:ea typeface="Raleway" panose="020B0503030101060003" pitchFamily="34" charset="77"/>
                <a:cs typeface="Arial"/>
                <a:sym typeface="Arial"/>
              </a:defRPr>
            </a:lvl1pPr>
          </a:lstStyle>
          <a:p>
            <a:r>
              <a:rPr lang="en-US"/>
              <a:t>Click To Edit Title</a:t>
            </a:r>
          </a:p>
        </p:txBody>
      </p:sp>
      <p:sp>
        <p:nvSpPr>
          <p:cNvPr id="4" name="Freeform 3">
            <a:extLst>
              <a:ext uri="{FF2B5EF4-FFF2-40B4-BE49-F238E27FC236}">
                <a16:creationId xmlns:a16="http://schemas.microsoft.com/office/drawing/2014/main" id="{6E6F0B7F-0C3F-1E11-6C94-AC66DFE1EE68}"/>
              </a:ext>
            </a:extLst>
          </p:cNvPr>
          <p:cNvSpPr/>
          <p:nvPr/>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Slide Number Placeholder 8">
            <a:extLst>
              <a:ext uri="{FF2B5EF4-FFF2-40B4-BE49-F238E27FC236}">
                <a16:creationId xmlns:a16="http://schemas.microsoft.com/office/drawing/2014/main" id="{4D81579E-2BE4-E4A1-C61E-DA9EEED954B6}"/>
              </a:ext>
            </a:extLst>
          </p:cNvPr>
          <p:cNvSpPr>
            <a:spLocks noGrp="1"/>
          </p:cNvSpPr>
          <p:nvPr>
            <p:ph type="sldNum" sz="quarter" idx="16"/>
          </p:nvPr>
        </p:nvSpPr>
        <p:spPr/>
        <p:txBody>
          <a:bodyPr/>
          <a:lstStyle/>
          <a:p>
            <a:fld id="{86CB4B4D-7CA3-9044-876B-883B54F8677D}" type="slidenum">
              <a:rPr lang="en-US" smtClean="0"/>
              <a:pPr/>
              <a:t>‹#›</a:t>
            </a:fld>
            <a:endParaRPr lang="en-US" dirty="0"/>
          </a:p>
        </p:txBody>
      </p:sp>
      <p:pic>
        <p:nvPicPr>
          <p:cNvPr id="12" name="Picture 6">
            <a:extLst>
              <a:ext uri="{FF2B5EF4-FFF2-40B4-BE49-F238E27FC236}">
                <a16:creationId xmlns:a16="http://schemas.microsoft.com/office/drawing/2014/main" id="{C7D31966-4AC7-95B3-B891-2CA626F83B90}"/>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 r="79146"/>
          <a:stretch/>
        </p:blipFill>
        <p:spPr>
          <a:xfrm>
            <a:off x="456942" y="3044600"/>
            <a:ext cx="819634" cy="703902"/>
          </a:xfrm>
          <a:prstGeom prst="rect">
            <a:avLst/>
          </a:prstGeom>
        </p:spPr>
      </p:pic>
      <p:sp>
        <p:nvSpPr>
          <p:cNvPr id="10" name="Freeform 9">
            <a:extLst>
              <a:ext uri="{FF2B5EF4-FFF2-40B4-BE49-F238E27FC236}">
                <a16:creationId xmlns:a16="http://schemas.microsoft.com/office/drawing/2014/main" id="{B649EC96-BB45-A986-D861-5396A097A4E3}"/>
              </a:ext>
            </a:extLst>
          </p:cNvPr>
          <p:cNvSpPr/>
          <p:nvPr userDrawn="1"/>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1" name="Picture 6">
            <a:extLst>
              <a:ext uri="{FF2B5EF4-FFF2-40B4-BE49-F238E27FC236}">
                <a16:creationId xmlns:a16="http://schemas.microsoft.com/office/drawing/2014/main" id="{0FEFAC96-0605-8B8C-9099-88D6FAD3FFCD}"/>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 r="79146"/>
          <a:stretch/>
        </p:blipFill>
        <p:spPr>
          <a:xfrm>
            <a:off x="456942" y="3044600"/>
            <a:ext cx="819634" cy="703902"/>
          </a:xfrm>
          <a:prstGeom prst="rect">
            <a:avLst/>
          </a:prstGeom>
        </p:spPr>
      </p:pic>
      <p:sp>
        <p:nvSpPr>
          <p:cNvPr id="2" name="Text Placeholder 4">
            <a:extLst>
              <a:ext uri="{FF2B5EF4-FFF2-40B4-BE49-F238E27FC236}">
                <a16:creationId xmlns:a16="http://schemas.microsoft.com/office/drawing/2014/main" id="{637A1020-F0D6-6C9B-3039-05557E4D3E3A}"/>
              </a:ext>
            </a:extLst>
          </p:cNvPr>
          <p:cNvSpPr>
            <a:spLocks noGrp="1"/>
          </p:cNvSpPr>
          <p:nvPr>
            <p:ph type="body" sz="quarter" idx="18"/>
          </p:nvPr>
        </p:nvSpPr>
        <p:spPr>
          <a:xfrm>
            <a:off x="1554162" y="3606800"/>
            <a:ext cx="6604317" cy="415925"/>
          </a:xfrm>
        </p:spPr>
        <p:txBody>
          <a:bodyPr/>
          <a:lstStyle>
            <a:lvl1pPr marL="0" indent="0">
              <a:lnSpc>
                <a:spcPct val="90000"/>
              </a:lnSpc>
              <a:buNone/>
              <a:defRPr cap="all" baseline="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443762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and-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1873F5-7FED-0E33-0E1B-F6D607CB32FC}"/>
              </a:ext>
            </a:extLst>
          </p:cNvPr>
          <p:cNvGraphicFramePr>
            <a:graphicFrameLocks noChangeAspect="1"/>
          </p:cNvGraphicFramePr>
          <p:nvPr>
            <p:custDataLst>
              <p:tags r:id="rId1"/>
            </p:custDataLst>
            <p:extLst>
              <p:ext uri="{D42A27DB-BD31-4B8C-83A1-F6EECF244321}">
                <p14:modId xmlns:p14="http://schemas.microsoft.com/office/powerpoint/2010/main" val="4042590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DC1873F5-7FED-0E33-0E1B-F6D607CB32F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02E54BDD-85F3-53B5-207C-591CFA0B6B7E}"/>
              </a:ext>
            </a:extLst>
          </p:cNvPr>
          <p:cNvSpPr>
            <a:spLocks noGrp="1"/>
          </p:cNvSpPr>
          <p:nvPr>
            <p:ph sz="quarter" idx="14"/>
          </p:nvPr>
        </p:nvSpPr>
        <p:spPr>
          <a:xfrm>
            <a:off x="609600" y="1600200"/>
            <a:ext cx="6257731" cy="4402138"/>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noAutofit/>
          </a:bodyPr>
          <a:lstStyle>
            <a:lvl1pPr>
              <a:lnSpc>
                <a:spcPct val="120000"/>
              </a:lnSpc>
              <a:spcBef>
                <a:spcPts val="1000"/>
              </a:spcBef>
              <a:defRPr/>
            </a:lvl1pPr>
            <a:lvl2pPr>
              <a:lnSpc>
                <a:spcPct val="120000"/>
              </a:lnSpc>
              <a:spcBef>
                <a:spcPts val="300"/>
              </a:spcBef>
              <a:defRPr/>
            </a:lvl2pPr>
            <a:lvl3pPr>
              <a:lnSpc>
                <a:spcPct val="120000"/>
              </a:lnSpc>
              <a:spcBef>
                <a:spcPts val="300"/>
              </a:spcBef>
              <a:defRPr/>
            </a:lvl3pPr>
            <a:lvl4pPr>
              <a:lnSpc>
                <a:spcPct val="120000"/>
              </a:lnSpc>
              <a:spcBef>
                <a:spcPts val="300"/>
              </a:spcBef>
              <a:defRPr/>
            </a:lvl4pPr>
            <a:lvl5pPr>
              <a:lnSpc>
                <a:spcPct val="120000"/>
              </a:lnSpc>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68038C00-0120-1675-279A-F2529E73DF9F}"/>
              </a:ext>
            </a:extLst>
          </p:cNvPr>
          <p:cNvSpPr>
            <a:spLocks noGrp="1"/>
          </p:cNvSpPr>
          <p:nvPr>
            <p:ph type="sldNum" sz="quarter" idx="10"/>
          </p:nvPr>
        </p:nvSpPr>
        <p:spPr/>
        <p:txBody>
          <a:body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87F5D486-E967-163F-1E9B-C8B37D6E97FA}"/>
              </a:ext>
            </a:extLst>
          </p:cNvPr>
          <p:cNvSpPr>
            <a:spLocks noGrp="1"/>
          </p:cNvSpPr>
          <p:nvPr>
            <p:ph type="ftr" sz="quarter" idx="11"/>
          </p:nvPr>
        </p:nvSpPr>
        <p:spPr/>
        <p:txBody>
          <a:bodyPr/>
          <a:lstStyle/>
          <a:p>
            <a:r>
              <a:rPr lang="en-US" dirty="0"/>
              <a:t>Proprietary &amp; Confidential: Not for Distribution.</a:t>
            </a:r>
          </a:p>
        </p:txBody>
      </p:sp>
      <p:cxnSp>
        <p:nvCxnSpPr>
          <p:cNvPr id="14" name="Straight Connector 13">
            <a:extLst>
              <a:ext uri="{FF2B5EF4-FFF2-40B4-BE49-F238E27FC236}">
                <a16:creationId xmlns:a16="http://schemas.microsoft.com/office/drawing/2014/main" id="{DB655CBB-88B2-5790-3312-F93B3C05A61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7" name="Title 6">
            <a:extLst>
              <a:ext uri="{FF2B5EF4-FFF2-40B4-BE49-F238E27FC236}">
                <a16:creationId xmlns:a16="http://schemas.microsoft.com/office/drawing/2014/main" id="{AC877001-E75B-9962-B575-3EEEB902297F}"/>
              </a:ext>
            </a:extLst>
          </p:cNvPr>
          <p:cNvSpPr>
            <a:spLocks noGrp="1"/>
          </p:cNvSpPr>
          <p:nvPr>
            <p:ph type="title"/>
          </p:nvPr>
        </p:nvSpPr>
        <p:spPr>
          <a:xfrm>
            <a:off x="609600" y="555170"/>
            <a:ext cx="7482114" cy="441291"/>
          </a:xfrm>
        </p:spPr>
        <p:txBody>
          <a:bodyPr vert="horz"/>
          <a:lstStyle/>
          <a:p>
            <a:r>
              <a:rPr lang="en-US"/>
              <a:t>Click to edit Master title style</a:t>
            </a:r>
          </a:p>
        </p:txBody>
      </p:sp>
      <p:sp>
        <p:nvSpPr>
          <p:cNvPr id="9" name="Content Placeholder 8">
            <a:extLst>
              <a:ext uri="{FF2B5EF4-FFF2-40B4-BE49-F238E27FC236}">
                <a16:creationId xmlns:a16="http://schemas.microsoft.com/office/drawing/2014/main" id="{20EFBDED-2FA7-0472-7EF2-EA0AD5131E83}"/>
              </a:ext>
            </a:extLst>
          </p:cNvPr>
          <p:cNvSpPr>
            <a:spLocks noGrp="1"/>
          </p:cNvSpPr>
          <p:nvPr>
            <p:ph sz="quarter" idx="26"/>
          </p:nvPr>
        </p:nvSpPr>
        <p:spPr>
          <a:xfrm>
            <a:off x="7131702" y="1600200"/>
            <a:ext cx="4033975" cy="3440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2" name="think-cell data - do not delete" hidden="1">
            <a:extLst>
              <a:ext uri="{FF2B5EF4-FFF2-40B4-BE49-F238E27FC236}">
                <a16:creationId xmlns:a16="http://schemas.microsoft.com/office/drawing/2014/main" id="{F3D836DF-7F17-8F82-84AE-84A8831AFAEE}"/>
              </a:ext>
            </a:extLst>
          </p:cNvPr>
          <p:cNvGraphicFramePr>
            <a:graphicFrameLocks noChangeAspect="1"/>
          </p:cNvGraphicFramePr>
          <p:nvPr userDrawn="1">
            <p:custDataLst>
              <p:tags r:id="rId2"/>
            </p:custDataLst>
            <p:extLst>
              <p:ext uri="{D42A27DB-BD31-4B8C-83A1-F6EECF244321}">
                <p14:modId xmlns:p14="http://schemas.microsoft.com/office/powerpoint/2010/main" val="4042590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F3D836DF-7F17-8F82-84AE-84A8831AFAE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1FD6EE3B-E8CF-4F81-B545-881DC83EE411}"/>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5" name="Text Placeholder 6">
            <a:extLst>
              <a:ext uri="{FF2B5EF4-FFF2-40B4-BE49-F238E27FC236}">
                <a16:creationId xmlns:a16="http://schemas.microsoft.com/office/drawing/2014/main" id="{C6C2154A-317D-9069-221E-6CAB7EEDC81D}"/>
              </a:ext>
            </a:extLst>
          </p:cNvPr>
          <p:cNvSpPr>
            <a:spLocks noGrp="1"/>
          </p:cNvSpPr>
          <p:nvPr>
            <p:ph type="body" sz="quarter" idx="25"/>
          </p:nvPr>
        </p:nvSpPr>
        <p:spPr>
          <a:xfrm>
            <a:off x="612648" y="2011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172579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and-Text full widt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1873F5-7FED-0E33-0E1B-F6D607CB32FC}"/>
              </a:ext>
            </a:extLst>
          </p:cNvPr>
          <p:cNvGraphicFramePr>
            <a:graphicFrameLocks noChangeAspect="1"/>
          </p:cNvGraphicFramePr>
          <p:nvPr>
            <p:custDataLst>
              <p:tags r:id="rId1"/>
            </p:custDataLst>
            <p:extLst>
              <p:ext uri="{D42A27DB-BD31-4B8C-83A1-F6EECF244321}">
                <p14:modId xmlns:p14="http://schemas.microsoft.com/office/powerpoint/2010/main" val="4042590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DC1873F5-7FED-0E33-0E1B-F6D607CB32F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02E54BDD-85F3-53B5-207C-591CFA0B6B7E}"/>
              </a:ext>
            </a:extLst>
          </p:cNvPr>
          <p:cNvSpPr>
            <a:spLocks noGrp="1"/>
          </p:cNvSpPr>
          <p:nvPr>
            <p:ph sz="quarter" idx="14"/>
          </p:nvPr>
        </p:nvSpPr>
        <p:spPr>
          <a:xfrm>
            <a:off x="609600" y="1600200"/>
            <a:ext cx="10823553" cy="4740865"/>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lvl1pPr>
              <a:lnSpc>
                <a:spcPct val="120000"/>
              </a:lnSpc>
              <a:spcBef>
                <a:spcPts val="1000"/>
              </a:spcBef>
              <a:defRPr/>
            </a:lvl1pPr>
            <a:lvl2pPr>
              <a:lnSpc>
                <a:spcPct val="120000"/>
              </a:lnSpc>
              <a:spcBef>
                <a:spcPts val="300"/>
              </a:spcBef>
              <a:defRPr/>
            </a:lvl2pPr>
            <a:lvl3pPr>
              <a:lnSpc>
                <a:spcPct val="120000"/>
              </a:lnSpc>
              <a:spcBef>
                <a:spcPts val="300"/>
              </a:spcBef>
              <a:defRPr/>
            </a:lvl3pPr>
            <a:lvl4pPr>
              <a:lnSpc>
                <a:spcPct val="120000"/>
              </a:lnSpc>
              <a:spcBef>
                <a:spcPts val="300"/>
              </a:spcBef>
              <a:defRPr/>
            </a:lvl4pPr>
            <a:lvl5pPr>
              <a:lnSpc>
                <a:spcPct val="120000"/>
              </a:lnSpc>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68038C00-0120-1675-279A-F2529E73DF9F}"/>
              </a:ext>
            </a:extLst>
          </p:cNvPr>
          <p:cNvSpPr>
            <a:spLocks noGrp="1"/>
          </p:cNvSpPr>
          <p:nvPr>
            <p:ph type="sldNum" sz="quarter" idx="10"/>
          </p:nvPr>
        </p:nvSpPr>
        <p:spPr/>
        <p:txBody>
          <a:body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87F5D486-E967-163F-1E9B-C8B37D6E97FA}"/>
              </a:ext>
            </a:extLst>
          </p:cNvPr>
          <p:cNvSpPr>
            <a:spLocks noGrp="1"/>
          </p:cNvSpPr>
          <p:nvPr>
            <p:ph type="ftr" sz="quarter" idx="11"/>
          </p:nvPr>
        </p:nvSpPr>
        <p:spPr/>
        <p:txBody>
          <a:bodyPr/>
          <a:lstStyle/>
          <a:p>
            <a:r>
              <a:rPr lang="en-US" dirty="0"/>
              <a:t>Proprietary &amp; Confidential: Not for Distribution.</a:t>
            </a:r>
          </a:p>
        </p:txBody>
      </p:sp>
      <p:cxnSp>
        <p:nvCxnSpPr>
          <p:cNvPr id="14" name="Straight Connector 13">
            <a:extLst>
              <a:ext uri="{FF2B5EF4-FFF2-40B4-BE49-F238E27FC236}">
                <a16:creationId xmlns:a16="http://schemas.microsoft.com/office/drawing/2014/main" id="{DB655CBB-88B2-5790-3312-F93B3C05A61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7" name="Title 6">
            <a:extLst>
              <a:ext uri="{FF2B5EF4-FFF2-40B4-BE49-F238E27FC236}">
                <a16:creationId xmlns:a16="http://schemas.microsoft.com/office/drawing/2014/main" id="{AC877001-E75B-9962-B575-3EEEB902297F}"/>
              </a:ext>
            </a:extLst>
          </p:cNvPr>
          <p:cNvSpPr>
            <a:spLocks noGrp="1"/>
          </p:cNvSpPr>
          <p:nvPr>
            <p:ph type="title"/>
          </p:nvPr>
        </p:nvSpPr>
        <p:spPr>
          <a:xfrm>
            <a:off x="609600" y="555170"/>
            <a:ext cx="7482114" cy="441291"/>
          </a:xfrm>
        </p:spPr>
        <p:txBody>
          <a:bodyPr vert="horz"/>
          <a:lstStyle/>
          <a:p>
            <a:r>
              <a:rPr lang="en-US"/>
              <a:t>Click to edit Master title style</a:t>
            </a:r>
          </a:p>
        </p:txBody>
      </p:sp>
      <p:graphicFrame>
        <p:nvGraphicFramePr>
          <p:cNvPr id="2" name="think-cell data - do not delete" hidden="1">
            <a:extLst>
              <a:ext uri="{FF2B5EF4-FFF2-40B4-BE49-F238E27FC236}">
                <a16:creationId xmlns:a16="http://schemas.microsoft.com/office/drawing/2014/main" id="{32331F4A-7142-90CE-041A-3FC9A86C296B}"/>
              </a:ext>
            </a:extLst>
          </p:cNvPr>
          <p:cNvGraphicFramePr>
            <a:graphicFrameLocks noChangeAspect="1"/>
          </p:cNvGraphicFramePr>
          <p:nvPr userDrawn="1">
            <p:custDataLst>
              <p:tags r:id="rId2"/>
            </p:custDataLst>
            <p:extLst>
              <p:ext uri="{D42A27DB-BD31-4B8C-83A1-F6EECF244321}">
                <p14:modId xmlns:p14="http://schemas.microsoft.com/office/powerpoint/2010/main" val="4042590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32331F4A-7142-90CE-041A-3FC9A86C296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3E18E9C7-D8B5-DD98-2644-3164CAED72BB}"/>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5" name="Text Placeholder 6">
            <a:extLst>
              <a:ext uri="{FF2B5EF4-FFF2-40B4-BE49-F238E27FC236}">
                <a16:creationId xmlns:a16="http://schemas.microsoft.com/office/drawing/2014/main" id="{CC502848-D831-4F2F-4112-5F30246D87A2}"/>
              </a:ext>
            </a:extLst>
          </p:cNvPr>
          <p:cNvSpPr>
            <a:spLocks noGrp="1"/>
          </p:cNvSpPr>
          <p:nvPr>
            <p:ph type="body" sz="quarter" idx="25"/>
          </p:nvPr>
        </p:nvSpPr>
        <p:spPr>
          <a:xfrm>
            <a:off x="612648" y="2011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387306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and-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1873F5-7FED-0E33-0E1B-F6D607CB32FC}"/>
              </a:ext>
            </a:extLst>
          </p:cNvPr>
          <p:cNvGraphicFramePr>
            <a:graphicFrameLocks noChangeAspect="1"/>
          </p:cNvGraphicFramePr>
          <p:nvPr>
            <p:custDataLst>
              <p:tags r:id="rId1"/>
            </p:custDataLst>
            <p:extLst>
              <p:ext uri="{D42A27DB-BD31-4B8C-83A1-F6EECF244321}">
                <p14:modId xmlns:p14="http://schemas.microsoft.com/office/powerpoint/2010/main" val="4042590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DC1873F5-7FED-0E33-0E1B-F6D607CB32F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02E54BDD-85F3-53B5-207C-591CFA0B6B7E}"/>
              </a:ext>
            </a:extLst>
          </p:cNvPr>
          <p:cNvSpPr>
            <a:spLocks noGrp="1"/>
          </p:cNvSpPr>
          <p:nvPr>
            <p:ph sz="quarter" idx="14"/>
          </p:nvPr>
        </p:nvSpPr>
        <p:spPr>
          <a:xfrm>
            <a:off x="609600" y="1600200"/>
            <a:ext cx="6691086" cy="4402138"/>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noAutofit/>
          </a:bodyPr>
          <a:lstStyle>
            <a:lvl1pPr marL="182880" indent="-182880">
              <a:lnSpc>
                <a:spcPct val="120000"/>
              </a:lnSpc>
              <a:spcBef>
                <a:spcPts val="1000"/>
              </a:spcBef>
              <a:buFont typeface="System Font Regular"/>
              <a:buChar char="+"/>
              <a:defRPr/>
            </a:lvl1pPr>
            <a:lvl2pPr>
              <a:lnSpc>
                <a:spcPct val="120000"/>
              </a:lnSpc>
              <a:spcBef>
                <a:spcPts val="300"/>
              </a:spcBef>
              <a:defRPr/>
            </a:lvl2pPr>
            <a:lvl3pPr>
              <a:lnSpc>
                <a:spcPct val="120000"/>
              </a:lnSpc>
              <a:spcBef>
                <a:spcPts val="300"/>
              </a:spcBef>
              <a:defRPr/>
            </a:lvl3pPr>
            <a:lvl4pPr>
              <a:lnSpc>
                <a:spcPct val="120000"/>
              </a:lnSpc>
              <a:spcBef>
                <a:spcPts val="300"/>
              </a:spcBef>
              <a:defRPr/>
            </a:lvl4pPr>
            <a:lvl5pPr>
              <a:lnSpc>
                <a:spcPct val="120000"/>
              </a:lnSpc>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68038C00-0120-1675-279A-F2529E73DF9F}"/>
              </a:ext>
            </a:extLst>
          </p:cNvPr>
          <p:cNvSpPr>
            <a:spLocks noGrp="1"/>
          </p:cNvSpPr>
          <p:nvPr>
            <p:ph type="sldNum" sz="quarter" idx="10"/>
          </p:nvPr>
        </p:nvSpPr>
        <p:spPr/>
        <p:txBody>
          <a:body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87F5D486-E967-163F-1E9B-C8B37D6E97FA}"/>
              </a:ext>
            </a:extLst>
          </p:cNvPr>
          <p:cNvSpPr>
            <a:spLocks noGrp="1"/>
          </p:cNvSpPr>
          <p:nvPr>
            <p:ph type="ftr" sz="quarter" idx="11"/>
          </p:nvPr>
        </p:nvSpPr>
        <p:spPr/>
        <p:txBody>
          <a:bodyPr/>
          <a:lstStyle/>
          <a:p>
            <a:r>
              <a:rPr lang="en-US" dirty="0"/>
              <a:t>Proprietary &amp; Confidential: Not for Distribution.</a:t>
            </a:r>
          </a:p>
        </p:txBody>
      </p:sp>
      <p:cxnSp>
        <p:nvCxnSpPr>
          <p:cNvPr id="14" name="Straight Connector 13">
            <a:extLst>
              <a:ext uri="{FF2B5EF4-FFF2-40B4-BE49-F238E27FC236}">
                <a16:creationId xmlns:a16="http://schemas.microsoft.com/office/drawing/2014/main" id="{DB655CBB-88B2-5790-3312-F93B3C05A611}"/>
              </a:ext>
            </a:extLst>
          </p:cNvPr>
          <p:cNvCxnSpPr/>
          <p:nvPr/>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7" name="Title 6">
            <a:extLst>
              <a:ext uri="{FF2B5EF4-FFF2-40B4-BE49-F238E27FC236}">
                <a16:creationId xmlns:a16="http://schemas.microsoft.com/office/drawing/2014/main" id="{AC877001-E75B-9962-B575-3EEEB902297F}"/>
              </a:ext>
            </a:extLst>
          </p:cNvPr>
          <p:cNvSpPr>
            <a:spLocks noGrp="1"/>
          </p:cNvSpPr>
          <p:nvPr>
            <p:ph type="title"/>
          </p:nvPr>
        </p:nvSpPr>
        <p:spPr>
          <a:xfrm>
            <a:off x="609600" y="555170"/>
            <a:ext cx="7482114" cy="441291"/>
          </a:xfrm>
        </p:spPr>
        <p:txBody>
          <a:bodyPr vert="horz"/>
          <a:lstStyle/>
          <a:p>
            <a:r>
              <a:rPr lang="en-US"/>
              <a:t>Click to edit Master title style</a:t>
            </a:r>
          </a:p>
        </p:txBody>
      </p:sp>
      <p:sp>
        <p:nvSpPr>
          <p:cNvPr id="9" name="Content Placeholder 8">
            <a:extLst>
              <a:ext uri="{FF2B5EF4-FFF2-40B4-BE49-F238E27FC236}">
                <a16:creationId xmlns:a16="http://schemas.microsoft.com/office/drawing/2014/main" id="{20EFBDED-2FA7-0472-7EF2-EA0AD5131E83}"/>
              </a:ext>
            </a:extLst>
          </p:cNvPr>
          <p:cNvSpPr>
            <a:spLocks noGrp="1"/>
          </p:cNvSpPr>
          <p:nvPr>
            <p:ph sz="quarter" idx="26" hasCustomPrompt="1"/>
          </p:nvPr>
        </p:nvSpPr>
        <p:spPr>
          <a:xfrm>
            <a:off x="7534656" y="1886859"/>
            <a:ext cx="2588831" cy="1998663"/>
          </a:xfrm>
        </p:spPr>
        <p:txBody>
          <a:bodyPr/>
          <a:lstStyle>
            <a:lvl1pPr>
              <a:lnSpc>
                <a:spcPct val="120000"/>
              </a:lnSpc>
              <a:spcBef>
                <a:spcPts val="1000"/>
              </a:spcBef>
              <a:defRPr/>
            </a:lvl1pPr>
            <a:lvl2pPr>
              <a:lnSpc>
                <a:spcPct val="120000"/>
              </a:lnSpc>
              <a:spcBef>
                <a:spcPts val="0"/>
              </a:spcBef>
              <a:defRPr/>
            </a:lvl2pPr>
            <a:lvl3pPr>
              <a:lnSpc>
                <a:spcPct val="120000"/>
              </a:lnSpc>
              <a:spcBef>
                <a:spcPts val="0"/>
              </a:spcBef>
              <a:defRPr/>
            </a:lvl3pPr>
            <a:lvl4pPr>
              <a:lnSpc>
                <a:spcPct val="120000"/>
              </a:lnSpc>
              <a:spcBef>
                <a:spcPts val="0"/>
              </a:spcBef>
              <a:defRPr/>
            </a:lvl4pPr>
            <a:lvl5pPr>
              <a:lnSpc>
                <a:spcPct val="120000"/>
              </a:lnSpc>
              <a:spcBef>
                <a:spcPts val="0"/>
              </a:spcBef>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8BFD2A39-B73F-9117-2C26-9CA1C559BAED}"/>
              </a:ext>
            </a:extLst>
          </p:cNvPr>
          <p:cNvSpPr>
            <a:spLocks noGrp="1"/>
          </p:cNvSpPr>
          <p:nvPr>
            <p:ph type="pic" sz="quarter" idx="27"/>
          </p:nvPr>
        </p:nvSpPr>
        <p:spPr>
          <a:xfrm>
            <a:off x="10206113" y="1600200"/>
            <a:ext cx="1524000" cy="1998663"/>
          </a:xfrm>
          <a:solidFill>
            <a:schemeClr val="bg1">
              <a:lumMod val="95000"/>
            </a:schemeClr>
          </a:solidFill>
        </p:spPr>
        <p:txBody>
          <a:bodyPr/>
          <a:lstStyle/>
          <a:p>
            <a:r>
              <a:rPr lang="en-US" dirty="0"/>
              <a:t>Click icon to add picture</a:t>
            </a:r>
          </a:p>
        </p:txBody>
      </p:sp>
      <p:sp>
        <p:nvSpPr>
          <p:cNvPr id="12" name="Content Placeholder 8">
            <a:extLst>
              <a:ext uri="{FF2B5EF4-FFF2-40B4-BE49-F238E27FC236}">
                <a16:creationId xmlns:a16="http://schemas.microsoft.com/office/drawing/2014/main" id="{6C199A2D-7058-F656-F555-2A7C90964C1D}"/>
              </a:ext>
            </a:extLst>
          </p:cNvPr>
          <p:cNvSpPr>
            <a:spLocks noGrp="1"/>
          </p:cNvSpPr>
          <p:nvPr>
            <p:ph sz="quarter" idx="28" hasCustomPrompt="1"/>
          </p:nvPr>
        </p:nvSpPr>
        <p:spPr>
          <a:xfrm>
            <a:off x="7534656" y="1596572"/>
            <a:ext cx="2588831" cy="362857"/>
          </a:xfrm>
        </p:spPr>
        <p:txBody>
          <a:bodyPr/>
          <a:lstStyle>
            <a:lvl1pPr marL="0" indent="0">
              <a:buNone/>
              <a:defRPr b="1">
                <a:solidFill>
                  <a:schemeClr val="tx2"/>
                </a:solidFill>
              </a:defRPr>
            </a:lvl1pPr>
          </a:lstStyle>
          <a:p>
            <a:pPr lvl="0"/>
            <a:r>
              <a:rPr lang="en-US"/>
              <a:t>Click to edit text</a:t>
            </a:r>
          </a:p>
        </p:txBody>
      </p:sp>
      <p:graphicFrame>
        <p:nvGraphicFramePr>
          <p:cNvPr id="2" name="think-cell data - do not delete" hidden="1">
            <a:extLst>
              <a:ext uri="{FF2B5EF4-FFF2-40B4-BE49-F238E27FC236}">
                <a16:creationId xmlns:a16="http://schemas.microsoft.com/office/drawing/2014/main" id="{A010E586-6AC2-B54E-BECB-C9CB5CB28F90}"/>
              </a:ext>
            </a:extLst>
          </p:cNvPr>
          <p:cNvGraphicFramePr>
            <a:graphicFrameLocks noChangeAspect="1"/>
          </p:cNvGraphicFramePr>
          <p:nvPr userDrawn="1">
            <p:custDataLst>
              <p:tags r:id="rId2"/>
            </p:custDataLst>
            <p:extLst>
              <p:ext uri="{D42A27DB-BD31-4B8C-83A1-F6EECF244321}">
                <p14:modId xmlns:p14="http://schemas.microsoft.com/office/powerpoint/2010/main" val="4042590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A010E586-6AC2-B54E-BECB-C9CB5CB28F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FAC7C93C-03E7-057A-0DB2-0A515B92065B}"/>
              </a:ext>
            </a:extLst>
          </p:cNvPr>
          <p:cNvCxnSpPr/>
          <p:nvPr userDrawn="1"/>
        </p:nvCxnSpPr>
        <p:spPr>
          <a:xfrm>
            <a:off x="609600" y="1193352"/>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5" name="Text Placeholder 6">
            <a:extLst>
              <a:ext uri="{FF2B5EF4-FFF2-40B4-BE49-F238E27FC236}">
                <a16:creationId xmlns:a16="http://schemas.microsoft.com/office/drawing/2014/main" id="{26F99813-00A3-8E9F-81A6-FC217E1F1BBD}"/>
              </a:ext>
            </a:extLst>
          </p:cNvPr>
          <p:cNvSpPr>
            <a:spLocks noGrp="1"/>
          </p:cNvSpPr>
          <p:nvPr>
            <p:ph type="body" sz="quarter" idx="25"/>
          </p:nvPr>
        </p:nvSpPr>
        <p:spPr>
          <a:xfrm>
            <a:off x="612648" y="201168"/>
            <a:ext cx="6400800" cy="356733"/>
          </a:xfrm>
        </p:spPr>
        <p:txBody>
          <a:bodyPr anchor="b" anchorCtr="0"/>
          <a:lstStyle>
            <a:lvl1pPr marL="0" indent="0">
              <a:buFontTx/>
              <a:buNone/>
              <a:defRPr sz="1200" cap="all" baseline="0">
                <a:solidFill>
                  <a:schemeClr val="accent3"/>
                </a:solidFill>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Tree>
    <p:extLst>
      <p:ext uri="{BB962C8B-B14F-4D97-AF65-F5344CB8AC3E}">
        <p14:creationId xmlns:p14="http://schemas.microsoft.com/office/powerpoint/2010/main" val="28225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65"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29845B3-66C3-9E80-B8CD-BD6AFDDEBB7B}"/>
              </a:ext>
            </a:extLst>
          </p:cNvPr>
          <p:cNvGraphicFramePr>
            <a:graphicFrameLocks noChangeAspect="1"/>
          </p:cNvGraphicFramePr>
          <p:nvPr>
            <p:custDataLst>
              <p:tags r:id="rId61"/>
            </p:custDataLst>
            <p:extLst>
              <p:ext uri="{D42A27DB-BD31-4B8C-83A1-F6EECF244321}">
                <p14:modId xmlns:p14="http://schemas.microsoft.com/office/powerpoint/2010/main" val="28329934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2" imgW="7772400" imgH="10058400" progId="TCLayout.ActiveDocument.1">
                  <p:embed/>
                </p:oleObj>
              </mc:Choice>
              <mc:Fallback>
                <p:oleObj name="think-cell Slide" r:id="rId62" imgW="7772400" imgH="10058400" progId="TCLayout.ActiveDocument.1">
                  <p:embed/>
                  <p:pic>
                    <p:nvPicPr>
                      <p:cNvPr id="6" name="think-cell data - do not delete" hidden="1">
                        <a:extLst>
                          <a:ext uri="{FF2B5EF4-FFF2-40B4-BE49-F238E27FC236}">
                            <a16:creationId xmlns:a16="http://schemas.microsoft.com/office/drawing/2014/main" id="{229845B3-66C3-9E80-B8CD-BD6AFDDEBB7B}"/>
                          </a:ext>
                        </a:extLst>
                      </p:cNvPr>
                      <p:cNvPicPr/>
                      <p:nvPr/>
                    </p:nvPicPr>
                    <p:blipFill>
                      <a:blip r:embed="rId63"/>
                      <a:stretch>
                        <a:fillRect/>
                      </a:stretch>
                    </p:blipFill>
                    <p:spPr>
                      <a:xfrm>
                        <a:off x="1588" y="1588"/>
                        <a:ext cx="1227"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393BF7FA-ACCD-E216-D7B8-8BDF37AC27A1}"/>
              </a:ext>
            </a:extLst>
          </p:cNvPr>
          <p:cNvSpPr>
            <a:spLocks noGrp="1"/>
          </p:cNvSpPr>
          <p:nvPr>
            <p:ph type="ftr" sz="quarter" idx="3"/>
          </p:nvPr>
        </p:nvSpPr>
        <p:spPr>
          <a:xfrm>
            <a:off x="438912" y="6539152"/>
            <a:ext cx="2743200" cy="236552"/>
          </a:xfrm>
          <a:prstGeom prst="rect">
            <a:avLst/>
          </a:prstGeom>
        </p:spPr>
        <p:txBody>
          <a:bodyPr vert="horz" lIns="0" tIns="0" rIns="0" bIns="0" rtlCol="0" anchor="t" anchorCtr="0">
            <a:noAutofit/>
          </a:bodyPr>
          <a:lstStyle>
            <a:lvl1pPr algn="l">
              <a:defRPr sz="700">
                <a:solidFill>
                  <a:schemeClr val="tx1">
                    <a:tint val="75000"/>
                  </a:schemeClr>
                </a:solidFill>
                <a:latin typeface="Inter" panose="02000503000000020004" pitchFamily="2" charset="0"/>
                <a:ea typeface="Inter" panose="02000503000000020004" pitchFamily="2" charset="0"/>
                <a:cs typeface="Arial" panose="020B0604020202020204" pitchFamily="34" charset="0"/>
              </a:defRPr>
            </a:lvl1pPr>
          </a:lstStyle>
          <a:p>
            <a:r>
              <a:rPr lang="en-US" dirty="0"/>
              <a:t>Proprietary &amp; Confidential: Not for Distribution.</a:t>
            </a:r>
          </a:p>
        </p:txBody>
      </p:sp>
      <p:sp>
        <p:nvSpPr>
          <p:cNvPr id="2" name="Title Text"/>
          <p:cNvSpPr txBox="1">
            <a:spLocks noGrp="1"/>
          </p:cNvSpPr>
          <p:nvPr>
            <p:ph type="title"/>
          </p:nvPr>
        </p:nvSpPr>
        <p:spPr>
          <a:xfrm>
            <a:off x="609600" y="555170"/>
            <a:ext cx="10972800" cy="44129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b" anchorCtr="0">
            <a:noAutofit/>
          </a:bodyPr>
          <a:lstStyle/>
          <a:p>
            <a:r>
              <a:t>Title Text</a:t>
            </a:r>
          </a:p>
        </p:txBody>
      </p:sp>
      <p:sp>
        <p:nvSpPr>
          <p:cNvPr id="3" name="Body Level One…"/>
          <p:cNvSpPr txBox="1">
            <a:spLocks noGrp="1"/>
          </p:cNvSpPr>
          <p:nvPr>
            <p:ph type="body" idx="1"/>
          </p:nvPr>
        </p:nvSpPr>
        <p:spPr>
          <a:xfrm>
            <a:off x="609600" y="1600200"/>
            <a:ext cx="10972800" cy="426133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774658" y="6537960"/>
            <a:ext cx="339207" cy="237744"/>
          </a:xfrm>
          <a:prstGeom prst="rect">
            <a:avLst/>
          </a:prstGeom>
          <a:ln w="12700">
            <a:miter lim="400000"/>
          </a:ln>
        </p:spPr>
        <p:txBody>
          <a:bodyPr wrap="none" lIns="0" tIns="0" rIns="0" bIns="0" anchor="t" anchorCtr="0">
            <a:noAutofit/>
          </a:bodyPr>
          <a:lstStyle>
            <a:lvl1pPr algn="l">
              <a:defRPr sz="700" b="1" i="0">
                <a:solidFill>
                  <a:srgbClr val="888888"/>
                </a:solidFill>
                <a:latin typeface="Inter" panose="02000503000000020004" pitchFamily="2" charset="0"/>
                <a:ea typeface="Inter" panose="02000503000000020004" pitchFamily="2" charset="0"/>
                <a:cs typeface="Arial" panose="020B0604020202020204" pitchFamily="34" charset="0"/>
                <a:sym typeface="Arial"/>
              </a:defRPr>
            </a:lvl1pPr>
          </a:lstStyle>
          <a:p>
            <a:fld id="{86CB4B4D-7CA3-9044-876B-883B54F8677D}" type="slidenum">
              <a:rPr lang="en-US" smtClean="0"/>
              <a:pPr/>
              <a:t>‹#›</a:t>
            </a:fld>
            <a:endParaRPr lang="en-US" dirty="0"/>
          </a:p>
        </p:txBody>
      </p:sp>
      <p:pic>
        <p:nvPicPr>
          <p:cNvPr id="10" name="Picture 6">
            <a:extLst>
              <a:ext uri="{FF2B5EF4-FFF2-40B4-BE49-F238E27FC236}">
                <a16:creationId xmlns:a16="http://schemas.microsoft.com/office/drawing/2014/main" id="{8E854C2C-F306-4B54-F40C-29664333E8DA}"/>
              </a:ext>
            </a:extLst>
          </p:cNvPr>
          <p:cNvPicPr>
            <a:picLocks noChangeAspect="1"/>
          </p:cNvPicPr>
          <p:nvPr/>
        </p:nvPicPr>
        <p:blipFill>
          <a:blip r:embed="rId64">
            <a:extLst>
              <a:ext uri="{96DAC541-7B7A-43D3-8B79-37D633B846F1}">
                <asvg:svgBlip xmlns:asvg="http://schemas.microsoft.com/office/drawing/2016/SVG/main" r:embed="rId65"/>
              </a:ext>
            </a:extLst>
          </a:blip>
          <a:srcRect/>
          <a:stretch/>
        </p:blipFill>
        <p:spPr>
          <a:xfrm>
            <a:off x="10247390" y="6448208"/>
            <a:ext cx="1327409" cy="237744"/>
          </a:xfrm>
          <a:prstGeom prst="rect">
            <a:avLst/>
          </a:prstGeom>
        </p:spPr>
      </p:pic>
      <p:pic>
        <p:nvPicPr>
          <p:cNvPr id="9" name="Picture 6">
            <a:extLst>
              <a:ext uri="{FF2B5EF4-FFF2-40B4-BE49-F238E27FC236}">
                <a16:creationId xmlns:a16="http://schemas.microsoft.com/office/drawing/2014/main" id="{CDF68539-B71D-CACC-E49F-2A40738BAF8B}"/>
              </a:ext>
            </a:extLst>
          </p:cNvPr>
          <p:cNvPicPr>
            <a:picLocks noChangeAspect="1"/>
          </p:cNvPicPr>
          <p:nvPr userDrawn="1"/>
        </p:nvPicPr>
        <p:blipFill>
          <a:blip r:embed="rId64">
            <a:extLst>
              <a:ext uri="{96DAC541-7B7A-43D3-8B79-37D633B846F1}">
                <asvg:svgBlip xmlns:asvg="http://schemas.microsoft.com/office/drawing/2016/SVG/main" r:embed="rId65"/>
              </a:ext>
            </a:extLst>
          </a:blip>
          <a:srcRect/>
          <a:stretch/>
        </p:blipFill>
        <p:spPr>
          <a:xfrm>
            <a:off x="10247390" y="6448208"/>
            <a:ext cx="1327409" cy="237744"/>
          </a:xfrm>
          <a:prstGeom prst="rect">
            <a:avLst/>
          </a:prstGeom>
        </p:spPr>
      </p:pic>
    </p:spTree>
    <p:extLst>
      <p:ext uri="{BB962C8B-B14F-4D97-AF65-F5344CB8AC3E}">
        <p14:creationId xmlns:p14="http://schemas.microsoft.com/office/powerpoint/2010/main" val="38677779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982" r:id="rId57"/>
    <p:sldLayoutId id="2147483984" r:id="rId58"/>
    <p:sldLayoutId id="2147483983" r:id="rId5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914400" rtl="0" eaLnBrk="1" latinLnBrk="0" hangingPunct="1">
        <a:lnSpc>
          <a:spcPct val="90000"/>
        </a:lnSpc>
        <a:spcBef>
          <a:spcPts val="0"/>
        </a:spcBef>
        <a:spcAft>
          <a:spcPts val="0"/>
        </a:spcAft>
        <a:buClrTx/>
        <a:buSzTx/>
        <a:buFontTx/>
        <a:buNone/>
        <a:tabLst/>
        <a:defRPr sz="2800" b="1" i="0" u="none" strike="noStrike" cap="none" spc="0" baseline="0">
          <a:solidFill>
            <a:schemeClr val="tx2"/>
          </a:solidFill>
          <a:uFillTx/>
          <a:latin typeface="Raleway" panose="020B0503030101060003" pitchFamily="34" charset="77"/>
          <a:ea typeface="Inter" panose="02000503000000020004" pitchFamily="2" charset="0"/>
          <a:cs typeface="Arial"/>
          <a:sym typeface="Arial"/>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p:titleStyle>
    <p:body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p:bodyStyle>
    <p:other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1pPr>
      <a:lvl2pPr marL="0" marR="0" indent="4572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2pPr>
      <a:lvl3pPr marL="0" marR="0" indent="9144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3pPr>
      <a:lvl4pPr marL="0" marR="0" indent="13716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4pPr>
      <a:lvl5pPr marL="0" marR="0" indent="18288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5pPr>
      <a:lvl6pPr marL="0" marR="0" indent="22860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6pPr>
      <a:lvl7pPr marL="0" marR="0" indent="27432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7pPr>
      <a:lvl8pPr marL="0" marR="0" indent="32004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8pPr>
      <a:lvl9pPr marL="0" marR="0" indent="36576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6" orient="horz" pos="2160">
          <p15:clr>
            <a:srgbClr val="F26B43"/>
          </p15:clr>
        </p15:guide>
        <p15:guide id="7" pos="3840">
          <p15:clr>
            <a:srgbClr val="F26B43"/>
          </p15:clr>
        </p15:guide>
        <p15:guide id="8" orient="horz" pos="1008">
          <p15:clr>
            <a:srgbClr val="F26B43"/>
          </p15:clr>
        </p15:guide>
        <p15:guide id="9" pos="2088">
          <p15:clr>
            <a:srgbClr val="F26B43"/>
          </p15:clr>
        </p15:guide>
        <p15:guide id="10" pos="24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hyperlink" Target="https://ww2.arb.ca.gov/sites/default/files/2025-07/FAQs%20Regarding%20California%20Climate%20Disclosure%20Requirements_ver1.pdf"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hyperlink" Target="https://leginfo.legislature.ca.gov/faces/billNavClient.xhtml?bill_id=202320240SB219"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hyperlink" Target="https://www.scsglobalservices.com/blog/preparing-for-the-new-greenhouse-gas-inventory-verification-regulations-our-experts-answer?utm_source=chatgpt.com" TargetMode="External"/><Relationship Id="rId3" Type="http://schemas.openxmlformats.org/officeDocument/2006/relationships/image" Target="../media/image42.png"/><Relationship Id="rId7" Type="http://schemas.openxmlformats.org/officeDocument/2006/relationships/hyperlink" Target="https://ww2.arb.ca.gov/sites/default/files/2025-08/SB%20253%20261%20workshop%20slides%208-21.pdf" TargetMode="External"/><Relationship Id="rId2" Type="http://schemas.openxmlformats.org/officeDocument/2006/relationships/notesSlide" Target="../notesSlides/notesSlide12.xml"/><Relationship Id="rId1" Type="http://schemas.openxmlformats.org/officeDocument/2006/relationships/slideLayout" Target="../slideLayouts/slideLayout31.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 Id="rId9"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48.png"/><Relationship Id="rId2" Type="http://schemas.openxmlformats.org/officeDocument/2006/relationships/slideLayout" Target="../slideLayouts/slideLayout58.xml"/><Relationship Id="rId1" Type="http://schemas.openxmlformats.org/officeDocument/2006/relationships/tags" Target="../tags/tag79.xml"/><Relationship Id="rId6" Type="http://schemas.openxmlformats.org/officeDocument/2006/relationships/image" Target="../media/image47.png"/><Relationship Id="rId5" Type="http://schemas.openxmlformats.org/officeDocument/2006/relationships/image" Target="../media/image40.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8.xml"/><Relationship Id="rId1" Type="http://schemas.openxmlformats.org/officeDocument/2006/relationships/tags" Target="../tags/tag80.xml"/><Relationship Id="rId6" Type="http://schemas.openxmlformats.org/officeDocument/2006/relationships/image" Target="../media/image49.png"/><Relationship Id="rId5" Type="http://schemas.openxmlformats.org/officeDocument/2006/relationships/image" Target="../media/image40.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5.xml"/><Relationship Id="rId7" Type="http://schemas.microsoft.com/office/2007/relationships/hdphoto" Target="../media/hdphoto1.wdp"/><Relationship Id="rId2" Type="http://schemas.openxmlformats.org/officeDocument/2006/relationships/slideLayout" Target="../slideLayouts/slideLayout56.xml"/><Relationship Id="rId1" Type="http://schemas.openxmlformats.org/officeDocument/2006/relationships/tags" Target="../tags/tag81.xml"/><Relationship Id="rId6" Type="http://schemas.openxmlformats.org/officeDocument/2006/relationships/image" Target="../media/image51.png"/><Relationship Id="rId5" Type="http://schemas.openxmlformats.org/officeDocument/2006/relationships/image" Target="../media/image50.emf"/><Relationship Id="rId10" Type="http://schemas.openxmlformats.org/officeDocument/2006/relationships/image" Target="../media/image52.png"/><Relationship Id="rId4" Type="http://schemas.openxmlformats.org/officeDocument/2006/relationships/oleObject" Target="../embeddings/oleObject10.bin"/><Relationship Id="rId9" Type="http://schemas.openxmlformats.org/officeDocument/2006/relationships/image" Target="../media/image37.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hyperlink" Target="https://www.scsglobalservices.com/blog/preparing-for-the-new-greenhouse-gas-inventory-verification-regulations-our-experts-answer?utm_source=chatgpt.com" TargetMode="External"/><Relationship Id="rId3" Type="http://schemas.openxmlformats.org/officeDocument/2006/relationships/image" Target="../media/image43.svg"/><Relationship Id="rId7" Type="http://schemas.openxmlformats.org/officeDocument/2006/relationships/hyperlink" Target="https://ww2.arb.ca.gov/sites/default/files/2025-08/SB%20253%20261%20workshop%20slides%208-21.pdf" TargetMode="External"/><Relationship Id="rId2" Type="http://schemas.openxmlformats.org/officeDocument/2006/relationships/image" Target="../media/image42.png"/><Relationship Id="rId1" Type="http://schemas.openxmlformats.org/officeDocument/2006/relationships/slideLayout" Target="../slideLayouts/slideLayout31.xml"/><Relationship Id="rId6" Type="http://schemas.openxmlformats.org/officeDocument/2006/relationships/image" Target="../media/image53.png"/><Relationship Id="rId5" Type="http://schemas.openxmlformats.org/officeDocument/2006/relationships/image" Target="../media/image45.sv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jpe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notesSlide" Target="../notesSlides/notesSlide2.xml"/><Relationship Id="rId1" Type="http://schemas.openxmlformats.org/officeDocument/2006/relationships/slideLayout" Target="../slideLayouts/slideLayout52.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png"/><Relationship Id="rId9"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notesSlide" Target="../notesSlides/notesSlide4.xml"/><Relationship Id="rId7"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image" Target="../media/image36.emf"/><Relationship Id="rId5" Type="http://schemas.openxmlformats.org/officeDocument/2006/relationships/oleObject" Target="../embeddings/oleObject8.bin"/><Relationship Id="rId4" Type="http://schemas.openxmlformats.org/officeDocument/2006/relationships/image" Target="../media/image35.jpeg"/></Relationships>
</file>

<file path=ppt/slides/_rels/slide5.xml.rels><?xml version="1.0" encoding="UTF-8" standalone="yes"?>
<Relationships xmlns="http://schemas.openxmlformats.org/package/2006/relationships"><Relationship Id="rId3" Type="http://schemas.openxmlformats.org/officeDocument/2006/relationships/hyperlink" Target="https://ww2.arb.ca.gov/our-work/programs/corporate-ghg-reporting/resources" TargetMode="External"/><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xml"/><Relationship Id="rId1" Type="http://schemas.openxmlformats.org/officeDocument/2006/relationships/tags" Target="../tags/tag75.xml"/><Relationship Id="rId6" Type="http://schemas.openxmlformats.org/officeDocument/2006/relationships/hyperlink" Target="https://ww2.arb.ca.gov/sites/default/files/2025-09/Climate%20Related%20Financial%20Risk%20Report%20Checklist.pdf" TargetMode="External"/><Relationship Id="rId5" Type="http://schemas.openxmlformats.org/officeDocument/2006/relationships/image" Target="../media/image38.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9.jpeg"/><Relationship Id="rId2" Type="http://schemas.openxmlformats.org/officeDocument/2006/relationships/slideLayout" Target="../slideLayouts/slideLayout33.xml"/><Relationship Id="rId1" Type="http://schemas.openxmlformats.org/officeDocument/2006/relationships/tags" Target="../tags/tag76.xml"/><Relationship Id="rId6" Type="http://schemas.openxmlformats.org/officeDocument/2006/relationships/hyperlink" Target="https://view.officeapps.live.com/op/view.aspx?src=https%3A%2F%2Fww2.arb.ca.gov%2Fsites%2Fdefault%2Ffiles%2F2025-10%2FSB253_Draft_Scope1_2_GHG_Template.xlsx&amp;wdOrigin=BROWSELINK" TargetMode="External"/><Relationship Id="rId5" Type="http://schemas.openxmlformats.org/officeDocument/2006/relationships/image" Target="../media/image38.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8.xml"/><Relationship Id="rId1" Type="http://schemas.openxmlformats.org/officeDocument/2006/relationships/tags" Target="../tags/tag77.xml"/><Relationship Id="rId5" Type="http://schemas.openxmlformats.org/officeDocument/2006/relationships/image" Target="../media/image40.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notesSlide" Target="../notesSlides/notesSlide9.xml"/><Relationship Id="rId7"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image" Target="../media/image36.emf"/><Relationship Id="rId5" Type="http://schemas.openxmlformats.org/officeDocument/2006/relationships/oleObject" Target="../embeddings/oleObject8.bin"/><Relationship Id="rId4" Type="http://schemas.openxmlformats.org/officeDocument/2006/relationships/image" Target="../media/image4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CB34F48B-D6E5-0713-726D-DBCDCF588033}"/>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6452" b="6452"/>
          <a:stretch/>
        </p:blipFill>
        <p:spPr/>
      </p:pic>
      <p:sp>
        <p:nvSpPr>
          <p:cNvPr id="3" name="Content Placeholder 2">
            <a:extLst>
              <a:ext uri="{FF2B5EF4-FFF2-40B4-BE49-F238E27FC236}">
                <a16:creationId xmlns:a16="http://schemas.microsoft.com/office/drawing/2014/main" id="{B582F056-D7B6-9695-74B3-0BB55BE801F5}"/>
              </a:ext>
            </a:extLst>
          </p:cNvPr>
          <p:cNvSpPr>
            <a:spLocks noGrp="1"/>
          </p:cNvSpPr>
          <p:nvPr>
            <p:ph sz="quarter" idx="15"/>
          </p:nvPr>
        </p:nvSpPr>
        <p:spPr/>
        <p:txBody>
          <a:bodyPr/>
          <a:lstStyle/>
          <a:p>
            <a:r>
              <a:rPr lang="en-US" dirty="0"/>
              <a:t>California Climate Disclosure Preparation</a:t>
            </a:r>
          </a:p>
        </p:txBody>
      </p:sp>
      <p:sp>
        <p:nvSpPr>
          <p:cNvPr id="5" name="Footer Placeholder 4">
            <a:extLst>
              <a:ext uri="{FF2B5EF4-FFF2-40B4-BE49-F238E27FC236}">
                <a16:creationId xmlns:a16="http://schemas.microsoft.com/office/drawing/2014/main" id="{182C9609-7BA0-861C-D089-29C689E21BB2}"/>
              </a:ext>
            </a:extLst>
          </p:cNvPr>
          <p:cNvSpPr>
            <a:spLocks noGrp="1"/>
          </p:cNvSpPr>
          <p:nvPr>
            <p:ph type="ftr" sz="quarter" idx="11"/>
          </p:nvPr>
        </p:nvSpPr>
        <p:spPr/>
        <p:txBody>
          <a:bodyPr/>
          <a:lstStyle/>
          <a:p>
            <a:r>
              <a:rPr lang="en-US" dirty="0"/>
              <a:t>Proprietary &amp; Confidential: Not for Distribution.</a:t>
            </a:r>
          </a:p>
        </p:txBody>
      </p:sp>
      <p:sp>
        <p:nvSpPr>
          <p:cNvPr id="6" name="Slide Number Placeholder 5">
            <a:extLst>
              <a:ext uri="{FF2B5EF4-FFF2-40B4-BE49-F238E27FC236}">
                <a16:creationId xmlns:a16="http://schemas.microsoft.com/office/drawing/2014/main" id="{4C6F4691-3CDC-14E4-6353-03D93FE9D609}"/>
              </a:ext>
            </a:extLst>
          </p:cNvPr>
          <p:cNvSpPr>
            <a:spLocks noGrp="1"/>
          </p:cNvSpPr>
          <p:nvPr>
            <p:ph type="sldNum" sz="quarter" idx="12"/>
          </p:nvPr>
        </p:nvSpPr>
        <p:spPr/>
        <p:txBody>
          <a:bodyPr/>
          <a:lstStyle/>
          <a:p>
            <a:fld id="{B42C0624-09E4-9E4F-9228-01F5B6A588DD}" type="slidenum">
              <a:rPr lang="en-US" smtClean="0"/>
              <a:pPr/>
              <a:t>1</a:t>
            </a:fld>
            <a:endParaRPr lang="en-US" dirty="0"/>
          </a:p>
        </p:txBody>
      </p:sp>
      <p:sp>
        <p:nvSpPr>
          <p:cNvPr id="12" name="Text Placeholder 11">
            <a:extLst>
              <a:ext uri="{FF2B5EF4-FFF2-40B4-BE49-F238E27FC236}">
                <a16:creationId xmlns:a16="http://schemas.microsoft.com/office/drawing/2014/main" id="{4A3AB31E-24CD-AF2F-2D04-EA7BA944DCAE}"/>
              </a:ext>
            </a:extLst>
          </p:cNvPr>
          <p:cNvSpPr>
            <a:spLocks noGrp="1"/>
          </p:cNvSpPr>
          <p:nvPr>
            <p:ph type="body" sz="quarter" idx="13"/>
          </p:nvPr>
        </p:nvSpPr>
        <p:spPr>
          <a:xfrm>
            <a:off x="616688" y="4057650"/>
            <a:ext cx="7147691" cy="870966"/>
          </a:xfrm>
        </p:spPr>
        <p:txBody>
          <a:bodyPr/>
          <a:lstStyle/>
          <a:p>
            <a:r>
              <a:rPr lang="en-US" dirty="0"/>
              <a:t>Amanda Mast, Director </a:t>
            </a:r>
          </a:p>
          <a:p>
            <a:r>
              <a:rPr lang="en-US" dirty="0"/>
              <a:t>Wilson Fong, Manager</a:t>
            </a:r>
          </a:p>
        </p:txBody>
      </p:sp>
      <p:sp>
        <p:nvSpPr>
          <p:cNvPr id="8" name="Text Placeholder 7">
            <a:extLst>
              <a:ext uri="{FF2B5EF4-FFF2-40B4-BE49-F238E27FC236}">
                <a16:creationId xmlns:a16="http://schemas.microsoft.com/office/drawing/2014/main" id="{79DA4177-BA0D-46E8-C4EF-166D346B1CCA}"/>
              </a:ext>
            </a:extLst>
          </p:cNvPr>
          <p:cNvSpPr>
            <a:spLocks noGrp="1"/>
          </p:cNvSpPr>
          <p:nvPr>
            <p:ph type="body" sz="quarter" idx="18"/>
          </p:nvPr>
        </p:nvSpPr>
        <p:spPr/>
        <p:txBody>
          <a:bodyPr/>
          <a:lstStyle/>
          <a:p>
            <a:r>
              <a:rPr lang="en-US" sz="1600" dirty="0"/>
              <a:t>TFI WEBINAR</a:t>
            </a:r>
          </a:p>
        </p:txBody>
      </p:sp>
    </p:spTree>
    <p:extLst>
      <p:ext uri="{BB962C8B-B14F-4D97-AF65-F5344CB8AC3E}">
        <p14:creationId xmlns:p14="http://schemas.microsoft.com/office/powerpoint/2010/main" val="39934496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5E24CA-DF0C-9EDB-D346-A190FCCECFF1}"/>
              </a:ext>
            </a:extLst>
          </p:cNvPr>
          <p:cNvSpPr>
            <a:spLocks noGrp="1"/>
          </p:cNvSpPr>
          <p:nvPr>
            <p:ph sz="quarter" idx="18"/>
          </p:nvPr>
        </p:nvSpPr>
        <p:spPr>
          <a:xfrm>
            <a:off x="8199120" y="2418922"/>
            <a:ext cx="3454400" cy="3450837"/>
          </a:xfrm>
          <a:ln>
            <a:solidFill>
              <a:schemeClr val="accent1"/>
            </a:solidFill>
          </a:ln>
        </p:spPr>
        <p:txBody>
          <a:bodyPr tIns="72000" rIns="72000"/>
          <a:lstStyle/>
          <a:p>
            <a:pPr marL="72000" indent="0">
              <a:buNone/>
            </a:pPr>
            <a:r>
              <a:rPr lang="en-US" b="1" dirty="0">
                <a:solidFill>
                  <a:schemeClr val="accent6"/>
                </a:solidFill>
              </a:rPr>
              <a:t>Senate Bill No. 219</a:t>
            </a:r>
          </a:p>
          <a:p>
            <a:pPr marL="72000" indent="0">
              <a:buNone/>
            </a:pPr>
            <a:r>
              <a:rPr lang="en-US" i="1" dirty="0"/>
              <a:t>(B) If a covered entity does not complete a report consistent with all required disclosures pursuant to clause (i) of subparagraph (A), the covered entity shall provide the recommended disclosures to the best of its ability, </a:t>
            </a:r>
            <a:r>
              <a:rPr lang="en-US" b="1" i="1" dirty="0"/>
              <a:t>provide a detailed explanation for any reporting gaps, and describe steps the covered entity will take to prepare complete disclosures</a:t>
            </a:r>
            <a:r>
              <a:rPr lang="en-US" i="1" dirty="0"/>
              <a:t>.</a:t>
            </a:r>
          </a:p>
          <a:p>
            <a:pPr marL="72000" indent="0">
              <a:buNone/>
            </a:pPr>
            <a:endParaRPr lang="en-US" dirty="0"/>
          </a:p>
        </p:txBody>
      </p:sp>
      <p:sp>
        <p:nvSpPr>
          <p:cNvPr id="3" name="Content Placeholder 2">
            <a:extLst>
              <a:ext uri="{FF2B5EF4-FFF2-40B4-BE49-F238E27FC236}">
                <a16:creationId xmlns:a16="http://schemas.microsoft.com/office/drawing/2014/main" id="{B9C9503F-B619-ED8C-40DC-F2D618C280EB}"/>
              </a:ext>
            </a:extLst>
          </p:cNvPr>
          <p:cNvSpPr>
            <a:spLocks noGrp="1"/>
          </p:cNvSpPr>
          <p:nvPr>
            <p:ph sz="quarter" idx="17"/>
          </p:nvPr>
        </p:nvSpPr>
        <p:spPr>
          <a:xfrm>
            <a:off x="4404360" y="2418922"/>
            <a:ext cx="3454400" cy="3450837"/>
          </a:xfrm>
          <a:ln>
            <a:solidFill>
              <a:schemeClr val="accent1"/>
            </a:solidFill>
          </a:ln>
        </p:spPr>
        <p:txBody>
          <a:bodyPr tIns="72000" rIns="72000"/>
          <a:lstStyle/>
          <a:p>
            <a:pPr marL="72000" indent="0">
              <a:buNone/>
            </a:pPr>
            <a:r>
              <a:rPr lang="en-US" b="1" dirty="0">
                <a:solidFill>
                  <a:schemeClr val="accent6"/>
                </a:solidFill>
              </a:rPr>
              <a:t>FAQs Regarding California Climate Disclosure Requirements</a:t>
            </a:r>
          </a:p>
          <a:p>
            <a:pPr marL="72000" indent="0">
              <a:buNone/>
            </a:pPr>
            <a:r>
              <a:rPr lang="en-US" i="1" dirty="0"/>
              <a:t>As outlined in Health and Safety Code § 38533, potential penalties against entities for violations are tied to several factors, including whether the violator took good faith measures to comply and when those measures were taken. </a:t>
            </a:r>
            <a:r>
              <a:rPr lang="en-US" b="1" i="1" dirty="0"/>
              <a:t>This “good faith” consideration is part of CARB’s enforcement discretion in considering penalties for reporting violations</a:t>
            </a:r>
            <a:r>
              <a:rPr lang="en-US" b="1" dirty="0"/>
              <a:t>.</a:t>
            </a:r>
          </a:p>
        </p:txBody>
      </p:sp>
      <p:sp>
        <p:nvSpPr>
          <p:cNvPr id="4" name="Content Placeholder 3">
            <a:extLst>
              <a:ext uri="{FF2B5EF4-FFF2-40B4-BE49-F238E27FC236}">
                <a16:creationId xmlns:a16="http://schemas.microsoft.com/office/drawing/2014/main" id="{B9CCFC40-6E33-460A-B62B-D8863486E878}"/>
              </a:ext>
            </a:extLst>
          </p:cNvPr>
          <p:cNvSpPr>
            <a:spLocks noGrp="1"/>
          </p:cNvSpPr>
          <p:nvPr>
            <p:ph sz="quarter" idx="16"/>
          </p:nvPr>
        </p:nvSpPr>
        <p:spPr>
          <a:xfrm>
            <a:off x="609600" y="2418922"/>
            <a:ext cx="3454400" cy="3450837"/>
          </a:xfrm>
          <a:ln>
            <a:solidFill>
              <a:schemeClr val="accent1"/>
            </a:solidFill>
          </a:ln>
        </p:spPr>
        <p:txBody>
          <a:bodyPr tIns="72000" rIns="72000"/>
          <a:lstStyle/>
          <a:p>
            <a:pPr marL="72000" indent="0">
              <a:buNone/>
            </a:pPr>
            <a:r>
              <a:rPr lang="en-US" b="1" dirty="0">
                <a:solidFill>
                  <a:schemeClr val="accent6"/>
                </a:solidFill>
              </a:rPr>
              <a:t>The Climate Corporate Data Accountability Act – Enforcement Notice</a:t>
            </a:r>
          </a:p>
          <a:p>
            <a:pPr marL="72000" indent="0">
              <a:buNone/>
            </a:pPr>
            <a:r>
              <a:rPr lang="en-US" b="1" i="1" dirty="0"/>
              <a:t>CARB will exercise enforcement discretion for the first reporting cycle, on the condition that entities demonstrate good faith efforts to comply with the requirements of the law. </a:t>
            </a:r>
            <a:r>
              <a:rPr lang="en-US" i="1" dirty="0"/>
              <a:t>This enforcement discretion is aimed at supporting entities actively working toward full compliance. </a:t>
            </a:r>
          </a:p>
        </p:txBody>
      </p:sp>
      <p:sp>
        <p:nvSpPr>
          <p:cNvPr id="5" name="Slide Number Placeholder 4">
            <a:extLst>
              <a:ext uri="{FF2B5EF4-FFF2-40B4-BE49-F238E27FC236}">
                <a16:creationId xmlns:a16="http://schemas.microsoft.com/office/drawing/2014/main" id="{BEDF73BA-5C89-8D8F-4FFC-5502CAFB712E}"/>
              </a:ext>
            </a:extLst>
          </p:cNvPr>
          <p:cNvSpPr>
            <a:spLocks noGrp="1"/>
          </p:cNvSpPr>
          <p:nvPr>
            <p:ph type="sldNum" sz="quarter" idx="10"/>
          </p:nvPr>
        </p:nvSpPr>
        <p:spPr/>
        <p:txBody>
          <a:bodyPr/>
          <a:lstStyle/>
          <a:p>
            <a:fld id="{86CB4B4D-7CA3-9044-876B-883B54F8677D}" type="slidenum">
              <a:rPr lang="en-US" smtClean="0"/>
              <a:pPr/>
              <a:t>10</a:t>
            </a:fld>
            <a:endParaRPr lang="en-US" dirty="0"/>
          </a:p>
        </p:txBody>
      </p:sp>
      <p:sp>
        <p:nvSpPr>
          <p:cNvPr id="6" name="Footer Placeholder 5">
            <a:extLst>
              <a:ext uri="{FF2B5EF4-FFF2-40B4-BE49-F238E27FC236}">
                <a16:creationId xmlns:a16="http://schemas.microsoft.com/office/drawing/2014/main" id="{4A7B3142-2328-DD8D-29BB-641639A9EF45}"/>
              </a:ext>
            </a:extLst>
          </p:cNvPr>
          <p:cNvSpPr>
            <a:spLocks noGrp="1"/>
          </p:cNvSpPr>
          <p:nvPr>
            <p:ph type="ftr" sz="quarter" idx="11"/>
          </p:nvPr>
        </p:nvSpPr>
        <p:spPr/>
        <p:txBody>
          <a:bodyPr/>
          <a:lstStyle/>
          <a:p>
            <a:r>
              <a:rPr lang="en-US" dirty="0"/>
              <a:t>Proprietary &amp; Confidential: Not for Distribution.</a:t>
            </a:r>
          </a:p>
        </p:txBody>
      </p:sp>
      <p:sp>
        <p:nvSpPr>
          <p:cNvPr id="7" name="Title 6">
            <a:extLst>
              <a:ext uri="{FF2B5EF4-FFF2-40B4-BE49-F238E27FC236}">
                <a16:creationId xmlns:a16="http://schemas.microsoft.com/office/drawing/2014/main" id="{5FA0B45D-5636-7362-8071-EF3610F4E2C4}"/>
              </a:ext>
            </a:extLst>
          </p:cNvPr>
          <p:cNvSpPr>
            <a:spLocks noGrp="1"/>
          </p:cNvSpPr>
          <p:nvPr>
            <p:ph type="title"/>
          </p:nvPr>
        </p:nvSpPr>
        <p:spPr/>
        <p:txBody>
          <a:bodyPr/>
          <a:lstStyle/>
          <a:p>
            <a:r>
              <a:rPr lang="en-US" dirty="0"/>
              <a:t>What Are the Minimum Requirements?</a:t>
            </a:r>
          </a:p>
        </p:txBody>
      </p:sp>
      <p:sp>
        <p:nvSpPr>
          <p:cNvPr id="9" name="TextBox 8">
            <a:extLst>
              <a:ext uri="{FF2B5EF4-FFF2-40B4-BE49-F238E27FC236}">
                <a16:creationId xmlns:a16="http://schemas.microsoft.com/office/drawing/2014/main" id="{3A294959-9FEC-E322-882B-52DB4F7E2D2E}"/>
              </a:ext>
            </a:extLst>
          </p:cNvPr>
          <p:cNvSpPr txBox="1"/>
          <p:nvPr/>
        </p:nvSpPr>
        <p:spPr>
          <a:xfrm>
            <a:off x="609600" y="5884932"/>
            <a:ext cx="7589520" cy="8309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rIns="0">
            <a:spAutoFit/>
          </a:bodyPr>
          <a:lstStyle/>
          <a:p>
            <a:pPr algn="just"/>
            <a:r>
              <a:rPr lang="en-US" sz="800" dirty="0">
                <a:hlinkClick r:id="rId3">
                  <a:extLst>
                    <a:ext uri="{A12FA001-AC4F-418D-AE19-62706E023703}">
                      <ahyp:hlinkClr xmlns:ahyp="http://schemas.microsoft.com/office/drawing/2018/hyperlinkcolor" val="tx"/>
                    </a:ext>
                  </a:extLst>
                </a:hlinkClick>
              </a:rPr>
              <a:t>Sources:</a:t>
            </a:r>
          </a:p>
          <a:p>
            <a:pPr algn="just"/>
            <a:r>
              <a:rPr lang="en-US" sz="800" u="sng" dirty="0">
                <a:hlinkClick r:id="rId3">
                  <a:extLst>
                    <a:ext uri="{A12FA001-AC4F-418D-AE19-62706E023703}">
                      <ahyp:hlinkClr xmlns:ahyp="http://schemas.microsoft.com/office/drawing/2018/hyperlinkcolor" val="tx"/>
                    </a:ext>
                  </a:extLst>
                </a:hlinkClick>
              </a:rPr>
              <a:t>CARB Enforcement Notice</a:t>
            </a:r>
          </a:p>
          <a:p>
            <a:pPr algn="just"/>
            <a:r>
              <a:rPr lang="en-US" sz="800" u="sng" dirty="0">
                <a:hlinkClick r:id="rId3">
                  <a:extLst>
                    <a:ext uri="{A12FA001-AC4F-418D-AE19-62706E023703}">
                      <ahyp:hlinkClr xmlns:ahyp="http://schemas.microsoft.com/office/drawing/2018/hyperlinkcolor" val="tx"/>
                    </a:ext>
                  </a:extLst>
                </a:hlinkClick>
              </a:rPr>
              <a:t>CARB "FAQs Regarding California Climate Disclosure Requirements“</a:t>
            </a:r>
            <a:endParaRPr lang="en-US" sz="800" u="sng" dirty="0"/>
          </a:p>
          <a:p>
            <a:pPr algn="just"/>
            <a:r>
              <a:rPr lang="en-US" sz="800" u="sng" dirty="0">
                <a:hlinkClick r:id="rId4">
                  <a:extLst>
                    <a:ext uri="{A12FA001-AC4F-418D-AE19-62706E023703}">
                      <ahyp:hlinkClr xmlns:ahyp="http://schemas.microsoft.com/office/drawing/2018/hyperlinkcolor" val="tx"/>
                    </a:ext>
                  </a:extLst>
                </a:hlinkClick>
              </a:rPr>
              <a:t>California Senate Bill 219</a:t>
            </a:r>
            <a:endParaRPr lang="en-US" sz="800" u="sng" dirty="0"/>
          </a:p>
          <a:p>
            <a:pPr algn="just"/>
            <a:endParaRPr lang="en-US" sz="800" u="sng" dirty="0"/>
          </a:p>
          <a:p>
            <a:pPr algn="just"/>
            <a:endParaRPr lang="en-US" sz="800" i="1" dirty="0">
              <a:latin typeface="Inter" panose="020B0502030000000004" pitchFamily="34" charset="0"/>
              <a:ea typeface="Inter" panose="020B0502030000000004" pitchFamily="34" charset="0"/>
            </a:endParaRPr>
          </a:p>
        </p:txBody>
      </p:sp>
      <p:sp>
        <p:nvSpPr>
          <p:cNvPr id="11" name="Content Placeholder 12">
            <a:extLst>
              <a:ext uri="{FF2B5EF4-FFF2-40B4-BE49-F238E27FC236}">
                <a16:creationId xmlns:a16="http://schemas.microsoft.com/office/drawing/2014/main" id="{4ECD2020-E4D0-263D-1607-8338B4B967FF}"/>
              </a:ext>
            </a:extLst>
          </p:cNvPr>
          <p:cNvSpPr txBox="1">
            <a:spLocks/>
          </p:cNvSpPr>
          <p:nvPr/>
        </p:nvSpPr>
        <p:spPr>
          <a:xfrm>
            <a:off x="609597" y="1313282"/>
            <a:ext cx="10823553" cy="606123"/>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p:spPr>
        <p:txBody>
          <a:bodyPr lIns="0"/>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Font typeface="System Font Regular"/>
              <a:buNone/>
            </a:pPr>
            <a:r>
              <a:rPr lang="en-US" sz="1600" kern="0" dirty="0"/>
              <a:t>Climate risk management and emissions accounting is a journey over time. Guidance shared to-date indicates some leniency for companies who are putting in a “good faith effort” to comply with requirements. Collaboration with legal teams to determine risk tolerance is key. </a:t>
            </a:r>
          </a:p>
        </p:txBody>
      </p:sp>
    </p:spTree>
    <p:extLst>
      <p:ext uri="{BB962C8B-B14F-4D97-AF65-F5344CB8AC3E}">
        <p14:creationId xmlns:p14="http://schemas.microsoft.com/office/powerpoint/2010/main" val="31226554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F8FF720C-F1C1-904B-A481-369FFF2204CA}"/>
              </a:ext>
            </a:extLst>
          </p:cNvPr>
          <p:cNvGrpSpPr/>
          <p:nvPr/>
        </p:nvGrpSpPr>
        <p:grpSpPr>
          <a:xfrm>
            <a:off x="8066523" y="3251847"/>
            <a:ext cx="1952197" cy="1952740"/>
            <a:chOff x="-1185876" y="3234131"/>
            <a:chExt cx="2023259" cy="2023669"/>
          </a:xfrm>
        </p:grpSpPr>
        <p:sp>
          <p:nvSpPr>
            <p:cNvPr id="21" name="Teardrop 20">
              <a:extLst>
                <a:ext uri="{FF2B5EF4-FFF2-40B4-BE49-F238E27FC236}">
                  <a16:creationId xmlns:a16="http://schemas.microsoft.com/office/drawing/2014/main" id="{36FA1690-BEE7-B9D1-DC3F-975CF4046FD5}"/>
                </a:ext>
              </a:extLst>
            </p:cNvPr>
            <p:cNvSpPr/>
            <p:nvPr/>
          </p:nvSpPr>
          <p:spPr>
            <a:xfrm rot="2700000">
              <a:off x="-1184099" y="3234131"/>
              <a:ext cx="2021482" cy="2021482"/>
            </a:xfrm>
            <a:prstGeom prst="teardrop">
              <a:avLst/>
            </a:prstGeom>
            <a:solidFill>
              <a:schemeClr val="accent3">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22" name="Block Arc 21">
              <a:extLst>
                <a:ext uri="{FF2B5EF4-FFF2-40B4-BE49-F238E27FC236}">
                  <a16:creationId xmlns:a16="http://schemas.microsoft.com/office/drawing/2014/main" id="{9F6EDF06-63F6-6FB4-9CA6-B82919670F3C}"/>
                </a:ext>
              </a:extLst>
            </p:cNvPr>
            <p:cNvSpPr/>
            <p:nvPr/>
          </p:nvSpPr>
          <p:spPr>
            <a:xfrm rot="16200000">
              <a:off x="-1189476" y="3238200"/>
              <a:ext cx="2023200" cy="2016000"/>
            </a:xfrm>
            <a:prstGeom prst="blockArc">
              <a:avLst>
                <a:gd name="adj1" fmla="val 10830229"/>
                <a:gd name="adj2" fmla="val 40749"/>
                <a:gd name="adj3" fmla="val 13230"/>
              </a:avLst>
            </a:prstGeom>
            <a:solidFill>
              <a:schemeClr val="bg2">
                <a:alpha val="3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grpSp>
        <p:nvGrpSpPr>
          <p:cNvPr id="10" name="Group 9">
            <a:extLst>
              <a:ext uri="{FF2B5EF4-FFF2-40B4-BE49-F238E27FC236}">
                <a16:creationId xmlns:a16="http://schemas.microsoft.com/office/drawing/2014/main" id="{15C1078B-330C-2FFB-AD06-9CBB4FD9378B}"/>
              </a:ext>
            </a:extLst>
          </p:cNvPr>
          <p:cNvGrpSpPr/>
          <p:nvPr/>
        </p:nvGrpSpPr>
        <p:grpSpPr>
          <a:xfrm>
            <a:off x="5969428" y="3252450"/>
            <a:ext cx="1950482" cy="1952740"/>
            <a:chOff x="-1184099" y="3234131"/>
            <a:chExt cx="2021482" cy="2023669"/>
          </a:xfrm>
        </p:grpSpPr>
        <p:sp>
          <p:nvSpPr>
            <p:cNvPr id="16" name="Teardrop 15">
              <a:extLst>
                <a:ext uri="{FF2B5EF4-FFF2-40B4-BE49-F238E27FC236}">
                  <a16:creationId xmlns:a16="http://schemas.microsoft.com/office/drawing/2014/main" id="{400DAB7F-AFBC-3D50-7F46-C6BA00E12AEF}"/>
                </a:ext>
              </a:extLst>
            </p:cNvPr>
            <p:cNvSpPr/>
            <p:nvPr/>
          </p:nvSpPr>
          <p:spPr>
            <a:xfrm rot="2700000">
              <a:off x="-1184099" y="3234131"/>
              <a:ext cx="2021482" cy="2021482"/>
            </a:xfrm>
            <a:prstGeom prst="teardrop">
              <a:avLst/>
            </a:prstGeom>
            <a:solidFill>
              <a:schemeClr val="tx2">
                <a:lumMod val="40000"/>
                <a:lumOff val="6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7" name="Block Arc 16">
              <a:extLst>
                <a:ext uri="{FF2B5EF4-FFF2-40B4-BE49-F238E27FC236}">
                  <a16:creationId xmlns:a16="http://schemas.microsoft.com/office/drawing/2014/main" id="{E43A1808-CAE6-A4CB-933B-EC9D8E9A5BF9}"/>
                </a:ext>
              </a:extLst>
            </p:cNvPr>
            <p:cNvSpPr/>
            <p:nvPr/>
          </p:nvSpPr>
          <p:spPr>
            <a:xfrm rot="16200000">
              <a:off x="-1187095" y="3238200"/>
              <a:ext cx="2023200" cy="2016000"/>
            </a:xfrm>
            <a:prstGeom prst="blockArc">
              <a:avLst>
                <a:gd name="adj1" fmla="val 10830229"/>
                <a:gd name="adj2" fmla="val 40749"/>
                <a:gd name="adj3" fmla="val 13230"/>
              </a:avLst>
            </a:prstGeom>
            <a:solidFill>
              <a:schemeClr val="tx2">
                <a:lumMod val="20000"/>
                <a:lumOff val="80000"/>
                <a:alpha val="3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grpSp>
        <p:nvGrpSpPr>
          <p:cNvPr id="33" name="Group 32">
            <a:extLst>
              <a:ext uri="{FF2B5EF4-FFF2-40B4-BE49-F238E27FC236}">
                <a16:creationId xmlns:a16="http://schemas.microsoft.com/office/drawing/2014/main" id="{E06FB9F9-C9F5-D10F-44D3-A021440325AA}"/>
              </a:ext>
            </a:extLst>
          </p:cNvPr>
          <p:cNvGrpSpPr/>
          <p:nvPr/>
        </p:nvGrpSpPr>
        <p:grpSpPr>
          <a:xfrm>
            <a:off x="3861223" y="3253506"/>
            <a:ext cx="1950482" cy="1952740"/>
            <a:chOff x="-1184099" y="3234131"/>
            <a:chExt cx="2021482" cy="2023669"/>
          </a:xfrm>
        </p:grpSpPr>
        <p:sp>
          <p:nvSpPr>
            <p:cNvPr id="36" name="Teardrop 35">
              <a:extLst>
                <a:ext uri="{FF2B5EF4-FFF2-40B4-BE49-F238E27FC236}">
                  <a16:creationId xmlns:a16="http://schemas.microsoft.com/office/drawing/2014/main" id="{5585054B-4230-6812-4A34-88F6D49D7BD1}"/>
                </a:ext>
              </a:extLst>
            </p:cNvPr>
            <p:cNvSpPr/>
            <p:nvPr/>
          </p:nvSpPr>
          <p:spPr>
            <a:xfrm rot="2700000">
              <a:off x="-1184099" y="3234131"/>
              <a:ext cx="2021482" cy="2021482"/>
            </a:xfrm>
            <a:prstGeom prst="teardrop">
              <a:avLst/>
            </a:prstGeom>
            <a:solidFill>
              <a:schemeClr val="tx2">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7" name="Block Arc 36">
              <a:extLst>
                <a:ext uri="{FF2B5EF4-FFF2-40B4-BE49-F238E27FC236}">
                  <a16:creationId xmlns:a16="http://schemas.microsoft.com/office/drawing/2014/main" id="{B1B91139-F59A-CBB7-DAFD-3B2A3D7863F8}"/>
                </a:ext>
              </a:extLst>
            </p:cNvPr>
            <p:cNvSpPr/>
            <p:nvPr/>
          </p:nvSpPr>
          <p:spPr>
            <a:xfrm rot="16200000">
              <a:off x="-1187095" y="3238200"/>
              <a:ext cx="2023200" cy="2016000"/>
            </a:xfrm>
            <a:prstGeom prst="blockArc">
              <a:avLst>
                <a:gd name="adj1" fmla="val 10830229"/>
                <a:gd name="adj2" fmla="val 40749"/>
                <a:gd name="adj3" fmla="val 13230"/>
              </a:avLst>
            </a:prstGeom>
            <a:solidFill>
              <a:schemeClr val="bg2">
                <a:alpha val="3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grpSp>
        <p:nvGrpSpPr>
          <p:cNvPr id="28" name="Group 27">
            <a:extLst>
              <a:ext uri="{FF2B5EF4-FFF2-40B4-BE49-F238E27FC236}">
                <a16:creationId xmlns:a16="http://schemas.microsoft.com/office/drawing/2014/main" id="{309509C7-9115-994B-D607-61A079E9536E}"/>
              </a:ext>
            </a:extLst>
          </p:cNvPr>
          <p:cNvGrpSpPr/>
          <p:nvPr/>
        </p:nvGrpSpPr>
        <p:grpSpPr>
          <a:xfrm>
            <a:off x="1758113" y="3253960"/>
            <a:ext cx="1954676" cy="1952737"/>
            <a:chOff x="-1188446" y="3234133"/>
            <a:chExt cx="2025829" cy="2023666"/>
          </a:xfrm>
        </p:grpSpPr>
        <p:sp>
          <p:nvSpPr>
            <p:cNvPr id="31" name="Teardrop 30">
              <a:extLst>
                <a:ext uri="{FF2B5EF4-FFF2-40B4-BE49-F238E27FC236}">
                  <a16:creationId xmlns:a16="http://schemas.microsoft.com/office/drawing/2014/main" id="{74A65AB5-5C6F-B653-D442-270942D21F2E}"/>
                </a:ext>
              </a:extLst>
            </p:cNvPr>
            <p:cNvSpPr/>
            <p:nvPr/>
          </p:nvSpPr>
          <p:spPr>
            <a:xfrm rot="2700000">
              <a:off x="-1184099" y="3234133"/>
              <a:ext cx="2021482" cy="2021482"/>
            </a:xfrm>
            <a:prstGeom prst="teardrop">
              <a:avLst/>
            </a:prstGeom>
            <a:solidFill>
              <a:schemeClr val="accent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2" name="Block Arc 31">
              <a:extLst>
                <a:ext uri="{FF2B5EF4-FFF2-40B4-BE49-F238E27FC236}">
                  <a16:creationId xmlns:a16="http://schemas.microsoft.com/office/drawing/2014/main" id="{BC15DA9B-2F6F-22C2-43F2-FFED38EF6797}"/>
                </a:ext>
              </a:extLst>
            </p:cNvPr>
            <p:cNvSpPr/>
            <p:nvPr/>
          </p:nvSpPr>
          <p:spPr>
            <a:xfrm rot="16200000">
              <a:off x="-1192046" y="3238199"/>
              <a:ext cx="2023200" cy="2016000"/>
            </a:xfrm>
            <a:prstGeom prst="blockArc">
              <a:avLst>
                <a:gd name="adj1" fmla="val 10830229"/>
                <a:gd name="adj2" fmla="val 40749"/>
                <a:gd name="adj3" fmla="val 13230"/>
              </a:avLst>
            </a:prstGeom>
            <a:solidFill>
              <a:schemeClr val="bg2">
                <a:alpha val="3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grpSp>
      <p:sp>
        <p:nvSpPr>
          <p:cNvPr id="3" name="Slide Number Placeholder 2">
            <a:extLst>
              <a:ext uri="{FF2B5EF4-FFF2-40B4-BE49-F238E27FC236}">
                <a16:creationId xmlns:a16="http://schemas.microsoft.com/office/drawing/2014/main" id="{D4267ECD-D9D9-D477-6E09-5D24CDAC81DB}"/>
              </a:ext>
            </a:extLst>
          </p:cNvPr>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700" b="1" i="0" u="none" strike="noStrike" kern="0" cap="none" spc="0" normalizeH="0" baseline="0" noProof="0" smtClean="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rPr>
              <a:pPr marL="0" marR="0" lvl="0" indent="0" algn="l" defTabSz="914400" rtl="0" eaLnBrk="1" fontAlgn="auto" latinLnBrk="0" hangingPunct="0">
                <a:lnSpc>
                  <a:spcPct val="100000"/>
                </a:lnSpc>
                <a:spcBef>
                  <a:spcPts val="0"/>
                </a:spcBef>
                <a:spcAft>
                  <a:spcPts val="0"/>
                </a:spcAft>
                <a:buClrTx/>
                <a:buSzTx/>
                <a:buFontTx/>
                <a:buNone/>
                <a:tabLst/>
                <a:defRPr/>
              </a:pPr>
              <a:t>11</a:t>
            </a:fld>
            <a:endParaRPr kumimoji="0" lang="en-US" sz="700" b="1" i="0" u="none" strike="noStrike" kern="0" cap="none" spc="0" normalizeH="0" baseline="0" noProof="0" dirty="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endParaRPr>
          </a:p>
        </p:txBody>
      </p:sp>
      <p:sp>
        <p:nvSpPr>
          <p:cNvPr id="12" name="Title 11">
            <a:extLst>
              <a:ext uri="{FF2B5EF4-FFF2-40B4-BE49-F238E27FC236}">
                <a16:creationId xmlns:a16="http://schemas.microsoft.com/office/drawing/2014/main" id="{BB30C812-4AC8-5171-B0E2-3C241DE5E70A}"/>
              </a:ext>
            </a:extLst>
          </p:cNvPr>
          <p:cNvSpPr>
            <a:spLocks noGrp="1"/>
          </p:cNvSpPr>
          <p:nvPr>
            <p:ph type="title"/>
          </p:nvPr>
        </p:nvSpPr>
        <p:spPr>
          <a:xfrm>
            <a:off x="609599" y="555170"/>
            <a:ext cx="8664585" cy="441291"/>
          </a:xfrm>
        </p:spPr>
        <p:txBody>
          <a:bodyPr/>
          <a:lstStyle/>
          <a:p>
            <a:r>
              <a:rPr lang="en-US" dirty="0"/>
              <a:t>How Can I Coordinate Global Reporting Efforts?</a:t>
            </a:r>
          </a:p>
        </p:txBody>
      </p:sp>
      <p:sp>
        <p:nvSpPr>
          <p:cNvPr id="7" name="Text Placeholder 22">
            <a:extLst>
              <a:ext uri="{FF2B5EF4-FFF2-40B4-BE49-F238E27FC236}">
                <a16:creationId xmlns:a16="http://schemas.microsoft.com/office/drawing/2014/main" id="{D25319A1-5461-EAAB-4A51-711F835829B7}"/>
              </a:ext>
            </a:extLst>
          </p:cNvPr>
          <p:cNvSpPr txBox="1">
            <a:spLocks/>
          </p:cNvSpPr>
          <p:nvPr/>
        </p:nvSpPr>
        <p:spPr>
          <a:xfrm>
            <a:off x="4106490" y="3697139"/>
            <a:ext cx="1695625" cy="935039"/>
          </a:xfrm>
          <a:prstGeom prst="rect">
            <a:avLst/>
          </a:pr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lgn="ctr">
              <a:spcBef>
                <a:spcPts val="0"/>
              </a:spcBef>
              <a:buNone/>
            </a:pPr>
            <a:r>
              <a:rPr lang="en-US" b="1" dirty="0">
                <a:solidFill>
                  <a:schemeClr val="bg1"/>
                </a:solidFill>
              </a:rPr>
              <a:t>Tip 2</a:t>
            </a:r>
          </a:p>
          <a:p>
            <a:pPr marL="0" indent="0" algn="ctr">
              <a:spcBef>
                <a:spcPts val="0"/>
              </a:spcBef>
              <a:buNone/>
            </a:pPr>
            <a:r>
              <a:rPr lang="en-US" sz="1200" dirty="0">
                <a:solidFill>
                  <a:schemeClr val="bg1"/>
                </a:solidFill>
              </a:rPr>
              <a:t>Socialize preparations with Leadership, Risk, Legal, &amp; Reporting</a:t>
            </a:r>
          </a:p>
        </p:txBody>
      </p:sp>
      <p:sp>
        <p:nvSpPr>
          <p:cNvPr id="15" name="Text Placeholder 23">
            <a:extLst>
              <a:ext uri="{FF2B5EF4-FFF2-40B4-BE49-F238E27FC236}">
                <a16:creationId xmlns:a16="http://schemas.microsoft.com/office/drawing/2014/main" id="{AE7084A8-A128-6802-83A2-77E7E01A0352}"/>
              </a:ext>
            </a:extLst>
          </p:cNvPr>
          <p:cNvSpPr txBox="1">
            <a:spLocks/>
          </p:cNvSpPr>
          <p:nvPr/>
        </p:nvSpPr>
        <p:spPr>
          <a:xfrm>
            <a:off x="6276363" y="3697139"/>
            <a:ext cx="1561480" cy="935039"/>
          </a:xfrm>
          <a:prstGeom prst="rect">
            <a:avLst/>
          </a:pr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lgn="ctr">
              <a:spcBef>
                <a:spcPts val="0"/>
              </a:spcBef>
              <a:buNone/>
            </a:pPr>
            <a:r>
              <a:rPr lang="en-US" b="1" dirty="0">
                <a:solidFill>
                  <a:schemeClr val="bg1"/>
                </a:solidFill>
              </a:rPr>
              <a:t>Tip 3</a:t>
            </a:r>
          </a:p>
          <a:p>
            <a:pPr marL="0" indent="0" algn="ctr">
              <a:spcBef>
                <a:spcPts val="0"/>
              </a:spcBef>
              <a:buNone/>
            </a:pPr>
            <a:r>
              <a:rPr lang="en-US" sz="1200" dirty="0">
                <a:solidFill>
                  <a:schemeClr val="bg1"/>
                </a:solidFill>
              </a:rPr>
              <a:t>Establish review committee of core contacts</a:t>
            </a:r>
          </a:p>
        </p:txBody>
      </p:sp>
      <p:sp>
        <p:nvSpPr>
          <p:cNvPr id="20" name="Text Placeholder 26">
            <a:extLst>
              <a:ext uri="{FF2B5EF4-FFF2-40B4-BE49-F238E27FC236}">
                <a16:creationId xmlns:a16="http://schemas.microsoft.com/office/drawing/2014/main" id="{A00AE793-F756-459D-37B0-D703939238D2}"/>
              </a:ext>
            </a:extLst>
          </p:cNvPr>
          <p:cNvSpPr txBox="1">
            <a:spLocks/>
          </p:cNvSpPr>
          <p:nvPr/>
        </p:nvSpPr>
        <p:spPr>
          <a:xfrm>
            <a:off x="8246992" y="3697138"/>
            <a:ext cx="1868487" cy="935038"/>
          </a:xfrm>
          <a:prstGeom prst="rect">
            <a:avLst/>
          </a:pr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lgn="ctr">
              <a:spcBef>
                <a:spcPts val="0"/>
              </a:spcBef>
              <a:buNone/>
            </a:pPr>
            <a:r>
              <a:rPr lang="en-US" b="1" dirty="0">
                <a:solidFill>
                  <a:schemeClr val="bg1"/>
                </a:solidFill>
              </a:rPr>
              <a:t>Tip 4</a:t>
            </a:r>
          </a:p>
          <a:p>
            <a:pPr marL="0" indent="0" algn="ctr">
              <a:spcBef>
                <a:spcPts val="0"/>
              </a:spcBef>
              <a:buNone/>
            </a:pPr>
            <a:r>
              <a:rPr lang="en-US" sz="1200" dirty="0">
                <a:solidFill>
                  <a:schemeClr val="bg1"/>
                </a:solidFill>
              </a:rPr>
              <a:t>Disseminate results for use in other global reporting efforts, saving time</a:t>
            </a:r>
          </a:p>
        </p:txBody>
      </p:sp>
      <p:sp>
        <p:nvSpPr>
          <p:cNvPr id="8" name="Footer Placeholder 2">
            <a:extLst>
              <a:ext uri="{FF2B5EF4-FFF2-40B4-BE49-F238E27FC236}">
                <a16:creationId xmlns:a16="http://schemas.microsoft.com/office/drawing/2014/main" id="{5ABB3707-9B25-17CA-C897-D649592AF773}"/>
              </a:ext>
            </a:extLst>
          </p:cNvPr>
          <p:cNvSpPr txBox="1">
            <a:spLocks/>
          </p:cNvSpPr>
          <p:nvPr/>
        </p:nvSpPr>
        <p:spPr>
          <a:xfrm>
            <a:off x="438912" y="6539152"/>
            <a:ext cx="2743200" cy="236552"/>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defRPr/>
            </a:pPr>
            <a:r>
              <a:rPr lang="en-US" sz="700" dirty="0">
                <a:solidFill>
                  <a:srgbClr val="000000">
                    <a:tint val="75000"/>
                  </a:srgbClr>
                </a:solidFill>
                <a:latin typeface="Inter" panose="02000503000000020004" pitchFamily="2" charset="0"/>
                <a:ea typeface="Inter" panose="02000503000000020004" pitchFamily="2" charset="0"/>
                <a:cs typeface="Arial" panose="020B0604020202020204" pitchFamily="34" charset="0"/>
              </a:rPr>
              <a:t>Proprietary &amp; Confidential: Not for Distribution.</a:t>
            </a:r>
          </a:p>
        </p:txBody>
      </p:sp>
      <p:sp>
        <p:nvSpPr>
          <p:cNvPr id="6" name="Text Placeholder 5">
            <a:extLst>
              <a:ext uri="{FF2B5EF4-FFF2-40B4-BE49-F238E27FC236}">
                <a16:creationId xmlns:a16="http://schemas.microsoft.com/office/drawing/2014/main" id="{BD5E1B98-4EEE-C98D-BDE4-742EFEB1C96D}"/>
              </a:ext>
            </a:extLst>
          </p:cNvPr>
          <p:cNvSpPr txBox="1">
            <a:spLocks/>
          </p:cNvSpPr>
          <p:nvPr/>
        </p:nvSpPr>
        <p:spPr>
          <a:xfrm>
            <a:off x="612648" y="201168"/>
            <a:ext cx="6400800" cy="3567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nchorCtr="0">
            <a:noAutofit/>
          </a:bodyPr>
          <a:lstStyle>
            <a:lvl1pPr marL="0" marR="0" indent="0" algn="l" defTabSz="914400" rtl="0" eaLnBrk="1" latinLnBrk="0" hangingPunct="1">
              <a:lnSpc>
                <a:spcPct val="120000"/>
              </a:lnSpc>
              <a:spcBef>
                <a:spcPts val="1000"/>
              </a:spcBef>
              <a:spcAft>
                <a:spcPts val="0"/>
              </a:spcAft>
              <a:buClr>
                <a:schemeClr val="tx1"/>
              </a:buClr>
              <a:buSzPct val="100000"/>
              <a:buFontTx/>
              <a:buNone/>
              <a:tabLst/>
              <a:defRPr sz="1200" b="0" i="0" u="none" strike="noStrike" cap="all" spc="0" baseline="0">
                <a:solidFill>
                  <a:schemeClr val="accent3"/>
                </a:solidFill>
                <a:uFillTx/>
                <a:latin typeface="Inter" panose="02000503000000020004" pitchFamily="2" charset="0"/>
                <a:ea typeface="Inter" panose="02000503000000020004" pitchFamily="2" charset="0"/>
                <a:cs typeface="Arial"/>
                <a:sym typeface="Arial"/>
              </a:defRPr>
            </a:lvl1pPr>
            <a:lvl2pPr marL="228600" marR="0" indent="0" algn="l" defTabSz="914400" rtl="0" eaLnBrk="1" latinLnBrk="0" hangingPunct="1">
              <a:lnSpc>
                <a:spcPct val="120000"/>
              </a:lnSpc>
              <a:spcBef>
                <a:spcPts val="300"/>
              </a:spcBef>
              <a:spcAft>
                <a:spcPts val="0"/>
              </a:spcAft>
              <a:buClr>
                <a:schemeClr val="tx1"/>
              </a:buClr>
              <a:buSzPct val="100000"/>
              <a:buFontTx/>
              <a:buNone/>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457200" marR="0" indent="0" algn="l" defTabSz="914400" rtl="0" eaLnBrk="1" latinLnBrk="0" hangingPunct="1">
              <a:lnSpc>
                <a:spcPct val="120000"/>
              </a:lnSpc>
              <a:spcBef>
                <a:spcPts val="300"/>
              </a:spcBef>
              <a:spcAft>
                <a:spcPts val="0"/>
              </a:spcAft>
              <a:buClr>
                <a:schemeClr val="tx1"/>
              </a:buClr>
              <a:buSzPct val="100000"/>
              <a:buFontTx/>
              <a:buNone/>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685800" marR="0" indent="0" algn="l" defTabSz="914400" rtl="0" eaLnBrk="1" latinLnBrk="0" hangingPunct="1">
              <a:lnSpc>
                <a:spcPct val="120000"/>
              </a:lnSpc>
              <a:spcBef>
                <a:spcPts val="300"/>
              </a:spcBef>
              <a:spcAft>
                <a:spcPts val="0"/>
              </a:spcAft>
              <a:buClr>
                <a:schemeClr val="tx1"/>
              </a:buClr>
              <a:buSzPct val="100000"/>
              <a:buFontTx/>
              <a:buNone/>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0" algn="l" defTabSz="914400" rtl="0" eaLnBrk="1" latinLnBrk="0" hangingPunct="1">
              <a:lnSpc>
                <a:spcPct val="120000"/>
              </a:lnSpc>
              <a:spcBef>
                <a:spcPts val="300"/>
              </a:spcBef>
              <a:spcAft>
                <a:spcPts val="0"/>
              </a:spcAft>
              <a:buClr>
                <a:schemeClr val="tx1"/>
              </a:buClr>
              <a:buSzPct val="100000"/>
              <a:buFontTx/>
              <a:buNone/>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endParaRPr lang="en-US" kern="0" dirty="0"/>
          </a:p>
        </p:txBody>
      </p:sp>
      <p:sp>
        <p:nvSpPr>
          <p:cNvPr id="2" name="Text Placeholder 22">
            <a:extLst>
              <a:ext uri="{FF2B5EF4-FFF2-40B4-BE49-F238E27FC236}">
                <a16:creationId xmlns:a16="http://schemas.microsoft.com/office/drawing/2014/main" id="{104E84E6-DF44-AF6F-CE28-9ED17EE4FCCB}"/>
              </a:ext>
            </a:extLst>
          </p:cNvPr>
          <p:cNvSpPr txBox="1">
            <a:spLocks/>
          </p:cNvSpPr>
          <p:nvPr/>
        </p:nvSpPr>
        <p:spPr>
          <a:xfrm>
            <a:off x="2049912" y="3697139"/>
            <a:ext cx="1677389" cy="935039"/>
          </a:xfrm>
          <a:prstGeom prst="rect">
            <a:avLst/>
          </a:pr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lgn="ctr">
              <a:spcBef>
                <a:spcPts val="0"/>
              </a:spcBef>
              <a:buNone/>
            </a:pPr>
            <a:r>
              <a:rPr lang="en-US" b="1" dirty="0">
                <a:solidFill>
                  <a:schemeClr val="bg1"/>
                </a:solidFill>
              </a:rPr>
              <a:t>Tip 1</a:t>
            </a:r>
            <a:br>
              <a:rPr lang="en-US" sz="1200" b="1" dirty="0">
                <a:solidFill>
                  <a:schemeClr val="bg1"/>
                </a:solidFill>
              </a:rPr>
            </a:br>
            <a:r>
              <a:rPr lang="en-US" sz="1200" dirty="0">
                <a:solidFill>
                  <a:schemeClr val="bg1"/>
                </a:solidFill>
              </a:rPr>
              <a:t>Inventory existing disclosures and internal documents globally</a:t>
            </a:r>
          </a:p>
          <a:p>
            <a:pPr marL="0" indent="0" algn="ctr">
              <a:spcBef>
                <a:spcPts val="0"/>
              </a:spcBef>
              <a:buNone/>
            </a:pPr>
            <a:r>
              <a:rPr lang="en-CA" sz="1200" dirty="0">
                <a:solidFill>
                  <a:schemeClr val="bg1"/>
                </a:solidFill>
              </a:rPr>
              <a:t>	</a:t>
            </a:r>
          </a:p>
          <a:p>
            <a:pPr marL="0" indent="0" algn="ctr">
              <a:spcBef>
                <a:spcPts val="0"/>
              </a:spcBef>
              <a:buNone/>
            </a:pPr>
            <a:endParaRPr lang="en-US" sz="1200" b="1" dirty="0">
              <a:solidFill>
                <a:schemeClr val="bg1"/>
              </a:solidFill>
            </a:endParaRPr>
          </a:p>
        </p:txBody>
      </p:sp>
      <p:sp>
        <p:nvSpPr>
          <p:cNvPr id="5" name="Content Placeholder 12">
            <a:extLst>
              <a:ext uri="{FF2B5EF4-FFF2-40B4-BE49-F238E27FC236}">
                <a16:creationId xmlns:a16="http://schemas.microsoft.com/office/drawing/2014/main" id="{2C944482-F7D1-7862-9196-3B62BE235028}"/>
              </a:ext>
            </a:extLst>
          </p:cNvPr>
          <p:cNvSpPr txBox="1">
            <a:spLocks/>
          </p:cNvSpPr>
          <p:nvPr/>
        </p:nvSpPr>
        <p:spPr>
          <a:xfrm>
            <a:off x="609597" y="1313282"/>
            <a:ext cx="10823553" cy="1132798"/>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None/>
            </a:pPr>
            <a:r>
              <a:rPr lang="en-US" sz="1600" dirty="0"/>
              <a:t>Many of our partners are working across jurisdictions internationally, preparing for CSRD in Europe, Australian Sustainability Reporting Standards, or the UK’s Sustainability Reporting Standards. A few best practices have helped them align teams quickly and find efficiencies in global efforts – saving time and money in the medium-term.</a:t>
            </a:r>
          </a:p>
        </p:txBody>
      </p:sp>
    </p:spTree>
    <p:extLst>
      <p:ext uri="{BB962C8B-B14F-4D97-AF65-F5344CB8AC3E}">
        <p14:creationId xmlns:p14="http://schemas.microsoft.com/office/powerpoint/2010/main" val="213117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5C7C7C-6134-1504-9DE0-DD3A8ECAEF1C}"/>
            </a:ext>
          </a:extLst>
        </p:cNvPr>
        <p:cNvGrpSpPr/>
        <p:nvPr/>
      </p:nvGrpSpPr>
      <p:grpSpPr>
        <a:xfrm>
          <a:off x="0" y="0"/>
          <a:ext cx="0" cy="0"/>
          <a:chOff x="0" y="0"/>
          <a:chExt cx="0" cy="0"/>
        </a:xfrm>
      </p:grpSpPr>
      <p:pic>
        <p:nvPicPr>
          <p:cNvPr id="25" name="Picture Placeholder 24" descr="Shield Tick with solid fill">
            <a:extLst>
              <a:ext uri="{FF2B5EF4-FFF2-40B4-BE49-F238E27FC236}">
                <a16:creationId xmlns:a16="http://schemas.microsoft.com/office/drawing/2014/main" id="{C414545D-C52F-C819-8E87-FFF097C48E0E}"/>
              </a:ext>
            </a:extLst>
          </p:cNvPr>
          <p:cNvPicPr>
            <a:picLocks noGrp="1" noChangeAspect="1"/>
          </p:cNvPicPr>
          <p:nvPr>
            <p:ph type="pic" sz="quarter" idx="34"/>
          </p:nvPr>
        </p:nvPicPr>
        <p:blipFill>
          <a:blip r:embed="rId3">
            <a:extLst>
              <a:ext uri="{96DAC541-7B7A-43D3-8B79-37D633B846F1}">
                <asvg:svgBlip xmlns:asvg="http://schemas.microsoft.com/office/drawing/2016/SVG/main" r:embed="rId4"/>
              </a:ext>
            </a:extLst>
          </a:blip>
          <a:srcRect l="135" r="135"/>
          <a:stretch>
            <a:fillRect/>
          </a:stretch>
        </p:blipFill>
        <p:spPr>
          <a:xfrm>
            <a:off x="3317875" y="2938463"/>
            <a:ext cx="585788" cy="587375"/>
          </a:xfrm>
          <a:solidFill>
            <a:schemeClr val="accent6"/>
          </a:solidFill>
        </p:spPr>
      </p:pic>
      <p:pic>
        <p:nvPicPr>
          <p:cNvPr id="23" name="Picture Placeholder 22" descr="Shield with solid fill">
            <a:extLst>
              <a:ext uri="{FF2B5EF4-FFF2-40B4-BE49-F238E27FC236}">
                <a16:creationId xmlns:a16="http://schemas.microsoft.com/office/drawing/2014/main" id="{26CC3778-347A-0035-1A7C-FE47774CC454}"/>
              </a:ext>
            </a:extLst>
          </p:cNvPr>
          <p:cNvPicPr>
            <a:picLocks noGrp="1" noChangeAspect="1"/>
          </p:cNvPicPr>
          <p:nvPr>
            <p:ph type="pic" sz="quarter" idx="33"/>
          </p:nvPr>
        </p:nvPicPr>
        <p:blipFill>
          <a:blip r:embed="rId5">
            <a:extLst>
              <a:ext uri="{96DAC541-7B7A-43D3-8B79-37D633B846F1}">
                <asvg:svgBlip xmlns:asvg="http://schemas.microsoft.com/office/drawing/2016/SVG/main" r:embed="rId6"/>
              </a:ext>
            </a:extLst>
          </a:blip>
          <a:srcRect/>
          <a:stretch>
            <a:fillRect/>
          </a:stretch>
        </p:blipFill>
        <p:spPr>
          <a:xfrm>
            <a:off x="788988" y="2938463"/>
            <a:ext cx="587375" cy="587375"/>
          </a:xfrm>
          <a:solidFill>
            <a:schemeClr val="accent6"/>
          </a:solidFill>
          <a:ln>
            <a:solidFill>
              <a:schemeClr val="accent6"/>
            </a:solidFill>
          </a:ln>
        </p:spPr>
      </p:pic>
      <p:sp>
        <p:nvSpPr>
          <p:cNvPr id="5" name="Text Placeholder 4">
            <a:extLst>
              <a:ext uri="{FF2B5EF4-FFF2-40B4-BE49-F238E27FC236}">
                <a16:creationId xmlns:a16="http://schemas.microsoft.com/office/drawing/2014/main" id="{6959B66F-413C-6638-809E-0AAF04A45957}"/>
              </a:ext>
            </a:extLst>
          </p:cNvPr>
          <p:cNvSpPr>
            <a:spLocks noGrp="1"/>
          </p:cNvSpPr>
          <p:nvPr>
            <p:ph type="body" sz="quarter" idx="28"/>
          </p:nvPr>
        </p:nvSpPr>
        <p:spPr>
          <a:xfrm>
            <a:off x="789876" y="3584634"/>
            <a:ext cx="1972590" cy="485410"/>
          </a:xfrm>
        </p:spPr>
        <p:txBody>
          <a:bodyPr/>
          <a:lstStyle/>
          <a:p>
            <a:r>
              <a:rPr lang="en-US" dirty="0"/>
              <a:t>Limited Assurance</a:t>
            </a:r>
          </a:p>
        </p:txBody>
      </p:sp>
      <p:sp>
        <p:nvSpPr>
          <p:cNvPr id="6" name="Text Placeholder 5">
            <a:extLst>
              <a:ext uri="{FF2B5EF4-FFF2-40B4-BE49-F238E27FC236}">
                <a16:creationId xmlns:a16="http://schemas.microsoft.com/office/drawing/2014/main" id="{1C9A874B-9DB5-D0FA-FBBA-D17FC05D1047}"/>
              </a:ext>
            </a:extLst>
          </p:cNvPr>
          <p:cNvSpPr>
            <a:spLocks noGrp="1"/>
          </p:cNvSpPr>
          <p:nvPr>
            <p:ph type="body" sz="quarter" idx="29"/>
          </p:nvPr>
        </p:nvSpPr>
        <p:spPr>
          <a:xfrm>
            <a:off x="3296408" y="3584634"/>
            <a:ext cx="1972590" cy="485410"/>
          </a:xfrm>
        </p:spPr>
        <p:txBody>
          <a:bodyPr/>
          <a:lstStyle/>
          <a:p>
            <a:r>
              <a:rPr lang="en-US" dirty="0"/>
              <a:t>Reasonable Assurance</a:t>
            </a:r>
          </a:p>
        </p:txBody>
      </p:sp>
      <p:sp>
        <p:nvSpPr>
          <p:cNvPr id="7" name="Text Placeholder 6">
            <a:extLst>
              <a:ext uri="{FF2B5EF4-FFF2-40B4-BE49-F238E27FC236}">
                <a16:creationId xmlns:a16="http://schemas.microsoft.com/office/drawing/2014/main" id="{0AA79EF6-1659-2C29-A8FE-8F90631C193F}"/>
              </a:ext>
            </a:extLst>
          </p:cNvPr>
          <p:cNvSpPr>
            <a:spLocks noGrp="1"/>
          </p:cNvSpPr>
          <p:nvPr>
            <p:ph type="body" sz="quarter" idx="30"/>
          </p:nvPr>
        </p:nvSpPr>
        <p:spPr>
          <a:xfrm>
            <a:off x="789877" y="4152490"/>
            <a:ext cx="2286000" cy="1633926"/>
          </a:xfrm>
        </p:spPr>
        <p:txBody>
          <a:bodyPr/>
          <a:lstStyle/>
          <a:p>
            <a:pPr>
              <a:buFont typeface="Arial" panose="020B0604020202020204" pitchFamily="34" charset="0"/>
              <a:buChar char="•"/>
            </a:pPr>
            <a:r>
              <a:rPr lang="en-US" dirty="0"/>
              <a:t>2026 for Scope 1 &amp; 2</a:t>
            </a:r>
          </a:p>
          <a:p>
            <a:pPr>
              <a:buFont typeface="Arial" panose="020B0604020202020204" pitchFamily="34" charset="0"/>
              <a:buChar char="•"/>
            </a:pPr>
            <a:r>
              <a:rPr lang="en-US" dirty="0"/>
              <a:t>Limited review of data/controls</a:t>
            </a:r>
          </a:p>
          <a:p>
            <a:pPr>
              <a:buFont typeface="Arial" panose="020B0604020202020204" pitchFamily="34" charset="0"/>
              <a:buChar char="•"/>
            </a:pPr>
            <a:r>
              <a:rPr lang="en-US" dirty="0"/>
              <a:t>Less evidence gathering</a:t>
            </a:r>
          </a:p>
          <a:p>
            <a:pPr>
              <a:buFont typeface="Arial" panose="020B0604020202020204" pitchFamily="34" charset="0"/>
              <a:buChar char="•"/>
            </a:pPr>
            <a:r>
              <a:rPr lang="en-US" dirty="0"/>
              <a:t>Lower confidence in completeness and accuracy</a:t>
            </a:r>
          </a:p>
        </p:txBody>
      </p:sp>
      <p:sp>
        <p:nvSpPr>
          <p:cNvPr id="8" name="Text Placeholder 7">
            <a:extLst>
              <a:ext uri="{FF2B5EF4-FFF2-40B4-BE49-F238E27FC236}">
                <a16:creationId xmlns:a16="http://schemas.microsoft.com/office/drawing/2014/main" id="{B6FD27FB-25A5-224A-640D-E7541F4D6744}"/>
              </a:ext>
            </a:extLst>
          </p:cNvPr>
          <p:cNvSpPr>
            <a:spLocks noGrp="1"/>
          </p:cNvSpPr>
          <p:nvPr>
            <p:ph type="body" sz="quarter" idx="31"/>
          </p:nvPr>
        </p:nvSpPr>
        <p:spPr>
          <a:xfrm>
            <a:off x="3307166" y="4152490"/>
            <a:ext cx="2286000" cy="1850366"/>
          </a:xfrm>
        </p:spPr>
        <p:txBody>
          <a:bodyPr/>
          <a:lstStyle/>
          <a:p>
            <a:r>
              <a:rPr lang="en-US" dirty="0"/>
              <a:t>2030 for Scope 1 &amp; 2</a:t>
            </a:r>
          </a:p>
          <a:p>
            <a:r>
              <a:rPr lang="en-US" dirty="0"/>
              <a:t>Additional review of data/controls</a:t>
            </a:r>
          </a:p>
          <a:p>
            <a:r>
              <a:rPr lang="en-US" dirty="0"/>
              <a:t>More significant evidence gathering</a:t>
            </a:r>
          </a:p>
          <a:p>
            <a:r>
              <a:rPr lang="en-US" dirty="0"/>
              <a:t>Higher confidence in completeness and accuracy</a:t>
            </a:r>
          </a:p>
        </p:txBody>
      </p:sp>
      <p:sp>
        <p:nvSpPr>
          <p:cNvPr id="10" name="Footer Placeholder 9">
            <a:extLst>
              <a:ext uri="{FF2B5EF4-FFF2-40B4-BE49-F238E27FC236}">
                <a16:creationId xmlns:a16="http://schemas.microsoft.com/office/drawing/2014/main" id="{D5E11EF2-EE5A-CC07-D17F-4BD7CF22E08F}"/>
              </a:ext>
            </a:extLst>
          </p:cNvPr>
          <p:cNvSpPr>
            <a:spLocks noGrp="1"/>
          </p:cNvSpPr>
          <p:nvPr>
            <p:ph type="ftr" sz="quarter" idx="23"/>
          </p:nvPr>
        </p:nvSpPr>
        <p:spPr/>
        <p:txBody>
          <a:bodyPr/>
          <a:lstStyle/>
          <a:p>
            <a:r>
              <a:rPr lang="en-US" dirty="0"/>
              <a:t>Proprietary &amp; Confidential: Not for Distribution.</a:t>
            </a:r>
          </a:p>
        </p:txBody>
      </p:sp>
      <p:sp>
        <p:nvSpPr>
          <p:cNvPr id="11" name="Slide Number Placeholder 10">
            <a:extLst>
              <a:ext uri="{FF2B5EF4-FFF2-40B4-BE49-F238E27FC236}">
                <a16:creationId xmlns:a16="http://schemas.microsoft.com/office/drawing/2014/main" id="{7C9AFD1E-E910-5D2A-344C-325A3FC8AA52}"/>
              </a:ext>
            </a:extLst>
          </p:cNvPr>
          <p:cNvSpPr>
            <a:spLocks noGrp="1"/>
          </p:cNvSpPr>
          <p:nvPr>
            <p:ph type="sldNum" sz="quarter" idx="24"/>
          </p:nvPr>
        </p:nvSpPr>
        <p:spPr/>
        <p:txBody>
          <a:bodyPr/>
          <a:lstStyle/>
          <a:p>
            <a:fld id="{86CB4B4D-7CA3-9044-876B-883B54F8677D}" type="slidenum">
              <a:rPr lang="en-US" smtClean="0"/>
              <a:pPr/>
              <a:t>12</a:t>
            </a:fld>
            <a:endParaRPr lang="en-US" dirty="0"/>
          </a:p>
        </p:txBody>
      </p:sp>
      <p:sp>
        <p:nvSpPr>
          <p:cNvPr id="12" name="Title 11">
            <a:extLst>
              <a:ext uri="{FF2B5EF4-FFF2-40B4-BE49-F238E27FC236}">
                <a16:creationId xmlns:a16="http://schemas.microsoft.com/office/drawing/2014/main" id="{E730A116-FFD0-1C9F-00F4-F1FE955E8506}"/>
              </a:ext>
            </a:extLst>
          </p:cNvPr>
          <p:cNvSpPr>
            <a:spLocks noGrp="1"/>
          </p:cNvSpPr>
          <p:nvPr>
            <p:ph type="title"/>
          </p:nvPr>
        </p:nvSpPr>
        <p:spPr>
          <a:xfrm>
            <a:off x="612648" y="855144"/>
            <a:ext cx="10972800" cy="485410"/>
          </a:xfrm>
        </p:spPr>
        <p:txBody>
          <a:bodyPr/>
          <a:lstStyle/>
          <a:p>
            <a:r>
              <a:rPr lang="en-US" dirty="0"/>
              <a:t>How Can I Be Sure My Footprint Is Ready for Verification? </a:t>
            </a:r>
          </a:p>
        </p:txBody>
      </p:sp>
      <p:sp>
        <p:nvSpPr>
          <p:cNvPr id="17" name="TextBox 16">
            <a:extLst>
              <a:ext uri="{FF2B5EF4-FFF2-40B4-BE49-F238E27FC236}">
                <a16:creationId xmlns:a16="http://schemas.microsoft.com/office/drawing/2014/main" id="{08B55F8D-4656-E940-69D5-059D69560C91}"/>
              </a:ext>
            </a:extLst>
          </p:cNvPr>
          <p:cNvSpPr txBox="1"/>
          <p:nvPr/>
        </p:nvSpPr>
        <p:spPr>
          <a:xfrm>
            <a:off x="609600" y="5869759"/>
            <a:ext cx="7589520" cy="70788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rIns="0">
            <a:spAutoFit/>
          </a:bodyPr>
          <a:lstStyle/>
          <a:p>
            <a:pPr algn="just"/>
            <a:r>
              <a:rPr lang="en-US" sz="800" dirty="0"/>
              <a:t>Sources:</a:t>
            </a:r>
          </a:p>
          <a:p>
            <a:pPr algn="just"/>
            <a:r>
              <a:rPr lang="en-US" sz="800" u="sng" dirty="0"/>
              <a:t> </a:t>
            </a:r>
            <a:r>
              <a:rPr lang="en-US" sz="800" u="sng" dirty="0">
                <a:hlinkClick r:id="rId7">
                  <a:extLst>
                    <a:ext uri="{A12FA001-AC4F-418D-AE19-62706E023703}">
                      <ahyp:hlinkClr xmlns:ahyp="http://schemas.microsoft.com/office/drawing/2018/hyperlinkcolor" val="tx"/>
                    </a:ext>
                  </a:extLst>
                </a:hlinkClick>
              </a:rPr>
              <a:t>CARB Public Meeting</a:t>
            </a:r>
          </a:p>
          <a:p>
            <a:pPr algn="just"/>
            <a:r>
              <a:rPr lang="en-US" sz="800" u="sng" dirty="0">
                <a:hlinkClick r:id="rId8">
                  <a:extLst>
                    <a:ext uri="{A12FA001-AC4F-418D-AE19-62706E023703}">
                      <ahyp:hlinkClr xmlns:ahyp="http://schemas.microsoft.com/office/drawing/2018/hyperlinkcolor" val="tx"/>
                    </a:ext>
                  </a:extLst>
                </a:hlinkClick>
              </a:rPr>
              <a:t>SCS Global “Preparing for the New Greenhouse Gas Inventory Verification Regulations</a:t>
            </a:r>
            <a:r>
              <a:rPr lang="en-US" sz="800" u="sng" dirty="0"/>
              <a:t>”</a:t>
            </a:r>
          </a:p>
          <a:p>
            <a:pPr algn="just"/>
            <a:endParaRPr lang="en-US" sz="800" u="sng" dirty="0"/>
          </a:p>
          <a:p>
            <a:pPr algn="just"/>
            <a:endParaRPr lang="en-US" sz="800" i="1" dirty="0">
              <a:latin typeface="Inter" panose="020B0502030000000004" pitchFamily="34" charset="0"/>
              <a:ea typeface="Inter" panose="020B0502030000000004" pitchFamily="34" charset="0"/>
            </a:endParaRPr>
          </a:p>
        </p:txBody>
      </p:sp>
      <p:sp>
        <p:nvSpPr>
          <p:cNvPr id="18" name="Content Placeholder 12">
            <a:extLst>
              <a:ext uri="{FF2B5EF4-FFF2-40B4-BE49-F238E27FC236}">
                <a16:creationId xmlns:a16="http://schemas.microsoft.com/office/drawing/2014/main" id="{6E7CFCAD-A1B4-7D66-0037-9FFE2F808895}"/>
              </a:ext>
            </a:extLst>
          </p:cNvPr>
          <p:cNvSpPr txBox="1">
            <a:spLocks/>
          </p:cNvSpPr>
          <p:nvPr/>
        </p:nvSpPr>
        <p:spPr>
          <a:xfrm>
            <a:off x="438912" y="1586132"/>
            <a:ext cx="5185711" cy="606123"/>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Font typeface="System Font Regular"/>
              <a:buNone/>
            </a:pPr>
            <a:endParaRPr lang="en-US" sz="1600" kern="0" dirty="0"/>
          </a:p>
        </p:txBody>
      </p:sp>
      <p:sp>
        <p:nvSpPr>
          <p:cNvPr id="19" name="Content Placeholder 12">
            <a:extLst>
              <a:ext uri="{FF2B5EF4-FFF2-40B4-BE49-F238E27FC236}">
                <a16:creationId xmlns:a16="http://schemas.microsoft.com/office/drawing/2014/main" id="{5BFA57F1-035D-DCA0-28F6-A91760C21243}"/>
              </a:ext>
            </a:extLst>
          </p:cNvPr>
          <p:cNvSpPr txBox="1">
            <a:spLocks/>
          </p:cNvSpPr>
          <p:nvPr/>
        </p:nvSpPr>
        <p:spPr>
          <a:xfrm>
            <a:off x="609597" y="1727959"/>
            <a:ext cx="5589184" cy="1174732"/>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Font typeface="System Font Regular"/>
              <a:buNone/>
            </a:pPr>
            <a:r>
              <a:rPr lang="en-US" sz="1600" kern="0" dirty="0"/>
              <a:t>Finding a CARB-approved verifier and running a pilot verification process now can significantly lower compliance risk ahead of 2026. At a minimum, prep an Inventory Management Plan.</a:t>
            </a:r>
          </a:p>
        </p:txBody>
      </p:sp>
      <p:grpSp>
        <p:nvGrpSpPr>
          <p:cNvPr id="9" name="Group 8">
            <a:extLst>
              <a:ext uri="{FF2B5EF4-FFF2-40B4-BE49-F238E27FC236}">
                <a16:creationId xmlns:a16="http://schemas.microsoft.com/office/drawing/2014/main" id="{10FD534E-8F57-4490-69E7-654B0A629E68}"/>
              </a:ext>
            </a:extLst>
          </p:cNvPr>
          <p:cNvGrpSpPr/>
          <p:nvPr/>
        </p:nvGrpSpPr>
        <p:grpSpPr>
          <a:xfrm>
            <a:off x="6649107" y="1706846"/>
            <a:ext cx="4569333" cy="4580294"/>
            <a:chOff x="6649107" y="1706846"/>
            <a:chExt cx="4569333" cy="4580294"/>
          </a:xfrm>
        </p:grpSpPr>
        <p:pic>
          <p:nvPicPr>
            <p:cNvPr id="3" name="Picture 2">
              <a:extLst>
                <a:ext uri="{FF2B5EF4-FFF2-40B4-BE49-F238E27FC236}">
                  <a16:creationId xmlns:a16="http://schemas.microsoft.com/office/drawing/2014/main" id="{B6199D23-3D41-5D87-39AD-7241A547B669}"/>
                </a:ext>
              </a:extLst>
            </p:cNvPr>
            <p:cNvPicPr>
              <a:picLocks noChangeAspect="1"/>
            </p:cNvPicPr>
            <p:nvPr/>
          </p:nvPicPr>
          <p:blipFill>
            <a:blip r:embed="rId9"/>
            <a:stretch>
              <a:fillRect/>
            </a:stretch>
          </p:blipFill>
          <p:spPr>
            <a:xfrm>
              <a:off x="6923003" y="2019326"/>
              <a:ext cx="4295437" cy="4267814"/>
            </a:xfrm>
            <a:prstGeom prst="rect">
              <a:avLst/>
            </a:prstGeom>
          </p:spPr>
        </p:pic>
        <p:sp>
          <p:nvSpPr>
            <p:cNvPr id="4" name="TextBox 3">
              <a:extLst>
                <a:ext uri="{FF2B5EF4-FFF2-40B4-BE49-F238E27FC236}">
                  <a16:creationId xmlns:a16="http://schemas.microsoft.com/office/drawing/2014/main" id="{92676335-8DE6-676B-AB76-C9C85D0F0D63}"/>
                </a:ext>
              </a:extLst>
            </p:cNvPr>
            <p:cNvSpPr txBox="1"/>
            <p:nvPr/>
          </p:nvSpPr>
          <p:spPr>
            <a:xfrm>
              <a:off x="6649107" y="1706846"/>
              <a:ext cx="4569333" cy="485409"/>
            </a:xfrm>
            <a:prstGeom prst="rect">
              <a:avLst/>
            </a:prstGeom>
            <a:solidFill>
              <a:schemeClr val="bg1"/>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a:lnSpc>
                  <a:spcPct val="120000"/>
                </a:lnSpc>
                <a:spcBef>
                  <a:spcPts val="300"/>
                </a:spcBef>
              </a:pPr>
              <a:r>
                <a:rPr lang="en-US" sz="1400" dirty="0">
                  <a:solidFill>
                    <a:schemeClr val="tx2">
                      <a:lumMod val="60000"/>
                      <a:lumOff val="40000"/>
                    </a:schemeClr>
                  </a:solidFill>
                  <a:sym typeface="Open Sans Regular"/>
                </a:rPr>
                <a:t>ISO 14060 Family Represents One of the Standards Being Considered in CARB’s Staff Concept for Assurance </a:t>
              </a:r>
            </a:p>
          </p:txBody>
        </p:sp>
      </p:grpSp>
    </p:spTree>
    <p:extLst>
      <p:ext uri="{BB962C8B-B14F-4D97-AF65-F5344CB8AC3E}">
        <p14:creationId xmlns:p14="http://schemas.microsoft.com/office/powerpoint/2010/main" val="1268519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EAA624-B2F7-7750-99C1-7EBE49E0925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3DFC99E-531A-47D8-1D1A-9B2098EE1D0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F3DFC99E-531A-47D8-1D1A-9B2098EE1D0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E36ADDE-BA81-80AC-C3BD-07B35E6518A8}"/>
              </a:ext>
            </a:extLst>
          </p:cNvPr>
          <p:cNvSpPr>
            <a:spLocks noGrp="1"/>
          </p:cNvSpPr>
          <p:nvPr>
            <p:ph type="title"/>
          </p:nvPr>
        </p:nvSpPr>
        <p:spPr>
          <a:xfrm>
            <a:off x="609600" y="555170"/>
            <a:ext cx="10972800" cy="441291"/>
          </a:xfrm>
        </p:spPr>
        <p:txBody>
          <a:bodyPr vert="horz"/>
          <a:lstStyle/>
          <a:p>
            <a:r>
              <a:rPr lang="en-US" dirty="0"/>
              <a:t>What’s on the Horizon?</a:t>
            </a:r>
          </a:p>
        </p:txBody>
      </p:sp>
      <p:sp>
        <p:nvSpPr>
          <p:cNvPr id="16" name="Slide Number Placeholder 15">
            <a:extLst>
              <a:ext uri="{FF2B5EF4-FFF2-40B4-BE49-F238E27FC236}">
                <a16:creationId xmlns:a16="http://schemas.microsoft.com/office/drawing/2014/main" id="{DE2A53E0-24EB-171F-BC8D-6464DBBA7677}"/>
              </a:ext>
            </a:extLst>
          </p:cNvPr>
          <p:cNvSpPr>
            <a:spLocks noGrp="1"/>
          </p:cNvSpPr>
          <p:nvPr>
            <p:ph type="sldNum" sz="quarter" idx="28"/>
          </p:nvPr>
        </p:nvSpPr>
        <p:spPr>
          <a:xfrm>
            <a:off x="11774658" y="6537960"/>
            <a:ext cx="339207" cy="237744"/>
          </a:xfrm>
        </p:spPr>
        <p:txBody>
          <a:bodyPr/>
          <a:lstStyle/>
          <a:p>
            <a:fld id="{8FA36BF0-F6E7-4838-BA02-50111582EAFB}" type="slidenum">
              <a:rPr lang="en-US" smtClean="0"/>
              <a:pPr/>
              <a:t>13</a:t>
            </a:fld>
            <a:endParaRPr lang="en-US" dirty="0"/>
          </a:p>
        </p:txBody>
      </p:sp>
      <p:cxnSp>
        <p:nvCxnSpPr>
          <p:cNvPr id="11" name="Straight Connector 10">
            <a:extLst>
              <a:ext uri="{FF2B5EF4-FFF2-40B4-BE49-F238E27FC236}">
                <a16:creationId xmlns:a16="http://schemas.microsoft.com/office/drawing/2014/main" id="{CBA6CF8A-A44F-9678-3A21-50B245D6794B}"/>
              </a:ext>
            </a:extLst>
          </p:cNvPr>
          <p:cNvCxnSpPr>
            <a:cxnSpLocks/>
          </p:cNvCxnSpPr>
          <p:nvPr/>
        </p:nvCxnSpPr>
        <p:spPr>
          <a:xfrm>
            <a:off x="7810286" y="2488477"/>
            <a:ext cx="0" cy="2712173"/>
          </a:xfrm>
          <a:prstGeom prst="line">
            <a:avLst/>
          </a:prstGeom>
          <a:noFill/>
          <a:ln w="15875" cap="flat">
            <a:solidFill>
              <a:schemeClr val="accent1">
                <a:alpha val="75000"/>
              </a:schemeClr>
            </a:solidFill>
            <a:prstDash val="solid"/>
            <a:miter lim="800000"/>
          </a:ln>
          <a:effectLst/>
          <a:sp3d/>
        </p:spPr>
        <p:style>
          <a:lnRef idx="0">
            <a:scrgbClr r="0" g="0" b="0"/>
          </a:lnRef>
          <a:fillRef idx="0">
            <a:scrgbClr r="0" g="0" b="0"/>
          </a:fillRef>
          <a:effectRef idx="0">
            <a:scrgbClr r="0" g="0" b="0"/>
          </a:effectRef>
          <a:fontRef idx="none"/>
        </p:style>
      </p:cxnSp>
      <p:sp>
        <p:nvSpPr>
          <p:cNvPr id="15" name="Rectangle 14">
            <a:extLst>
              <a:ext uri="{FF2B5EF4-FFF2-40B4-BE49-F238E27FC236}">
                <a16:creationId xmlns:a16="http://schemas.microsoft.com/office/drawing/2014/main" id="{53376157-3A7F-0330-8CB0-3004D51C2346}"/>
              </a:ext>
            </a:extLst>
          </p:cNvPr>
          <p:cNvSpPr/>
          <p:nvPr/>
        </p:nvSpPr>
        <p:spPr>
          <a:xfrm>
            <a:off x="8051600" y="3717463"/>
            <a:ext cx="3407031" cy="1623406"/>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1">
              <a:lnSpc>
                <a:spcPct val="120000"/>
              </a:lnSpc>
              <a:spcBef>
                <a:spcPts val="600"/>
              </a:spcBef>
              <a:spcAft>
                <a:spcPts val="300"/>
              </a:spcAft>
              <a:buClr>
                <a:srgbClr val="000000"/>
              </a:buClr>
              <a:buSzPct val="100000"/>
              <a:buFont typeface="System Font Regular"/>
              <a:buNone/>
              <a:tabLst/>
              <a:defRPr/>
            </a:pPr>
            <a:r>
              <a:rPr kumimoji="0" lang="en-US" sz="1800" b="1" i="0" u="none" strike="noStrike" kern="0" cap="none" spc="0" normalizeH="0" baseline="0" noProof="0" dirty="0">
                <a:ln>
                  <a:noFill/>
                </a:ln>
                <a:solidFill>
                  <a:srgbClr val="1B4171"/>
                </a:solidFill>
                <a:effectLst/>
                <a:uLnTx/>
                <a:uFillTx/>
                <a:latin typeface="Inter" panose="02000503000000020004" pitchFamily="2" charset="0"/>
                <a:ea typeface="Inter" panose="02000503000000020004" pitchFamily="2" charset="0"/>
                <a:cs typeface="Arial"/>
                <a:sym typeface="Arial"/>
              </a:rPr>
              <a:t>~ 10</a:t>
            </a:r>
            <a:r>
              <a:rPr kumimoji="0" lang="en-US" sz="1800" b="1" i="0" u="none" strike="noStrike" kern="0" cap="none" spc="0" normalizeH="0" noProof="0" dirty="0">
                <a:ln>
                  <a:noFill/>
                </a:ln>
                <a:solidFill>
                  <a:srgbClr val="1B4171"/>
                </a:solidFill>
                <a:effectLst/>
                <a:uLnTx/>
                <a:uFillTx/>
                <a:latin typeface="Inter" panose="02000503000000020004" pitchFamily="2" charset="0"/>
                <a:ea typeface="Inter" panose="02000503000000020004" pitchFamily="2" charset="0"/>
                <a:cs typeface="Arial"/>
                <a:sym typeface="Arial"/>
              </a:rPr>
              <a:t> Jurisdictions with Mandated Climate-Related Disclosures</a:t>
            </a:r>
            <a:endParaRPr kumimoji="0" lang="en-US" sz="1800" b="0" i="0" u="none" strike="noStrike" kern="0" cap="none" spc="0" normalizeH="0" baseline="0" noProof="0" dirty="0">
              <a:ln>
                <a:noFill/>
              </a:ln>
              <a:solidFill>
                <a:srgbClr val="000000"/>
              </a:solidFill>
              <a:effectLst/>
              <a:uLnTx/>
              <a:uFillTx/>
              <a:latin typeface="Inter" panose="02000503000000020004" pitchFamily="2" charset="0"/>
              <a:ea typeface="Inter" panose="02000503000000020004" pitchFamily="2" charset="0"/>
              <a:cs typeface="Arial"/>
              <a:sym typeface="Arial"/>
            </a:endParaRPr>
          </a:p>
          <a:p>
            <a:pPr marL="182880" marR="0" lvl="0" indent="-182880" algn="l" defTabSz="914400" rtl="0" eaLnBrk="1" fontAlgn="auto" latinLnBrk="0" hangingPunct="1">
              <a:lnSpc>
                <a:spcPct val="120000"/>
              </a:lnSpc>
              <a:spcBef>
                <a:spcPts val="0"/>
              </a:spcBef>
              <a:spcAft>
                <a:spcPts val="300"/>
              </a:spcAft>
              <a:buClr>
                <a:srgbClr val="000000"/>
              </a:buClr>
              <a:buSzPct val="100000"/>
              <a:buFont typeface="System Font Regular"/>
              <a:buChar char="+"/>
              <a:tabLst/>
              <a:defRPr/>
            </a:pPr>
            <a:r>
              <a:rPr lang="en-US" sz="1400" b="1" kern="0" dirty="0">
                <a:solidFill>
                  <a:schemeClr val="tx2"/>
                </a:solidFill>
                <a:latin typeface="Inter" panose="02000503000000020004" pitchFamily="2" charset="0"/>
                <a:ea typeface="Inter" panose="02000503000000020004" pitchFamily="2" charset="0"/>
                <a:cs typeface="Arial"/>
                <a:sym typeface="Arial"/>
              </a:rPr>
              <a:t>Linked to the size of the entity ($)</a:t>
            </a:r>
          </a:p>
          <a:p>
            <a:pPr marL="182880" marR="0" lvl="0" indent="-182880" algn="l" defTabSz="914400" rtl="0" eaLnBrk="1" fontAlgn="auto" latinLnBrk="0" hangingPunct="1">
              <a:lnSpc>
                <a:spcPct val="120000"/>
              </a:lnSpc>
              <a:spcBef>
                <a:spcPts val="0"/>
              </a:spcBef>
              <a:spcAft>
                <a:spcPts val="300"/>
              </a:spcAft>
              <a:buClr>
                <a:srgbClr val="000000"/>
              </a:buClr>
              <a:buSzPct val="100000"/>
              <a:buFont typeface="System Font Regular"/>
              <a:buChar char="+"/>
              <a:tabLst/>
              <a:defRPr/>
            </a:pPr>
            <a:r>
              <a:rPr lang="en-US" sz="1400" b="1" kern="0" dirty="0">
                <a:solidFill>
                  <a:schemeClr val="tx2"/>
                </a:solidFill>
                <a:latin typeface="Inter" panose="02000503000000020004" pitchFamily="2" charset="0"/>
                <a:ea typeface="Inter" panose="02000503000000020004" pitchFamily="2" charset="0"/>
                <a:cs typeface="Arial"/>
                <a:sym typeface="Arial"/>
              </a:rPr>
              <a:t>Operating location</a:t>
            </a:r>
            <a:endParaRPr kumimoji="0" lang="en-US" sz="1400" b="0" i="0" u="none" strike="noStrike" kern="0" cap="none" spc="0" normalizeH="0" baseline="0" noProof="0" dirty="0">
              <a:ln>
                <a:noFill/>
              </a:ln>
              <a:solidFill>
                <a:schemeClr val="tx2"/>
              </a:solidFill>
              <a:effectLst/>
              <a:uLnTx/>
              <a:uFillTx/>
              <a:latin typeface="Inter" panose="02000503000000020004" pitchFamily="2" charset="0"/>
              <a:ea typeface="Inter" panose="02000503000000020004" pitchFamily="2" charset="0"/>
              <a:cs typeface="Arial"/>
              <a:sym typeface="Arial"/>
            </a:endParaRPr>
          </a:p>
          <a:p>
            <a:pPr marL="0" marR="0" lvl="0" indent="0" algn="l" defTabSz="914400" rtl="0" eaLnBrk="1" fontAlgn="auto" latinLnBrk="0" hangingPunct="1">
              <a:lnSpc>
                <a:spcPct val="120000"/>
              </a:lnSpc>
              <a:buClr>
                <a:srgbClr val="000000"/>
              </a:buClr>
              <a:buSzPct val="100000"/>
              <a:buFont typeface="System Font Regular"/>
              <a:buNone/>
              <a:tabLst/>
              <a:defRPr/>
            </a:pPr>
            <a:r>
              <a:rPr kumimoji="0" lang="en-US" sz="1200" b="1" i="1" u="none" strike="noStrike" kern="0" cap="none" spc="0" normalizeH="0" baseline="0" noProof="0" dirty="0">
                <a:ln>
                  <a:noFill/>
                </a:ln>
                <a:solidFill>
                  <a:srgbClr val="007671"/>
                </a:solidFill>
                <a:effectLst/>
                <a:uLnTx/>
                <a:uFillTx/>
                <a:latin typeface="Inter" panose="02000503000000020004" pitchFamily="2" charset="0"/>
                <a:ea typeface="Inter" panose="02000503000000020004" pitchFamily="2" charset="0"/>
                <a:cs typeface="Arial"/>
                <a:sym typeface="Arial"/>
              </a:rPr>
              <a:t>Note: </a:t>
            </a:r>
            <a:r>
              <a:rPr kumimoji="0" lang="en-US" sz="1200" b="0" i="1" u="none" strike="noStrike" kern="0" cap="none" spc="0" normalizeH="0" baseline="0" noProof="0" dirty="0">
                <a:ln>
                  <a:noFill/>
                </a:ln>
                <a:solidFill>
                  <a:srgbClr val="007671"/>
                </a:solidFill>
                <a:effectLst/>
                <a:uLnTx/>
                <a:uFillTx/>
                <a:latin typeface="Inter" panose="02000503000000020004" pitchFamily="2" charset="0"/>
                <a:ea typeface="Inter" panose="02000503000000020004" pitchFamily="2" charset="0"/>
                <a:cs typeface="Arial"/>
                <a:sym typeface="Arial"/>
              </a:rPr>
              <a:t>Does not include jurisdictions that </a:t>
            </a:r>
            <a:r>
              <a:rPr kumimoji="0" lang="en-US" sz="1200" b="0" i="1" u="none" strike="noStrike" kern="0" cap="none" spc="0" normalizeH="0" noProof="0" dirty="0">
                <a:ln>
                  <a:noFill/>
                </a:ln>
                <a:solidFill>
                  <a:srgbClr val="007671"/>
                </a:solidFill>
                <a:effectLst/>
                <a:uLnTx/>
                <a:uFillTx/>
                <a:latin typeface="Inter" panose="02000503000000020004" pitchFamily="2" charset="0"/>
                <a:ea typeface="Inter" panose="02000503000000020004" pitchFamily="2" charset="0"/>
                <a:cs typeface="Arial"/>
                <a:sym typeface="Arial"/>
              </a:rPr>
              <a:t>mandate sustainability-related reporting and disclosures </a:t>
            </a:r>
          </a:p>
          <a:p>
            <a:pPr marL="0" marR="0" lvl="0" indent="0" algn="l" defTabSz="914400" rtl="0" eaLnBrk="1" fontAlgn="auto" latinLnBrk="0" hangingPunct="1">
              <a:lnSpc>
                <a:spcPct val="120000"/>
              </a:lnSpc>
              <a:buClr>
                <a:srgbClr val="000000"/>
              </a:buClr>
              <a:buSzPct val="100000"/>
              <a:buFont typeface="System Font Regular"/>
              <a:buNone/>
              <a:tabLst/>
              <a:defRPr/>
            </a:pPr>
            <a:r>
              <a:rPr kumimoji="0" lang="en-US" sz="1200" b="0" i="1" u="none" strike="noStrike" kern="0" cap="none" spc="0" normalizeH="0" noProof="0" dirty="0">
                <a:ln>
                  <a:noFill/>
                </a:ln>
                <a:solidFill>
                  <a:srgbClr val="007671"/>
                </a:solidFill>
                <a:effectLst/>
                <a:uLnTx/>
                <a:uFillTx/>
                <a:latin typeface="Inter" panose="02000503000000020004" pitchFamily="2" charset="0"/>
                <a:ea typeface="Inter" panose="02000503000000020004" pitchFamily="2" charset="0"/>
                <a:cs typeface="Arial"/>
                <a:sym typeface="Arial"/>
              </a:rPr>
              <a:t>(e.g., Bill C-59 Canada)</a:t>
            </a:r>
            <a:endParaRPr kumimoji="0" lang="en-US" sz="1200" b="0" i="1" u="none" strike="noStrike" kern="0" cap="none" spc="0" normalizeH="0" baseline="0" noProof="0" dirty="0">
              <a:ln>
                <a:noFill/>
              </a:ln>
              <a:solidFill>
                <a:srgbClr val="007671"/>
              </a:solidFill>
              <a:effectLst/>
              <a:uLnTx/>
              <a:uFillTx/>
              <a:latin typeface="Inter" panose="02000503000000020004" pitchFamily="2" charset="0"/>
              <a:ea typeface="Inter" panose="02000503000000020004" pitchFamily="2" charset="0"/>
              <a:cs typeface="Arial"/>
              <a:sym typeface="Arial"/>
            </a:endParaRPr>
          </a:p>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pic>
        <p:nvPicPr>
          <p:cNvPr id="13" name="Picture 12" descr="A map of the world&#10;&#10;AI-generated content may be incorrect.">
            <a:extLst>
              <a:ext uri="{FF2B5EF4-FFF2-40B4-BE49-F238E27FC236}">
                <a16:creationId xmlns:a16="http://schemas.microsoft.com/office/drawing/2014/main" id="{9BD23770-67E0-1B0F-7CC2-3EAA9254C246}"/>
              </a:ext>
            </a:extLst>
          </p:cNvPr>
          <p:cNvPicPr>
            <a:picLocks noChangeAspect="1"/>
          </p:cNvPicPr>
          <p:nvPr/>
        </p:nvPicPr>
        <p:blipFill>
          <a:blip r:embed="rId6">
            <a:extLst>
              <a:ext uri="{28A0092B-C50C-407E-A947-70E740481C1C}">
                <a14:useLocalDpi xmlns:a14="http://schemas.microsoft.com/office/drawing/2010/main" val="0"/>
              </a:ext>
            </a:extLst>
          </a:blip>
          <a:srcRect b="14880"/>
          <a:stretch>
            <a:fillRect/>
          </a:stretch>
        </p:blipFill>
        <p:spPr>
          <a:xfrm>
            <a:off x="-1244600" y="1754910"/>
            <a:ext cx="9000000" cy="3871190"/>
          </a:xfrm>
          <a:prstGeom prst="rect">
            <a:avLst/>
          </a:prstGeom>
        </p:spPr>
      </p:pic>
      <p:grpSp>
        <p:nvGrpSpPr>
          <p:cNvPr id="8" name="Group 7">
            <a:extLst>
              <a:ext uri="{FF2B5EF4-FFF2-40B4-BE49-F238E27FC236}">
                <a16:creationId xmlns:a16="http://schemas.microsoft.com/office/drawing/2014/main" id="{31B25EBD-FA16-B6D0-84E6-52BBE1DB6001}"/>
              </a:ext>
            </a:extLst>
          </p:cNvPr>
          <p:cNvGrpSpPr/>
          <p:nvPr/>
        </p:nvGrpSpPr>
        <p:grpSpPr>
          <a:xfrm>
            <a:off x="8051600" y="2211403"/>
            <a:ext cx="3407031" cy="470015"/>
            <a:chOff x="7995920" y="2130221"/>
            <a:chExt cx="3407031" cy="470015"/>
          </a:xfrm>
        </p:grpSpPr>
        <p:sp>
          <p:nvSpPr>
            <p:cNvPr id="6" name="Rectangle 5">
              <a:extLst>
                <a:ext uri="{FF2B5EF4-FFF2-40B4-BE49-F238E27FC236}">
                  <a16:creationId xmlns:a16="http://schemas.microsoft.com/office/drawing/2014/main" id="{3ECE5A87-0F67-F831-8BE6-9C2FC11CA1FF}"/>
                </a:ext>
              </a:extLst>
            </p:cNvPr>
            <p:cNvSpPr/>
            <p:nvPr/>
          </p:nvSpPr>
          <p:spPr>
            <a:xfrm>
              <a:off x="7995920" y="2239228"/>
              <a:ext cx="252000" cy="252000"/>
            </a:xfrm>
            <a:prstGeom prst="rect">
              <a:avLst/>
            </a:prstGeom>
            <a:solidFill>
              <a:srgbClr val="94D1F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sp>
          <p:nvSpPr>
            <p:cNvPr id="7" name="Rectangle 6">
              <a:extLst>
                <a:ext uri="{FF2B5EF4-FFF2-40B4-BE49-F238E27FC236}">
                  <a16:creationId xmlns:a16="http://schemas.microsoft.com/office/drawing/2014/main" id="{46C649EA-F4B3-A1D3-B067-6D1AE0F0CB6C}"/>
                </a:ext>
              </a:extLst>
            </p:cNvPr>
            <p:cNvSpPr/>
            <p:nvPr/>
          </p:nvSpPr>
          <p:spPr>
            <a:xfrm>
              <a:off x="8280138" y="2130221"/>
              <a:ext cx="3122813" cy="470015"/>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1">
                <a:lnSpc>
                  <a:spcPct val="120000"/>
                </a:lnSpc>
                <a:spcBef>
                  <a:spcPts val="600"/>
                </a:spcBef>
                <a:spcAft>
                  <a:spcPts val="300"/>
                </a:spcAft>
                <a:buClr>
                  <a:srgbClr val="000000"/>
                </a:buClr>
                <a:buSzPct val="100000"/>
                <a:buFont typeface="System Font Regular"/>
                <a:buNone/>
                <a:tabLst/>
                <a:defRPr/>
              </a:pPr>
              <a:r>
                <a:rPr kumimoji="0" lang="en-US" sz="1400" b="1" i="0" u="none" strike="noStrike" kern="0" cap="none" spc="0" normalizeH="0" baseline="0" noProof="0" dirty="0">
                  <a:ln>
                    <a:noFill/>
                  </a:ln>
                  <a:solidFill>
                    <a:srgbClr val="1B4171"/>
                  </a:solidFill>
                  <a:effectLst/>
                  <a:uLnTx/>
                  <a:uFillTx/>
                  <a:latin typeface="Inter" panose="02000503000000020004" pitchFamily="2" charset="0"/>
                  <a:ea typeface="Inter" panose="02000503000000020004" pitchFamily="2" charset="0"/>
                  <a:cs typeface="Arial"/>
                  <a:sym typeface="Arial"/>
                </a:rPr>
                <a:t>Active </a:t>
              </a:r>
              <a:r>
                <a:rPr kumimoji="0" lang="en-US" sz="1400" i="0" u="none" strike="noStrike" kern="0" cap="none" spc="0" normalizeH="0" baseline="-25000" noProof="0" dirty="0">
                  <a:ln>
                    <a:noFill/>
                  </a:ln>
                  <a:solidFill>
                    <a:srgbClr val="1B4171"/>
                  </a:solidFill>
                  <a:effectLst/>
                  <a:uLnTx/>
                  <a:uFillTx/>
                  <a:latin typeface="Inter" panose="02000503000000020004" pitchFamily="2" charset="0"/>
                  <a:ea typeface="Inter" panose="02000503000000020004" pitchFamily="2" charset="0"/>
                  <a:cs typeface="Arial"/>
                  <a:sym typeface="Arial"/>
                </a:rPr>
                <a:t>(as of October 2025)</a:t>
              </a:r>
              <a:endParaRPr kumimoji="0" lang="en-US" sz="1400" i="0" u="none" strike="noStrike" kern="0" cap="none" spc="0" normalizeH="0" baseline="-25000" noProof="0" dirty="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grpSp>
      <p:grpSp>
        <p:nvGrpSpPr>
          <p:cNvPr id="12" name="Group 11">
            <a:extLst>
              <a:ext uri="{FF2B5EF4-FFF2-40B4-BE49-F238E27FC236}">
                <a16:creationId xmlns:a16="http://schemas.microsoft.com/office/drawing/2014/main" id="{1C2B9FDA-79DE-F662-BA04-207AED4557C3}"/>
              </a:ext>
            </a:extLst>
          </p:cNvPr>
          <p:cNvGrpSpPr/>
          <p:nvPr/>
        </p:nvGrpSpPr>
        <p:grpSpPr>
          <a:xfrm>
            <a:off x="8051600" y="2572410"/>
            <a:ext cx="4062265" cy="470015"/>
            <a:chOff x="8051600" y="2958985"/>
            <a:chExt cx="4062265" cy="470015"/>
          </a:xfrm>
        </p:grpSpPr>
        <p:sp>
          <p:nvSpPr>
            <p:cNvPr id="2" name="Rectangle 1">
              <a:extLst>
                <a:ext uri="{FF2B5EF4-FFF2-40B4-BE49-F238E27FC236}">
                  <a16:creationId xmlns:a16="http://schemas.microsoft.com/office/drawing/2014/main" id="{BE7F4110-19FE-7801-FD04-4D60D5667851}"/>
                </a:ext>
              </a:extLst>
            </p:cNvPr>
            <p:cNvSpPr/>
            <p:nvPr/>
          </p:nvSpPr>
          <p:spPr>
            <a:xfrm>
              <a:off x="8051600" y="3067992"/>
              <a:ext cx="252000" cy="252000"/>
            </a:xfrm>
            <a:prstGeom prst="rect">
              <a:avLst/>
            </a:prstGeom>
            <a:solidFill>
              <a:srgbClr val="CCF07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sp>
          <p:nvSpPr>
            <p:cNvPr id="9" name="Rectangle 8">
              <a:extLst>
                <a:ext uri="{FF2B5EF4-FFF2-40B4-BE49-F238E27FC236}">
                  <a16:creationId xmlns:a16="http://schemas.microsoft.com/office/drawing/2014/main" id="{DA0606B2-2190-9663-89E3-9BA4495D1245}"/>
                </a:ext>
              </a:extLst>
            </p:cNvPr>
            <p:cNvSpPr/>
            <p:nvPr/>
          </p:nvSpPr>
          <p:spPr>
            <a:xfrm>
              <a:off x="8335818" y="2958985"/>
              <a:ext cx="3778047" cy="470015"/>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1">
                <a:lnSpc>
                  <a:spcPct val="120000"/>
                </a:lnSpc>
                <a:spcBef>
                  <a:spcPts val="600"/>
                </a:spcBef>
                <a:spcAft>
                  <a:spcPts val="300"/>
                </a:spcAft>
                <a:buClr>
                  <a:srgbClr val="000000"/>
                </a:buClr>
                <a:buSzPct val="100000"/>
                <a:buFont typeface="System Font Regular"/>
                <a:buNone/>
                <a:tabLst/>
                <a:defRPr/>
              </a:pPr>
              <a:r>
                <a:rPr kumimoji="0" lang="en-US" sz="1400" b="1" i="0" u="none" strike="noStrike" kern="0" cap="none" spc="0" normalizeH="0" baseline="0" noProof="0" dirty="0">
                  <a:ln>
                    <a:noFill/>
                  </a:ln>
                  <a:solidFill>
                    <a:srgbClr val="1B4171"/>
                  </a:solidFill>
                  <a:effectLst/>
                  <a:uLnTx/>
                  <a:uFillTx/>
                  <a:latin typeface="Inter" panose="02000503000000020004" pitchFamily="2" charset="0"/>
                  <a:ea typeface="Inter" panose="02000503000000020004" pitchFamily="2" charset="0"/>
                  <a:cs typeface="Arial"/>
                  <a:sym typeface="Arial"/>
                </a:rPr>
                <a:t>Potential </a:t>
              </a:r>
              <a:r>
                <a:rPr lang="en-US" sz="1400" kern="0" baseline="-25000" dirty="0">
                  <a:solidFill>
                    <a:srgbClr val="1B4171"/>
                  </a:solidFill>
                  <a:latin typeface="Inter" panose="02000503000000020004" pitchFamily="2" charset="0"/>
                  <a:ea typeface="Inter" panose="02000503000000020004" pitchFamily="2" charset="0"/>
                  <a:cs typeface="Arial"/>
                  <a:sym typeface="Arial"/>
                </a:rPr>
                <a:t>(In development, consideration, and/or planned)</a:t>
              </a:r>
              <a:endParaRPr kumimoji="0" lang="en-US" sz="1400" i="0" u="none" strike="noStrike" kern="0" cap="none" spc="0" normalizeH="0" baseline="-25000" noProof="0" dirty="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grpSp>
      <p:pic>
        <p:nvPicPr>
          <p:cNvPr id="17" name="Picture 16">
            <a:extLst>
              <a:ext uri="{FF2B5EF4-FFF2-40B4-BE49-F238E27FC236}">
                <a16:creationId xmlns:a16="http://schemas.microsoft.com/office/drawing/2014/main" id="{F7E988FD-C787-9A61-229A-17A2B6C81D8B}"/>
              </a:ext>
            </a:extLst>
          </p:cNvPr>
          <p:cNvPicPr>
            <a:picLocks noChangeAspect="1"/>
          </p:cNvPicPr>
          <p:nvPr/>
        </p:nvPicPr>
        <p:blipFill>
          <a:blip r:embed="rId7">
            <a:extLst>
              <a:ext uri="{28A0092B-C50C-407E-A947-70E740481C1C}">
                <a14:useLocalDpi xmlns:a14="http://schemas.microsoft.com/office/drawing/2010/main" val="0"/>
              </a:ext>
            </a:extLst>
          </a:blip>
          <a:srcRect b="14880"/>
          <a:stretch>
            <a:fillRect/>
          </a:stretch>
        </p:blipFill>
        <p:spPr>
          <a:xfrm>
            <a:off x="-1244600" y="1754910"/>
            <a:ext cx="9000000" cy="3871190"/>
          </a:xfrm>
          <a:prstGeom prst="rect">
            <a:avLst/>
          </a:prstGeom>
        </p:spPr>
      </p:pic>
    </p:spTree>
    <p:extLst>
      <p:ext uri="{BB962C8B-B14F-4D97-AF65-F5344CB8AC3E}">
        <p14:creationId xmlns:p14="http://schemas.microsoft.com/office/powerpoint/2010/main" val="2455762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C7568-A046-0963-FC09-11E4D6F27D52}"/>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C1133FF6-8231-7E5F-ABDE-7A0C82A27362}"/>
              </a:ext>
            </a:extLst>
          </p:cNvPr>
          <p:cNvSpPr/>
          <p:nvPr/>
        </p:nvSpPr>
        <p:spPr>
          <a:xfrm>
            <a:off x="952542" y="3761915"/>
            <a:ext cx="9216814" cy="1152000"/>
          </a:xfrm>
          <a:prstGeom prst="roundRect">
            <a:avLst>
              <a:gd name="adj" fmla="val 50000"/>
            </a:avLst>
          </a:prstGeom>
          <a:solidFill>
            <a:srgbClr val="E5BD3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sp>
        <p:nvSpPr>
          <p:cNvPr id="11" name="Rectangle: Rounded Corners 10">
            <a:extLst>
              <a:ext uri="{FF2B5EF4-FFF2-40B4-BE49-F238E27FC236}">
                <a16:creationId xmlns:a16="http://schemas.microsoft.com/office/drawing/2014/main" id="{C7EE55F4-A11D-BD23-A89D-3FBDED1AADD0}"/>
              </a:ext>
            </a:extLst>
          </p:cNvPr>
          <p:cNvSpPr/>
          <p:nvPr/>
        </p:nvSpPr>
        <p:spPr>
          <a:xfrm>
            <a:off x="1563770" y="2768161"/>
            <a:ext cx="9216814" cy="1152000"/>
          </a:xfrm>
          <a:prstGeom prst="roundRect">
            <a:avLst>
              <a:gd name="adj" fmla="val 50000"/>
            </a:avLst>
          </a:prstGeom>
          <a:solidFill>
            <a:srgbClr val="766F77"/>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sp>
        <p:nvSpPr>
          <p:cNvPr id="6" name="Rectangle: Rounded Corners 5">
            <a:extLst>
              <a:ext uri="{FF2B5EF4-FFF2-40B4-BE49-F238E27FC236}">
                <a16:creationId xmlns:a16="http://schemas.microsoft.com/office/drawing/2014/main" id="{A061B6C4-6063-4310-3FAD-BE0E462DC64E}"/>
              </a:ext>
            </a:extLst>
          </p:cNvPr>
          <p:cNvSpPr/>
          <p:nvPr/>
        </p:nvSpPr>
        <p:spPr>
          <a:xfrm>
            <a:off x="1411416" y="1862800"/>
            <a:ext cx="7745428" cy="1069200"/>
          </a:xfrm>
          <a:prstGeom prst="roundRect">
            <a:avLst>
              <a:gd name="adj" fmla="val 50000"/>
            </a:avLst>
          </a:prstGeom>
          <a:solidFill>
            <a:srgbClr val="24847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sp>
        <p:nvSpPr>
          <p:cNvPr id="29" name="Freeform: Shape 28">
            <a:extLst>
              <a:ext uri="{FF2B5EF4-FFF2-40B4-BE49-F238E27FC236}">
                <a16:creationId xmlns:a16="http://schemas.microsoft.com/office/drawing/2014/main" id="{E74705CD-3D62-2269-2B6A-40A4D8CC2220}"/>
              </a:ext>
            </a:extLst>
          </p:cNvPr>
          <p:cNvSpPr/>
          <p:nvPr/>
        </p:nvSpPr>
        <p:spPr>
          <a:xfrm>
            <a:off x="617081" y="1797049"/>
            <a:ext cx="2794760" cy="3842137"/>
          </a:xfrm>
          <a:custGeom>
            <a:avLst/>
            <a:gdLst>
              <a:gd name="connsiteX0" fmla="*/ 0 w 1809675"/>
              <a:gd name="connsiteY0" fmla="*/ 0 h 3842137"/>
              <a:gd name="connsiteX1" fmla="*/ 511044 w 1809675"/>
              <a:gd name="connsiteY1" fmla="*/ 0 h 3842137"/>
              <a:gd name="connsiteX2" fmla="*/ 1809675 w 1809675"/>
              <a:gd name="connsiteY2" fmla="*/ 1298631 h 3842137"/>
              <a:gd name="connsiteX3" fmla="*/ 1809674 w 1809675"/>
              <a:gd name="connsiteY3" fmla="*/ 1298631 h 3842137"/>
              <a:gd name="connsiteX4" fmla="*/ 1237120 w 1809675"/>
              <a:gd name="connsiteY4" fmla="*/ 2375476 h 3842137"/>
              <a:gd name="connsiteX5" fmla="*/ 1217923 w 1809675"/>
              <a:gd name="connsiteY5" fmla="*/ 2387139 h 3842137"/>
              <a:gd name="connsiteX6" fmla="*/ 1243974 w 1809675"/>
              <a:gd name="connsiteY6" fmla="*/ 2488453 h 3842137"/>
              <a:gd name="connsiteX7" fmla="*/ 1266863 w 1809675"/>
              <a:gd name="connsiteY7" fmla="*/ 2715508 h 3842137"/>
              <a:gd name="connsiteX8" fmla="*/ 1266862 w 1809675"/>
              <a:gd name="connsiteY8" fmla="*/ 2715508 h 3842137"/>
              <a:gd name="connsiteX9" fmla="*/ 140233 w 1809675"/>
              <a:gd name="connsiteY9" fmla="*/ 3842137 h 3842137"/>
              <a:gd name="connsiteX10" fmla="*/ 85018 w 1809675"/>
              <a:gd name="connsiteY10" fmla="*/ 3842137 h 3842137"/>
              <a:gd name="connsiteX11" fmla="*/ 85018 w 1809675"/>
              <a:gd name="connsiteY11" fmla="*/ 85018 h 384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675" h="3842137">
                <a:moveTo>
                  <a:pt x="0" y="0"/>
                </a:moveTo>
                <a:lnTo>
                  <a:pt x="511044" y="0"/>
                </a:lnTo>
                <a:cubicBezTo>
                  <a:pt x="1228258" y="0"/>
                  <a:pt x="1809675" y="581417"/>
                  <a:pt x="1809675" y="1298631"/>
                </a:cubicBezTo>
                <a:lnTo>
                  <a:pt x="1809674" y="1298631"/>
                </a:lnTo>
                <a:cubicBezTo>
                  <a:pt x="1809674" y="1746890"/>
                  <a:pt x="1582558" y="2142103"/>
                  <a:pt x="1237120" y="2375476"/>
                </a:cubicBezTo>
                <a:lnTo>
                  <a:pt x="1217923" y="2387139"/>
                </a:lnTo>
                <a:lnTo>
                  <a:pt x="1243974" y="2488453"/>
                </a:lnTo>
                <a:cubicBezTo>
                  <a:pt x="1258982" y="2561794"/>
                  <a:pt x="1266863" y="2637731"/>
                  <a:pt x="1266863" y="2715508"/>
                </a:cubicBezTo>
                <a:lnTo>
                  <a:pt x="1266862" y="2715508"/>
                </a:lnTo>
                <a:cubicBezTo>
                  <a:pt x="1266862" y="3337728"/>
                  <a:pt x="762453" y="3842137"/>
                  <a:pt x="140233" y="3842137"/>
                </a:cubicBezTo>
                <a:lnTo>
                  <a:pt x="85018" y="3842137"/>
                </a:lnTo>
                <a:lnTo>
                  <a:pt x="85018" y="85018"/>
                </a:lnTo>
                <a:close/>
              </a:path>
            </a:pathLst>
          </a:cu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graphicFrame>
        <p:nvGraphicFramePr>
          <p:cNvPr id="3" name="think-cell data - do not delete" hidden="1">
            <a:extLst>
              <a:ext uri="{FF2B5EF4-FFF2-40B4-BE49-F238E27FC236}">
                <a16:creationId xmlns:a16="http://schemas.microsoft.com/office/drawing/2014/main" id="{2D0323D6-9280-5A94-7DC0-CF26C6C6BCB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2D0323D6-9280-5A94-7DC0-CF26C6C6BCB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7F929D7-0BB1-16A3-C5B1-702D4CF280FD}"/>
              </a:ext>
            </a:extLst>
          </p:cNvPr>
          <p:cNvSpPr>
            <a:spLocks noGrp="1"/>
          </p:cNvSpPr>
          <p:nvPr>
            <p:ph type="title"/>
          </p:nvPr>
        </p:nvSpPr>
        <p:spPr>
          <a:xfrm>
            <a:off x="609600" y="555170"/>
            <a:ext cx="10972800" cy="441291"/>
          </a:xfrm>
        </p:spPr>
        <p:txBody>
          <a:bodyPr vert="horz"/>
          <a:lstStyle/>
          <a:p>
            <a:r>
              <a:rPr lang="en-US" dirty="0"/>
              <a:t>Can Reporting Insights Add Business Value?</a:t>
            </a:r>
          </a:p>
        </p:txBody>
      </p:sp>
      <p:sp>
        <p:nvSpPr>
          <p:cNvPr id="16" name="Slide Number Placeholder 15">
            <a:extLst>
              <a:ext uri="{FF2B5EF4-FFF2-40B4-BE49-F238E27FC236}">
                <a16:creationId xmlns:a16="http://schemas.microsoft.com/office/drawing/2014/main" id="{334095A4-92C5-4AE5-7A3E-5F9434188CF2}"/>
              </a:ext>
            </a:extLst>
          </p:cNvPr>
          <p:cNvSpPr>
            <a:spLocks noGrp="1"/>
          </p:cNvSpPr>
          <p:nvPr>
            <p:ph type="sldNum" sz="quarter" idx="28"/>
          </p:nvPr>
        </p:nvSpPr>
        <p:spPr>
          <a:xfrm>
            <a:off x="11774658" y="6537960"/>
            <a:ext cx="339207" cy="237744"/>
          </a:xfrm>
        </p:spPr>
        <p:txBody>
          <a:bodyPr/>
          <a:lstStyle/>
          <a:p>
            <a:fld id="{8FA36BF0-F6E7-4838-BA02-50111582EAFB}" type="slidenum">
              <a:rPr lang="en-US" smtClean="0"/>
              <a:pPr/>
              <a:t>14</a:t>
            </a:fld>
            <a:endParaRPr lang="en-US" dirty="0"/>
          </a:p>
        </p:txBody>
      </p:sp>
      <p:pic>
        <p:nvPicPr>
          <p:cNvPr id="18" name="Picture 17" descr="A blue question mark on a black background&#10;&#10;Description automatically generated">
            <a:extLst>
              <a:ext uri="{FF2B5EF4-FFF2-40B4-BE49-F238E27FC236}">
                <a16:creationId xmlns:a16="http://schemas.microsoft.com/office/drawing/2014/main" id="{5C3FA4B3-F913-673C-7FD5-019037403EC0}"/>
              </a:ext>
            </a:extLst>
          </p:cNvPr>
          <p:cNvPicPr>
            <a:picLocks noChangeAspect="1"/>
          </p:cNvPicPr>
          <p:nvPr/>
        </p:nvPicPr>
        <p:blipFill rotWithShape="1">
          <a:blip r:embed="rId6">
            <a:extLst>
              <a:ext uri="{28A0092B-C50C-407E-A947-70E740481C1C}">
                <a14:useLocalDpi xmlns:a14="http://schemas.microsoft.com/office/drawing/2010/main" val="0"/>
              </a:ext>
            </a:extLst>
          </a:blip>
          <a:srcRect b="30123"/>
          <a:stretch/>
        </p:blipFill>
        <p:spPr>
          <a:xfrm>
            <a:off x="166607" y="1855200"/>
            <a:ext cx="4452421" cy="3111242"/>
          </a:xfrm>
          <a:prstGeom prst="rect">
            <a:avLst/>
          </a:prstGeom>
        </p:spPr>
      </p:pic>
      <p:sp>
        <p:nvSpPr>
          <p:cNvPr id="19" name="Oval 18">
            <a:extLst>
              <a:ext uri="{FF2B5EF4-FFF2-40B4-BE49-F238E27FC236}">
                <a16:creationId xmlns:a16="http://schemas.microsoft.com/office/drawing/2014/main" id="{71AA3E22-7748-9046-454E-CD026E190920}"/>
              </a:ext>
            </a:extLst>
          </p:cNvPr>
          <p:cNvSpPr/>
          <p:nvPr/>
        </p:nvSpPr>
        <p:spPr>
          <a:xfrm>
            <a:off x="1768160" y="5123796"/>
            <a:ext cx="969770" cy="969770"/>
          </a:xfrm>
          <a:prstGeom prst="ellipse">
            <a:avLst/>
          </a:prstGeom>
          <a:solidFill>
            <a:srgbClr val="00AF9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sp>
        <p:nvSpPr>
          <p:cNvPr id="32" name="Content Placeholder 7">
            <a:extLst>
              <a:ext uri="{FF2B5EF4-FFF2-40B4-BE49-F238E27FC236}">
                <a16:creationId xmlns:a16="http://schemas.microsoft.com/office/drawing/2014/main" id="{07EB1DB5-56E6-940C-AC3D-BF038623CFAE}"/>
              </a:ext>
            </a:extLst>
          </p:cNvPr>
          <p:cNvSpPr txBox="1">
            <a:spLocks/>
          </p:cNvSpPr>
          <p:nvPr/>
        </p:nvSpPr>
        <p:spPr>
          <a:xfrm>
            <a:off x="4363963" y="2144153"/>
            <a:ext cx="3812655" cy="493155"/>
          </a:xfrm>
          <a:custGeom>
            <a:avLst/>
            <a:gdLst>
              <a:gd name="connsiteX0" fmla="*/ 0 w 5212080"/>
              <a:gd name="connsiteY0" fmla="*/ 0 h 4402138"/>
              <a:gd name="connsiteX1" fmla="*/ 5212080 w 5212080"/>
              <a:gd name="connsiteY1" fmla="*/ 0 h 4402138"/>
              <a:gd name="connsiteX2" fmla="*/ 5212080 w 5212080"/>
              <a:gd name="connsiteY2" fmla="*/ 4402138 h 4402138"/>
              <a:gd name="connsiteX3" fmla="*/ 0 w 52120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5212080" h="4402138">
                <a:moveTo>
                  <a:pt x="0" y="0"/>
                </a:moveTo>
                <a:lnTo>
                  <a:pt x="5212080" y="0"/>
                </a:lnTo>
                <a:lnTo>
                  <a:pt x="5212080" y="4402138"/>
                </a:lnTo>
                <a:lnTo>
                  <a:pt x="0" y="4402138"/>
                </a:lnTo>
                <a:close/>
              </a:path>
            </a:pathLst>
          </a:custGeom>
        </p:spPr>
        <p:txBody>
          <a:bodyPr lIns="0" rIns="0" anchor="ctr" anchorCtr="0"/>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None/>
            </a:pPr>
            <a:r>
              <a:rPr lang="en-US" sz="1800" b="1" dirty="0">
                <a:solidFill>
                  <a:schemeClr val="bg1"/>
                </a:solidFill>
                <a:latin typeface="+mn-lt"/>
              </a:rPr>
              <a:t>Are you prepared for policy and regulatory shifts?</a:t>
            </a:r>
          </a:p>
        </p:txBody>
      </p:sp>
      <p:sp>
        <p:nvSpPr>
          <p:cNvPr id="33" name="Content Placeholder 7">
            <a:extLst>
              <a:ext uri="{FF2B5EF4-FFF2-40B4-BE49-F238E27FC236}">
                <a16:creationId xmlns:a16="http://schemas.microsoft.com/office/drawing/2014/main" id="{5FCD713E-389E-2E64-3B44-92390CF580DD}"/>
              </a:ext>
            </a:extLst>
          </p:cNvPr>
          <p:cNvSpPr txBox="1">
            <a:spLocks/>
          </p:cNvSpPr>
          <p:nvPr/>
        </p:nvSpPr>
        <p:spPr>
          <a:xfrm>
            <a:off x="4358530" y="3153740"/>
            <a:ext cx="3967934" cy="493155"/>
          </a:xfrm>
          <a:custGeom>
            <a:avLst/>
            <a:gdLst>
              <a:gd name="connsiteX0" fmla="*/ 0 w 5212080"/>
              <a:gd name="connsiteY0" fmla="*/ 0 h 4402138"/>
              <a:gd name="connsiteX1" fmla="*/ 5212080 w 5212080"/>
              <a:gd name="connsiteY1" fmla="*/ 0 h 4402138"/>
              <a:gd name="connsiteX2" fmla="*/ 5212080 w 5212080"/>
              <a:gd name="connsiteY2" fmla="*/ 4402138 h 4402138"/>
              <a:gd name="connsiteX3" fmla="*/ 0 w 52120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5212080" h="4402138">
                <a:moveTo>
                  <a:pt x="0" y="0"/>
                </a:moveTo>
                <a:lnTo>
                  <a:pt x="5212080" y="0"/>
                </a:lnTo>
                <a:lnTo>
                  <a:pt x="5212080" y="4402138"/>
                </a:lnTo>
                <a:lnTo>
                  <a:pt x="0" y="4402138"/>
                </a:lnTo>
                <a:close/>
              </a:path>
            </a:pathLst>
          </a:custGeom>
        </p:spPr>
        <p:txBody>
          <a:bodyPr lIns="0" rIns="0" anchor="ctr" anchorCtr="0"/>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None/>
            </a:pPr>
            <a:r>
              <a:rPr lang="en-US" sz="1800" b="1" dirty="0">
                <a:solidFill>
                  <a:schemeClr val="bg1"/>
                </a:solidFill>
              </a:rPr>
              <a:t>Are your operations resilient to key climate risks?</a:t>
            </a:r>
          </a:p>
        </p:txBody>
      </p:sp>
      <p:sp>
        <p:nvSpPr>
          <p:cNvPr id="34" name="Content Placeholder 7">
            <a:extLst>
              <a:ext uri="{FF2B5EF4-FFF2-40B4-BE49-F238E27FC236}">
                <a16:creationId xmlns:a16="http://schemas.microsoft.com/office/drawing/2014/main" id="{04C9129F-4D25-CD2B-868D-7482F204E7E3}"/>
              </a:ext>
            </a:extLst>
          </p:cNvPr>
          <p:cNvSpPr txBox="1">
            <a:spLocks/>
          </p:cNvSpPr>
          <p:nvPr/>
        </p:nvSpPr>
        <p:spPr>
          <a:xfrm>
            <a:off x="4383919" y="4115152"/>
            <a:ext cx="4060702" cy="493155"/>
          </a:xfrm>
          <a:custGeom>
            <a:avLst/>
            <a:gdLst>
              <a:gd name="connsiteX0" fmla="*/ 0 w 5212080"/>
              <a:gd name="connsiteY0" fmla="*/ 0 h 4402138"/>
              <a:gd name="connsiteX1" fmla="*/ 5212080 w 5212080"/>
              <a:gd name="connsiteY1" fmla="*/ 0 h 4402138"/>
              <a:gd name="connsiteX2" fmla="*/ 5212080 w 5212080"/>
              <a:gd name="connsiteY2" fmla="*/ 4402138 h 4402138"/>
              <a:gd name="connsiteX3" fmla="*/ 0 w 52120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5212080" h="4402138">
                <a:moveTo>
                  <a:pt x="0" y="0"/>
                </a:moveTo>
                <a:lnTo>
                  <a:pt x="5212080" y="0"/>
                </a:lnTo>
                <a:lnTo>
                  <a:pt x="5212080" y="4402138"/>
                </a:lnTo>
                <a:lnTo>
                  <a:pt x="0" y="4402138"/>
                </a:lnTo>
                <a:close/>
              </a:path>
            </a:pathLst>
          </a:custGeom>
        </p:spPr>
        <p:txBody>
          <a:bodyPr lIns="0" rIns="0" anchor="ctr" anchorCtr="0"/>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None/>
            </a:pPr>
            <a:endParaRPr lang="en-US" sz="1800" b="1" dirty="0">
              <a:solidFill>
                <a:schemeClr val="bg1"/>
              </a:solidFill>
              <a:latin typeface="+mj-lt"/>
            </a:endParaRPr>
          </a:p>
        </p:txBody>
      </p:sp>
      <p:sp>
        <p:nvSpPr>
          <p:cNvPr id="45" name="TextBox 44">
            <a:extLst>
              <a:ext uri="{FF2B5EF4-FFF2-40B4-BE49-F238E27FC236}">
                <a16:creationId xmlns:a16="http://schemas.microsoft.com/office/drawing/2014/main" id="{AE86A7EE-0A7D-4007-0258-EB998ADA443D}"/>
              </a:ext>
            </a:extLst>
          </p:cNvPr>
          <p:cNvSpPr txBox="1"/>
          <p:nvPr/>
        </p:nvSpPr>
        <p:spPr>
          <a:xfrm>
            <a:off x="9884989" y="2857637"/>
            <a:ext cx="680533" cy="8415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nchorCtr="0">
            <a:noAutofit/>
          </a:bodyPr>
          <a:lstStyle/>
          <a:p>
            <a:pPr algn="ctr">
              <a:lnSpc>
                <a:spcPct val="120000"/>
              </a:lnSpc>
              <a:spcBef>
                <a:spcPts val="300"/>
              </a:spcBef>
            </a:pPr>
            <a:r>
              <a:rPr lang="en-CA" sz="5400" dirty="0">
                <a:solidFill>
                  <a:schemeClr val="bg1"/>
                </a:solidFill>
                <a:sym typeface="Open Sans Regular"/>
              </a:rPr>
              <a:t>2</a:t>
            </a:r>
          </a:p>
        </p:txBody>
      </p:sp>
      <p:sp>
        <p:nvSpPr>
          <p:cNvPr id="14" name="TextBox 13">
            <a:extLst>
              <a:ext uri="{FF2B5EF4-FFF2-40B4-BE49-F238E27FC236}">
                <a16:creationId xmlns:a16="http://schemas.microsoft.com/office/drawing/2014/main" id="{A513875B-8E0F-9C79-71A2-8D6E8844625B}"/>
              </a:ext>
            </a:extLst>
          </p:cNvPr>
          <p:cNvSpPr txBox="1"/>
          <p:nvPr/>
        </p:nvSpPr>
        <p:spPr>
          <a:xfrm>
            <a:off x="9286762" y="3875363"/>
            <a:ext cx="680533" cy="8415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nchorCtr="0">
            <a:noAutofit/>
          </a:bodyPr>
          <a:lstStyle/>
          <a:p>
            <a:pPr algn="ctr">
              <a:lnSpc>
                <a:spcPct val="120000"/>
              </a:lnSpc>
              <a:spcBef>
                <a:spcPts val="300"/>
              </a:spcBef>
            </a:pPr>
            <a:r>
              <a:rPr lang="en-CA" sz="5400" dirty="0">
                <a:solidFill>
                  <a:schemeClr val="bg1"/>
                </a:solidFill>
                <a:sym typeface="Open Sans Regular"/>
              </a:rPr>
              <a:t>3</a:t>
            </a:r>
          </a:p>
        </p:txBody>
      </p:sp>
      <p:sp>
        <p:nvSpPr>
          <p:cNvPr id="15" name="TextBox 14">
            <a:extLst>
              <a:ext uri="{FF2B5EF4-FFF2-40B4-BE49-F238E27FC236}">
                <a16:creationId xmlns:a16="http://schemas.microsoft.com/office/drawing/2014/main" id="{E7CBADB3-6055-45C9-6E5B-D5C33F8DBDA3}"/>
              </a:ext>
            </a:extLst>
          </p:cNvPr>
          <p:cNvSpPr txBox="1"/>
          <p:nvPr/>
        </p:nvSpPr>
        <p:spPr>
          <a:xfrm>
            <a:off x="8326464" y="1896370"/>
            <a:ext cx="680533" cy="8415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nchorCtr="0">
            <a:noAutofit/>
          </a:bodyPr>
          <a:lstStyle/>
          <a:p>
            <a:pPr algn="ctr">
              <a:lnSpc>
                <a:spcPct val="120000"/>
              </a:lnSpc>
              <a:spcBef>
                <a:spcPts val="300"/>
              </a:spcBef>
            </a:pPr>
            <a:r>
              <a:rPr lang="en-CA" sz="5400" dirty="0">
                <a:solidFill>
                  <a:schemeClr val="bg1"/>
                </a:solidFill>
                <a:sym typeface="Open Sans Regular"/>
              </a:rPr>
              <a:t>1</a:t>
            </a:r>
          </a:p>
        </p:txBody>
      </p:sp>
      <p:sp>
        <p:nvSpPr>
          <p:cNvPr id="2" name="Rectangle: Rounded Corners 1">
            <a:extLst>
              <a:ext uri="{FF2B5EF4-FFF2-40B4-BE49-F238E27FC236}">
                <a16:creationId xmlns:a16="http://schemas.microsoft.com/office/drawing/2014/main" id="{61D600FE-CC59-6E5C-D08C-2B457CE7C464}"/>
              </a:ext>
            </a:extLst>
          </p:cNvPr>
          <p:cNvSpPr/>
          <p:nvPr/>
        </p:nvSpPr>
        <p:spPr>
          <a:xfrm>
            <a:off x="1785907" y="5123795"/>
            <a:ext cx="7500855" cy="969771"/>
          </a:xfrm>
          <a:prstGeom prst="roundRect">
            <a:avLst>
              <a:gd name="adj" fmla="val 50000"/>
            </a:avLst>
          </a:prstGeom>
          <a:solidFill>
            <a:srgbClr val="00AF92">
              <a:alpha val="25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sp>
        <p:nvSpPr>
          <p:cNvPr id="5" name="Content Placeholder 7">
            <a:extLst>
              <a:ext uri="{FF2B5EF4-FFF2-40B4-BE49-F238E27FC236}">
                <a16:creationId xmlns:a16="http://schemas.microsoft.com/office/drawing/2014/main" id="{5465BEE9-E8D4-57FB-7148-E7D39DD00DB0}"/>
              </a:ext>
            </a:extLst>
          </p:cNvPr>
          <p:cNvSpPr txBox="1">
            <a:spLocks/>
          </p:cNvSpPr>
          <p:nvPr/>
        </p:nvSpPr>
        <p:spPr>
          <a:xfrm>
            <a:off x="4363963" y="5353834"/>
            <a:ext cx="3962501" cy="493155"/>
          </a:xfrm>
          <a:custGeom>
            <a:avLst/>
            <a:gdLst>
              <a:gd name="connsiteX0" fmla="*/ 0 w 5212080"/>
              <a:gd name="connsiteY0" fmla="*/ 0 h 4402138"/>
              <a:gd name="connsiteX1" fmla="*/ 5212080 w 5212080"/>
              <a:gd name="connsiteY1" fmla="*/ 0 h 4402138"/>
              <a:gd name="connsiteX2" fmla="*/ 5212080 w 5212080"/>
              <a:gd name="connsiteY2" fmla="*/ 4402138 h 4402138"/>
              <a:gd name="connsiteX3" fmla="*/ 0 w 52120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5212080" h="4402138">
                <a:moveTo>
                  <a:pt x="0" y="0"/>
                </a:moveTo>
                <a:lnTo>
                  <a:pt x="5212080" y="0"/>
                </a:lnTo>
                <a:lnTo>
                  <a:pt x="5212080" y="4402138"/>
                </a:lnTo>
                <a:lnTo>
                  <a:pt x="0" y="4402138"/>
                </a:lnTo>
                <a:close/>
              </a:path>
            </a:pathLst>
          </a:custGeom>
        </p:spPr>
        <p:txBody>
          <a:bodyPr lIns="0" rIns="0" anchor="ctr" anchorCtr="0"/>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None/>
            </a:pPr>
            <a:r>
              <a:rPr lang="en-US" sz="1800" b="1" dirty="0">
                <a:solidFill>
                  <a:schemeClr val="bg2">
                    <a:lumMod val="25000"/>
                  </a:schemeClr>
                </a:solidFill>
                <a:latin typeface="+mn-lt"/>
              </a:rPr>
              <a:t>Can emissions reductions provide a climate opportunity?</a:t>
            </a:r>
          </a:p>
        </p:txBody>
      </p:sp>
      <p:sp>
        <p:nvSpPr>
          <p:cNvPr id="7" name="TextBox 6">
            <a:extLst>
              <a:ext uri="{FF2B5EF4-FFF2-40B4-BE49-F238E27FC236}">
                <a16:creationId xmlns:a16="http://schemas.microsoft.com/office/drawing/2014/main" id="{607FC851-2A75-71C9-8BA8-575C91E7512B}"/>
              </a:ext>
            </a:extLst>
          </p:cNvPr>
          <p:cNvSpPr txBox="1"/>
          <p:nvPr/>
        </p:nvSpPr>
        <p:spPr>
          <a:xfrm>
            <a:off x="8326464" y="5136760"/>
            <a:ext cx="680533" cy="8415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nchorCtr="0">
            <a:noAutofit/>
          </a:bodyPr>
          <a:lstStyle/>
          <a:p>
            <a:pPr algn="ctr">
              <a:lnSpc>
                <a:spcPct val="120000"/>
              </a:lnSpc>
              <a:spcBef>
                <a:spcPts val="300"/>
              </a:spcBef>
            </a:pPr>
            <a:r>
              <a:rPr lang="en-CA" sz="5400" dirty="0">
                <a:solidFill>
                  <a:schemeClr val="bg2">
                    <a:lumMod val="25000"/>
                  </a:schemeClr>
                </a:solidFill>
                <a:sym typeface="Open Sans Regular"/>
              </a:rPr>
              <a:t>4</a:t>
            </a:r>
          </a:p>
        </p:txBody>
      </p:sp>
      <p:sp>
        <p:nvSpPr>
          <p:cNvPr id="8" name="Content Placeholder 7">
            <a:extLst>
              <a:ext uri="{FF2B5EF4-FFF2-40B4-BE49-F238E27FC236}">
                <a16:creationId xmlns:a16="http://schemas.microsoft.com/office/drawing/2014/main" id="{7EDCF86F-23F8-C373-6F4D-FDF495EDA164}"/>
              </a:ext>
            </a:extLst>
          </p:cNvPr>
          <p:cNvSpPr txBox="1">
            <a:spLocks/>
          </p:cNvSpPr>
          <p:nvPr/>
        </p:nvSpPr>
        <p:spPr>
          <a:xfrm>
            <a:off x="4358530" y="4361729"/>
            <a:ext cx="4569581" cy="493155"/>
          </a:xfrm>
          <a:custGeom>
            <a:avLst/>
            <a:gdLst>
              <a:gd name="connsiteX0" fmla="*/ 0 w 5212080"/>
              <a:gd name="connsiteY0" fmla="*/ 0 h 4402138"/>
              <a:gd name="connsiteX1" fmla="*/ 5212080 w 5212080"/>
              <a:gd name="connsiteY1" fmla="*/ 0 h 4402138"/>
              <a:gd name="connsiteX2" fmla="*/ 5212080 w 5212080"/>
              <a:gd name="connsiteY2" fmla="*/ 4402138 h 4402138"/>
              <a:gd name="connsiteX3" fmla="*/ 0 w 521208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5212080" h="4402138">
                <a:moveTo>
                  <a:pt x="0" y="0"/>
                </a:moveTo>
                <a:lnTo>
                  <a:pt x="5212080" y="0"/>
                </a:lnTo>
                <a:lnTo>
                  <a:pt x="5212080" y="4402138"/>
                </a:lnTo>
                <a:lnTo>
                  <a:pt x="0" y="4402138"/>
                </a:lnTo>
                <a:close/>
              </a:path>
            </a:pathLst>
          </a:custGeom>
        </p:spPr>
        <p:txBody>
          <a:bodyPr lIns="0" rIns="0" anchor="ctr" anchorCtr="0"/>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None/>
            </a:pPr>
            <a:r>
              <a:rPr lang="en-US" sz="1800" b="1" dirty="0">
                <a:solidFill>
                  <a:schemeClr val="bg1"/>
                </a:solidFill>
              </a:rPr>
              <a:t>Is your leadership or Board informed of the risks and opportunities?</a:t>
            </a:r>
          </a:p>
          <a:p>
            <a:pPr marL="0" indent="0">
              <a:buNone/>
            </a:pPr>
            <a:endParaRPr lang="en-US" sz="1800" b="1" dirty="0">
              <a:solidFill>
                <a:schemeClr val="bg1"/>
              </a:solidFill>
              <a:latin typeface="+mj-lt"/>
            </a:endParaRPr>
          </a:p>
        </p:txBody>
      </p:sp>
    </p:spTree>
    <p:extLst>
      <p:ext uri="{BB962C8B-B14F-4D97-AF65-F5344CB8AC3E}">
        <p14:creationId xmlns:p14="http://schemas.microsoft.com/office/powerpoint/2010/main" val="40625698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3BDD3B-CC1D-FB05-0B9C-2673D8CB61B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573BDD3B-CC1D-FB05-0B9C-2673D8CB61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2" name="Picture Placeholder 21">
            <a:extLst>
              <a:ext uri="{FF2B5EF4-FFF2-40B4-BE49-F238E27FC236}">
                <a16:creationId xmlns:a16="http://schemas.microsoft.com/office/drawing/2014/main" id="{AAECB5F0-5414-87F0-AE46-19914D1928DD}"/>
              </a:ext>
            </a:extLst>
          </p:cNvPr>
          <p:cNvPicPr>
            <a:picLocks noGrp="1" noChangeAspect="1"/>
          </p:cNvPicPr>
          <p:nvPr>
            <p:ph type="pic" sz="quarter" idx="10"/>
          </p:nvPr>
        </p:nvPicPr>
        <p:blipFill>
          <a:blip r:embed="rId6" cstate="email">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a:ext>
            </a:extLst>
          </a:blip>
          <a:srcRect/>
          <a:stretch/>
        </p:blipFill>
        <p:spPr>
          <a:xfrm>
            <a:off x="0" y="0"/>
            <a:ext cx="12192000" cy="6858000"/>
          </a:xfrm>
        </p:spPr>
      </p:pic>
      <p:pic>
        <p:nvPicPr>
          <p:cNvPr id="34" name="Picture Placeholder 33">
            <a:extLst>
              <a:ext uri="{FF2B5EF4-FFF2-40B4-BE49-F238E27FC236}">
                <a16:creationId xmlns:a16="http://schemas.microsoft.com/office/drawing/2014/main" id="{CD4228C4-6C97-C52A-4E8C-A60E4F33FD91}"/>
              </a:ext>
            </a:extLst>
          </p:cNvPr>
          <p:cNvPicPr>
            <a:picLocks noGrp="1" noChangeAspect="1"/>
          </p:cNvPicPr>
          <p:nvPr>
            <p:ph type="pic" sz="quarter" idx="14"/>
          </p:nvPr>
        </p:nvPicPr>
        <p:blipFill rotWithShape="1">
          <a:blip r:embed="rId8" cstate="print">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rcRect l="-2478" r="-2478"/>
          <a:stretch/>
        </p:blipFill>
        <p:spPr>
          <a:xfrm>
            <a:off x="4445664" y="646317"/>
            <a:ext cx="3300673" cy="572845"/>
          </a:xfrm>
        </p:spPr>
      </p:pic>
      <p:sp>
        <p:nvSpPr>
          <p:cNvPr id="9" name="Text Placeholder 8">
            <a:extLst>
              <a:ext uri="{FF2B5EF4-FFF2-40B4-BE49-F238E27FC236}">
                <a16:creationId xmlns:a16="http://schemas.microsoft.com/office/drawing/2014/main" id="{3455FB71-82FF-1A1F-57E6-231FE29A67C0}"/>
              </a:ext>
            </a:extLst>
          </p:cNvPr>
          <p:cNvSpPr>
            <a:spLocks noGrp="1"/>
          </p:cNvSpPr>
          <p:nvPr>
            <p:ph type="body" sz="quarter" idx="17"/>
          </p:nvPr>
        </p:nvSpPr>
        <p:spPr>
          <a:xfrm>
            <a:off x="5060151" y="4364511"/>
            <a:ext cx="2068652" cy="476726"/>
          </a:xfrm>
        </p:spPr>
        <p:txBody>
          <a:bodyPr/>
          <a:lstStyle/>
          <a:p>
            <a:r>
              <a:rPr lang="en-US" dirty="0"/>
              <a:t>CONTACT</a:t>
            </a:r>
          </a:p>
        </p:txBody>
      </p:sp>
      <p:sp>
        <p:nvSpPr>
          <p:cNvPr id="10" name="Text Placeholder 9">
            <a:extLst>
              <a:ext uri="{FF2B5EF4-FFF2-40B4-BE49-F238E27FC236}">
                <a16:creationId xmlns:a16="http://schemas.microsoft.com/office/drawing/2014/main" id="{E615F1AC-842D-5508-F090-55324C61D5E3}"/>
              </a:ext>
            </a:extLst>
          </p:cNvPr>
          <p:cNvSpPr>
            <a:spLocks noGrp="1"/>
          </p:cNvSpPr>
          <p:nvPr>
            <p:ph type="body" sz="quarter" idx="18"/>
          </p:nvPr>
        </p:nvSpPr>
        <p:spPr>
          <a:xfrm>
            <a:off x="4867338" y="5159390"/>
            <a:ext cx="2454275" cy="911225"/>
          </a:xfrm>
        </p:spPr>
        <p:txBody>
          <a:bodyPr/>
          <a:lstStyle/>
          <a:p>
            <a:r>
              <a:rPr lang="en-US" noProof="0" dirty="0"/>
              <a:t>Amanda Mast</a:t>
            </a:r>
          </a:p>
          <a:p>
            <a:pPr lvl="1">
              <a:spcBef>
                <a:spcPts val="600"/>
              </a:spcBef>
            </a:pPr>
            <a:r>
              <a:rPr lang="en-US" sz="1200" dirty="0"/>
              <a:t>Director</a:t>
            </a:r>
            <a:endParaRPr lang="en-US" sz="1200" noProof="0" dirty="0"/>
          </a:p>
          <a:p>
            <a:pPr lvl="1"/>
            <a:r>
              <a:rPr lang="en-US" sz="1200" dirty="0"/>
              <a:t>amast@climeco.com</a:t>
            </a:r>
            <a:endParaRPr lang="en-US" dirty="0"/>
          </a:p>
        </p:txBody>
      </p:sp>
      <p:sp>
        <p:nvSpPr>
          <p:cNvPr id="36" name="Slide Number Placeholder 35">
            <a:extLst>
              <a:ext uri="{FF2B5EF4-FFF2-40B4-BE49-F238E27FC236}">
                <a16:creationId xmlns:a16="http://schemas.microsoft.com/office/drawing/2014/main" id="{B4627D91-A5D8-6AE6-78C3-487052985AE9}"/>
              </a:ext>
            </a:extLst>
          </p:cNvPr>
          <p:cNvSpPr>
            <a:spLocks noGrp="1"/>
          </p:cNvSpPr>
          <p:nvPr>
            <p:ph type="sldNum" sz="quarter" idx="13"/>
          </p:nvPr>
        </p:nvSpPr>
        <p:spPr/>
        <p:txBody>
          <a:bodyPr/>
          <a:lstStyle/>
          <a:p>
            <a:fld id="{86CB4B4D-7CA3-9044-876B-883B54F8677D}" type="slidenum">
              <a:rPr lang="en-US" smtClean="0">
                <a:solidFill>
                  <a:schemeClr val="bg1"/>
                </a:solidFill>
              </a:rPr>
              <a:pPr/>
              <a:t>15</a:t>
            </a:fld>
            <a:endParaRPr lang="en-US" dirty="0">
              <a:solidFill>
                <a:schemeClr val="bg1"/>
              </a:solidFill>
            </a:endParaRPr>
          </a:p>
        </p:txBody>
      </p:sp>
      <p:pic>
        <p:nvPicPr>
          <p:cNvPr id="6" name="Picture 5" descr="A qr code with blue dots&#10;&#10;AI-generated content may be incorrect.">
            <a:extLst>
              <a:ext uri="{FF2B5EF4-FFF2-40B4-BE49-F238E27FC236}">
                <a16:creationId xmlns:a16="http://schemas.microsoft.com/office/drawing/2014/main" id="{30155C8A-0072-30F7-D7A2-1C1E13A945D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39598" y="1831108"/>
            <a:ext cx="2112804" cy="2112804"/>
          </a:xfrm>
          <a:prstGeom prst="roundRect">
            <a:avLst/>
          </a:prstGeom>
        </p:spPr>
      </p:pic>
    </p:spTree>
    <p:extLst>
      <p:ext uri="{BB962C8B-B14F-4D97-AF65-F5344CB8AC3E}">
        <p14:creationId xmlns:p14="http://schemas.microsoft.com/office/powerpoint/2010/main" val="255233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24D20F4-AE3A-3426-D329-7DE04015463D}"/>
            </a:ext>
          </a:extLst>
        </p:cNvPr>
        <p:cNvGrpSpPr/>
        <p:nvPr/>
      </p:nvGrpSpPr>
      <p:grpSpPr>
        <a:xfrm>
          <a:off x="0" y="0"/>
          <a:ext cx="0" cy="0"/>
          <a:chOff x="0" y="0"/>
          <a:chExt cx="0" cy="0"/>
        </a:xfrm>
      </p:grpSpPr>
      <p:grpSp>
        <p:nvGrpSpPr>
          <p:cNvPr id="22" name="Group 21">
            <a:extLst>
              <a:ext uri="{FF2B5EF4-FFF2-40B4-BE49-F238E27FC236}">
                <a16:creationId xmlns:a16="http://schemas.microsoft.com/office/drawing/2014/main" id="{917E5E62-6EB1-3BA6-973F-71DA679073E9}"/>
              </a:ext>
            </a:extLst>
          </p:cNvPr>
          <p:cNvGrpSpPr/>
          <p:nvPr/>
        </p:nvGrpSpPr>
        <p:grpSpPr>
          <a:xfrm>
            <a:off x="9587221" y="4085916"/>
            <a:ext cx="1720732" cy="1722716"/>
            <a:chOff x="-1184099" y="3234131"/>
            <a:chExt cx="2021482" cy="2023669"/>
          </a:xfrm>
        </p:grpSpPr>
        <p:grpSp>
          <p:nvGrpSpPr>
            <p:cNvPr id="24" name="Group 23">
              <a:extLst>
                <a:ext uri="{FF2B5EF4-FFF2-40B4-BE49-F238E27FC236}">
                  <a16:creationId xmlns:a16="http://schemas.microsoft.com/office/drawing/2014/main" id="{493BF6F5-10C8-C841-2F1D-D5AEDC6F6828}"/>
                </a:ext>
              </a:extLst>
            </p:cNvPr>
            <p:cNvGrpSpPr/>
            <p:nvPr/>
          </p:nvGrpSpPr>
          <p:grpSpPr>
            <a:xfrm>
              <a:off x="-1184099" y="3234131"/>
              <a:ext cx="2021482" cy="2023669"/>
              <a:chOff x="-1184099" y="3234131"/>
              <a:chExt cx="2021482" cy="2023669"/>
            </a:xfrm>
          </p:grpSpPr>
          <p:sp>
            <p:nvSpPr>
              <p:cNvPr id="27" name="Teardrop 26">
                <a:extLst>
                  <a:ext uri="{FF2B5EF4-FFF2-40B4-BE49-F238E27FC236}">
                    <a16:creationId xmlns:a16="http://schemas.microsoft.com/office/drawing/2014/main" id="{393E1BCB-9763-40EA-D514-ACDEC94DA35A}"/>
                  </a:ext>
                </a:extLst>
              </p:cNvPr>
              <p:cNvSpPr/>
              <p:nvPr/>
            </p:nvSpPr>
            <p:spPr>
              <a:xfrm rot="2700000">
                <a:off x="-1184099" y="3234131"/>
                <a:ext cx="2021482" cy="2021482"/>
              </a:xfrm>
              <a:prstGeom prst="teardrop">
                <a:avLst/>
              </a:prstGeom>
              <a:solidFill>
                <a:schemeClr val="accent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sp>
            <p:nvSpPr>
              <p:cNvPr id="47" name="Block Arc 46">
                <a:extLst>
                  <a:ext uri="{FF2B5EF4-FFF2-40B4-BE49-F238E27FC236}">
                    <a16:creationId xmlns:a16="http://schemas.microsoft.com/office/drawing/2014/main" id="{AFD651A5-63B4-FE3E-B54A-8E9483458E09}"/>
                  </a:ext>
                </a:extLst>
              </p:cNvPr>
              <p:cNvSpPr/>
              <p:nvPr/>
            </p:nvSpPr>
            <p:spPr>
              <a:xfrm rot="16200000">
                <a:off x="-1187095" y="3238200"/>
                <a:ext cx="2023200" cy="2016000"/>
              </a:xfrm>
              <a:prstGeom prst="blockArc">
                <a:avLst>
                  <a:gd name="adj1" fmla="val 10830229"/>
                  <a:gd name="adj2" fmla="val 40749"/>
                  <a:gd name="adj3" fmla="val 13230"/>
                </a:avLst>
              </a:prstGeom>
              <a:solidFill>
                <a:schemeClr val="bg1">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grpSp>
        <p:sp>
          <p:nvSpPr>
            <p:cNvPr id="25" name="Content Placeholder 18">
              <a:extLst>
                <a:ext uri="{FF2B5EF4-FFF2-40B4-BE49-F238E27FC236}">
                  <a16:creationId xmlns:a16="http://schemas.microsoft.com/office/drawing/2014/main" id="{50086B68-581D-446D-D93B-B3F040DD81A2}"/>
                </a:ext>
              </a:extLst>
            </p:cNvPr>
            <p:cNvSpPr txBox="1">
              <a:spLocks/>
            </p:cNvSpPr>
            <p:nvPr/>
          </p:nvSpPr>
          <p:spPr>
            <a:xfrm>
              <a:off x="-791924" y="4190668"/>
              <a:ext cx="1469988" cy="5055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90000"/>
                </a:lnSpc>
                <a:spcBef>
                  <a:spcPts val="0"/>
                </a:spcBef>
                <a:spcAft>
                  <a:spcPts val="0"/>
                </a:spcAft>
                <a:buClr>
                  <a:srgbClr val="000000"/>
                </a:buClr>
                <a:buSzPct val="100000"/>
                <a:buFont typeface="Inter"/>
                <a:buNone/>
                <a:tabLst/>
                <a:defRPr/>
              </a:pPr>
              <a:r>
                <a:rPr kumimoji="0" lang="en-US" sz="1300" b="0"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Draft reports in alignment with requirements</a:t>
              </a:r>
            </a:p>
          </p:txBody>
        </p:sp>
        <p:sp>
          <p:nvSpPr>
            <p:cNvPr id="26" name="Content Placeholder 19">
              <a:extLst>
                <a:ext uri="{FF2B5EF4-FFF2-40B4-BE49-F238E27FC236}">
                  <a16:creationId xmlns:a16="http://schemas.microsoft.com/office/drawing/2014/main" id="{03DB7FA3-E483-BF74-2AA7-C668311D07D0}"/>
                </a:ext>
              </a:extLst>
            </p:cNvPr>
            <p:cNvSpPr txBox="1">
              <a:spLocks/>
            </p:cNvSpPr>
            <p:nvPr/>
          </p:nvSpPr>
          <p:spPr>
            <a:xfrm>
              <a:off x="-876147" y="3683868"/>
              <a:ext cx="1624431" cy="5055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t" anchorCtr="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Pct val="100000"/>
                <a:buFont typeface="Inter"/>
                <a:buNone/>
                <a:tabLst/>
                <a:defRPr/>
              </a:pPr>
              <a:r>
                <a:rPr kumimoji="0" lang="en-US" sz="1300" b="1"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6. Disclose Performance</a:t>
              </a:r>
            </a:p>
          </p:txBody>
        </p:sp>
      </p:grpSp>
      <p:grpSp>
        <p:nvGrpSpPr>
          <p:cNvPr id="4" name="Group 3">
            <a:extLst>
              <a:ext uri="{FF2B5EF4-FFF2-40B4-BE49-F238E27FC236}">
                <a16:creationId xmlns:a16="http://schemas.microsoft.com/office/drawing/2014/main" id="{A7D8CB55-A518-8EF0-E6C3-C46EBFB4FBC9}"/>
              </a:ext>
            </a:extLst>
          </p:cNvPr>
          <p:cNvGrpSpPr/>
          <p:nvPr/>
        </p:nvGrpSpPr>
        <p:grpSpPr>
          <a:xfrm>
            <a:off x="7784740" y="4071221"/>
            <a:ext cx="1720732" cy="1722716"/>
            <a:chOff x="-1184099" y="3234131"/>
            <a:chExt cx="2021482" cy="2023669"/>
          </a:xfrm>
        </p:grpSpPr>
        <p:grpSp>
          <p:nvGrpSpPr>
            <p:cNvPr id="7" name="Group 6">
              <a:extLst>
                <a:ext uri="{FF2B5EF4-FFF2-40B4-BE49-F238E27FC236}">
                  <a16:creationId xmlns:a16="http://schemas.microsoft.com/office/drawing/2014/main" id="{CB0F0E91-5C37-7D11-C4AA-6241E2315827}"/>
                </a:ext>
              </a:extLst>
            </p:cNvPr>
            <p:cNvGrpSpPr/>
            <p:nvPr/>
          </p:nvGrpSpPr>
          <p:grpSpPr>
            <a:xfrm>
              <a:off x="-1184099" y="3234131"/>
              <a:ext cx="2021482" cy="2023669"/>
              <a:chOff x="-1184099" y="3234131"/>
              <a:chExt cx="2021482" cy="2023669"/>
            </a:xfrm>
          </p:grpSpPr>
          <p:sp>
            <p:nvSpPr>
              <p:cNvPr id="39" name="Teardrop 38">
                <a:extLst>
                  <a:ext uri="{FF2B5EF4-FFF2-40B4-BE49-F238E27FC236}">
                    <a16:creationId xmlns:a16="http://schemas.microsoft.com/office/drawing/2014/main" id="{6DC5D743-852B-C2E3-3D3E-DD770F5A9D10}"/>
                  </a:ext>
                </a:extLst>
              </p:cNvPr>
              <p:cNvSpPr/>
              <p:nvPr/>
            </p:nvSpPr>
            <p:spPr>
              <a:xfrm rot="2700000">
                <a:off x="-1184099" y="3234131"/>
                <a:ext cx="2021482" cy="2021482"/>
              </a:xfrm>
              <a:prstGeom prst="teardrop">
                <a:avLst/>
              </a:prstGeom>
              <a:solidFill>
                <a:schemeClr val="accent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sp>
            <p:nvSpPr>
              <p:cNvPr id="40" name="Block Arc 39">
                <a:extLst>
                  <a:ext uri="{FF2B5EF4-FFF2-40B4-BE49-F238E27FC236}">
                    <a16:creationId xmlns:a16="http://schemas.microsoft.com/office/drawing/2014/main" id="{6B2B040A-F967-8A2B-5C89-92C83C2D61D6}"/>
                  </a:ext>
                </a:extLst>
              </p:cNvPr>
              <p:cNvSpPr/>
              <p:nvPr/>
            </p:nvSpPr>
            <p:spPr>
              <a:xfrm rot="16200000">
                <a:off x="-1187095" y="3238200"/>
                <a:ext cx="2023200" cy="2016000"/>
              </a:xfrm>
              <a:prstGeom prst="blockArc">
                <a:avLst>
                  <a:gd name="adj1" fmla="val 10830229"/>
                  <a:gd name="adj2" fmla="val 40749"/>
                  <a:gd name="adj3" fmla="val 13230"/>
                </a:avLst>
              </a:prstGeom>
              <a:solidFill>
                <a:schemeClr val="bg1">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grpSp>
        <p:sp>
          <p:nvSpPr>
            <p:cNvPr id="23" name="Content Placeholder 18">
              <a:extLst>
                <a:ext uri="{FF2B5EF4-FFF2-40B4-BE49-F238E27FC236}">
                  <a16:creationId xmlns:a16="http://schemas.microsoft.com/office/drawing/2014/main" id="{C888D5AD-0DC8-573E-C011-74CAC862DD9E}"/>
                </a:ext>
              </a:extLst>
            </p:cNvPr>
            <p:cNvSpPr txBox="1">
              <a:spLocks/>
            </p:cNvSpPr>
            <p:nvPr/>
          </p:nvSpPr>
          <p:spPr>
            <a:xfrm>
              <a:off x="-791924" y="4190668"/>
              <a:ext cx="1557679" cy="5055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90000"/>
                </a:lnSpc>
                <a:spcBef>
                  <a:spcPts val="0"/>
                </a:spcBef>
                <a:spcAft>
                  <a:spcPts val="0"/>
                </a:spcAft>
                <a:buClr>
                  <a:srgbClr val="000000"/>
                </a:buClr>
                <a:buSzPct val="100000"/>
                <a:buFont typeface="Inter"/>
                <a:buNone/>
                <a:tabLst/>
                <a:defRPr/>
              </a:pPr>
              <a:r>
                <a:rPr kumimoji="0" lang="en-US" sz="1300" b="0"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Drive reductions to GHG footprint </a:t>
              </a:r>
            </a:p>
          </p:txBody>
        </p:sp>
        <p:sp>
          <p:nvSpPr>
            <p:cNvPr id="38" name="Content Placeholder 19">
              <a:extLst>
                <a:ext uri="{FF2B5EF4-FFF2-40B4-BE49-F238E27FC236}">
                  <a16:creationId xmlns:a16="http://schemas.microsoft.com/office/drawing/2014/main" id="{BA43E192-5E69-1678-FE81-FC72B30379AE}"/>
                </a:ext>
              </a:extLst>
            </p:cNvPr>
            <p:cNvSpPr txBox="1">
              <a:spLocks/>
            </p:cNvSpPr>
            <p:nvPr/>
          </p:nvSpPr>
          <p:spPr>
            <a:xfrm>
              <a:off x="-791924" y="3752771"/>
              <a:ext cx="1469988" cy="38775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b" anchorCtr="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Pct val="100000"/>
                <a:buFont typeface="Inter"/>
                <a:buNone/>
                <a:tabLst/>
                <a:defRPr/>
              </a:pPr>
              <a:r>
                <a:rPr kumimoji="0" lang="en-US" sz="1300" b="1"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5. Measure &amp; Reduce Impact</a:t>
              </a:r>
            </a:p>
          </p:txBody>
        </p:sp>
      </p:grpSp>
      <p:grpSp>
        <p:nvGrpSpPr>
          <p:cNvPr id="41" name="Group 40">
            <a:extLst>
              <a:ext uri="{FF2B5EF4-FFF2-40B4-BE49-F238E27FC236}">
                <a16:creationId xmlns:a16="http://schemas.microsoft.com/office/drawing/2014/main" id="{BE49F061-E320-9956-EBD9-3417068D08DA}"/>
              </a:ext>
            </a:extLst>
          </p:cNvPr>
          <p:cNvGrpSpPr/>
          <p:nvPr/>
        </p:nvGrpSpPr>
        <p:grpSpPr>
          <a:xfrm>
            <a:off x="5982773" y="4072276"/>
            <a:ext cx="1720732" cy="1722716"/>
            <a:chOff x="-1184099" y="3234131"/>
            <a:chExt cx="2021482" cy="2023669"/>
          </a:xfrm>
        </p:grpSpPr>
        <p:grpSp>
          <p:nvGrpSpPr>
            <p:cNvPr id="42" name="Group 41">
              <a:extLst>
                <a:ext uri="{FF2B5EF4-FFF2-40B4-BE49-F238E27FC236}">
                  <a16:creationId xmlns:a16="http://schemas.microsoft.com/office/drawing/2014/main" id="{B8D048D5-8720-FF48-0C0D-BAB740498AD9}"/>
                </a:ext>
              </a:extLst>
            </p:cNvPr>
            <p:cNvGrpSpPr/>
            <p:nvPr/>
          </p:nvGrpSpPr>
          <p:grpSpPr>
            <a:xfrm>
              <a:off x="-1184099" y="3234131"/>
              <a:ext cx="2021482" cy="2023669"/>
              <a:chOff x="-1184099" y="3234131"/>
              <a:chExt cx="2021482" cy="2023669"/>
            </a:xfrm>
          </p:grpSpPr>
          <p:sp>
            <p:nvSpPr>
              <p:cNvPr id="45" name="Teardrop 44">
                <a:extLst>
                  <a:ext uri="{FF2B5EF4-FFF2-40B4-BE49-F238E27FC236}">
                    <a16:creationId xmlns:a16="http://schemas.microsoft.com/office/drawing/2014/main" id="{8BBA1247-6B87-0161-0D4F-5EBBEC070D64}"/>
                  </a:ext>
                </a:extLst>
              </p:cNvPr>
              <p:cNvSpPr/>
              <p:nvPr/>
            </p:nvSpPr>
            <p:spPr>
              <a:xfrm rot="2700000">
                <a:off x="-1184099" y="3234131"/>
                <a:ext cx="2021482" cy="2021482"/>
              </a:xfrm>
              <a:prstGeom prst="teardrop">
                <a:avLst/>
              </a:prstGeom>
              <a:solidFill>
                <a:schemeClr val="accent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sp>
            <p:nvSpPr>
              <p:cNvPr id="46" name="Block Arc 45">
                <a:extLst>
                  <a:ext uri="{FF2B5EF4-FFF2-40B4-BE49-F238E27FC236}">
                    <a16:creationId xmlns:a16="http://schemas.microsoft.com/office/drawing/2014/main" id="{738B0811-DE4D-FB8A-D171-0C933A89FBEA}"/>
                  </a:ext>
                </a:extLst>
              </p:cNvPr>
              <p:cNvSpPr/>
              <p:nvPr/>
            </p:nvSpPr>
            <p:spPr>
              <a:xfrm rot="16200000">
                <a:off x="-1187095" y="3238200"/>
                <a:ext cx="2023200" cy="2016000"/>
              </a:xfrm>
              <a:prstGeom prst="blockArc">
                <a:avLst>
                  <a:gd name="adj1" fmla="val 10830229"/>
                  <a:gd name="adj2" fmla="val 40749"/>
                  <a:gd name="adj3" fmla="val 13230"/>
                </a:avLst>
              </a:prstGeom>
              <a:solidFill>
                <a:schemeClr val="bg2">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grpSp>
        <p:sp>
          <p:nvSpPr>
            <p:cNvPr id="43" name="Content Placeholder 18">
              <a:extLst>
                <a:ext uri="{FF2B5EF4-FFF2-40B4-BE49-F238E27FC236}">
                  <a16:creationId xmlns:a16="http://schemas.microsoft.com/office/drawing/2014/main" id="{A071F792-2E8D-FBB3-DE6B-A1CE2FC71587}"/>
                </a:ext>
              </a:extLst>
            </p:cNvPr>
            <p:cNvSpPr txBox="1">
              <a:spLocks/>
            </p:cNvSpPr>
            <p:nvPr/>
          </p:nvSpPr>
          <p:spPr>
            <a:xfrm>
              <a:off x="-791924" y="4190668"/>
              <a:ext cx="1469988" cy="5055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90000"/>
                </a:lnSpc>
                <a:spcBef>
                  <a:spcPts val="0"/>
                </a:spcBef>
                <a:spcAft>
                  <a:spcPts val="0"/>
                </a:spcAft>
                <a:buClr>
                  <a:srgbClr val="000000"/>
                </a:buClr>
                <a:buSzPct val="100000"/>
                <a:buFont typeface="Inter"/>
                <a:buNone/>
                <a:tabLst/>
                <a:defRPr/>
              </a:pPr>
              <a:r>
                <a:rPr kumimoji="0" lang="en-US" sz="1300" b="0"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Inform strategy with top climate intelligence</a:t>
              </a:r>
            </a:p>
          </p:txBody>
        </p:sp>
        <p:sp>
          <p:nvSpPr>
            <p:cNvPr id="44" name="Content Placeholder 19">
              <a:extLst>
                <a:ext uri="{FF2B5EF4-FFF2-40B4-BE49-F238E27FC236}">
                  <a16:creationId xmlns:a16="http://schemas.microsoft.com/office/drawing/2014/main" id="{AF88D4B0-CBCC-DC86-15B8-4B5935350A4C}"/>
                </a:ext>
              </a:extLst>
            </p:cNvPr>
            <p:cNvSpPr txBox="1">
              <a:spLocks/>
            </p:cNvSpPr>
            <p:nvPr/>
          </p:nvSpPr>
          <p:spPr>
            <a:xfrm>
              <a:off x="-952152" y="3797473"/>
              <a:ext cx="1623827" cy="33607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b" anchorCtr="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Pct val="100000"/>
                <a:buFont typeface="Inter"/>
                <a:buNone/>
                <a:tabLst/>
                <a:defRPr/>
              </a:pPr>
              <a:r>
                <a:rPr kumimoji="0" lang="en-US" sz="1300" b="1"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4. Assess Risks &amp; Opportunities</a:t>
              </a:r>
            </a:p>
          </p:txBody>
        </p:sp>
      </p:grpSp>
      <p:grpSp>
        <p:nvGrpSpPr>
          <p:cNvPr id="9" name="Group 8">
            <a:extLst>
              <a:ext uri="{FF2B5EF4-FFF2-40B4-BE49-F238E27FC236}">
                <a16:creationId xmlns:a16="http://schemas.microsoft.com/office/drawing/2014/main" id="{03B3D159-80A2-ADD5-6775-A0BC89E585DE}"/>
              </a:ext>
            </a:extLst>
          </p:cNvPr>
          <p:cNvGrpSpPr/>
          <p:nvPr/>
        </p:nvGrpSpPr>
        <p:grpSpPr>
          <a:xfrm>
            <a:off x="4181320" y="4028279"/>
            <a:ext cx="1720732" cy="1722716"/>
            <a:chOff x="-1184099" y="3234131"/>
            <a:chExt cx="2021482" cy="2023669"/>
          </a:xfrm>
        </p:grpSpPr>
        <p:grpSp>
          <p:nvGrpSpPr>
            <p:cNvPr id="10" name="Group 9">
              <a:extLst>
                <a:ext uri="{FF2B5EF4-FFF2-40B4-BE49-F238E27FC236}">
                  <a16:creationId xmlns:a16="http://schemas.microsoft.com/office/drawing/2014/main" id="{A0EC46D2-20D0-3659-F9D5-E274842F1F98}"/>
                </a:ext>
              </a:extLst>
            </p:cNvPr>
            <p:cNvGrpSpPr/>
            <p:nvPr/>
          </p:nvGrpSpPr>
          <p:grpSpPr>
            <a:xfrm>
              <a:off x="-1184099" y="3234131"/>
              <a:ext cx="2021482" cy="2023669"/>
              <a:chOff x="-1184099" y="3234131"/>
              <a:chExt cx="2021482" cy="2023669"/>
            </a:xfrm>
          </p:grpSpPr>
          <p:sp>
            <p:nvSpPr>
              <p:cNvPr id="16" name="Teardrop 15">
                <a:extLst>
                  <a:ext uri="{FF2B5EF4-FFF2-40B4-BE49-F238E27FC236}">
                    <a16:creationId xmlns:a16="http://schemas.microsoft.com/office/drawing/2014/main" id="{0FF8DD3D-0A69-6DEF-8094-941F6CCB7070}"/>
                  </a:ext>
                </a:extLst>
              </p:cNvPr>
              <p:cNvSpPr/>
              <p:nvPr/>
            </p:nvSpPr>
            <p:spPr>
              <a:xfrm rot="2700000">
                <a:off x="-1184099" y="3234131"/>
                <a:ext cx="2021482" cy="2021482"/>
              </a:xfrm>
              <a:prstGeom prst="teardrop">
                <a:avLst/>
              </a:prstGeom>
              <a:solidFill>
                <a:schemeClr val="accent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sp>
            <p:nvSpPr>
              <p:cNvPr id="17" name="Block Arc 16">
                <a:extLst>
                  <a:ext uri="{FF2B5EF4-FFF2-40B4-BE49-F238E27FC236}">
                    <a16:creationId xmlns:a16="http://schemas.microsoft.com/office/drawing/2014/main" id="{190DEDC4-4EB9-5A30-9C3F-CCDF4CFAE8B2}"/>
                  </a:ext>
                </a:extLst>
              </p:cNvPr>
              <p:cNvSpPr/>
              <p:nvPr/>
            </p:nvSpPr>
            <p:spPr>
              <a:xfrm rot="16200000">
                <a:off x="-1187095" y="3238200"/>
                <a:ext cx="2023200" cy="2016000"/>
              </a:xfrm>
              <a:prstGeom prst="blockArc">
                <a:avLst>
                  <a:gd name="adj1" fmla="val 10830229"/>
                  <a:gd name="adj2" fmla="val 40749"/>
                  <a:gd name="adj3" fmla="val 13230"/>
                </a:avLst>
              </a:prstGeom>
              <a:solidFill>
                <a:schemeClr val="bg1">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grpSp>
        <p:sp>
          <p:nvSpPr>
            <p:cNvPr id="11" name="Content Placeholder 18">
              <a:extLst>
                <a:ext uri="{FF2B5EF4-FFF2-40B4-BE49-F238E27FC236}">
                  <a16:creationId xmlns:a16="http://schemas.microsoft.com/office/drawing/2014/main" id="{F5923905-255B-AE7E-5430-5C24CB723630}"/>
                </a:ext>
              </a:extLst>
            </p:cNvPr>
            <p:cNvSpPr txBox="1">
              <a:spLocks/>
            </p:cNvSpPr>
            <p:nvPr/>
          </p:nvSpPr>
          <p:spPr>
            <a:xfrm>
              <a:off x="-791924" y="4190668"/>
              <a:ext cx="1469988" cy="5055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90000"/>
                </a:lnSpc>
                <a:spcBef>
                  <a:spcPts val="0"/>
                </a:spcBef>
                <a:spcAft>
                  <a:spcPts val="0"/>
                </a:spcAft>
                <a:buClr>
                  <a:srgbClr val="000000"/>
                </a:buClr>
                <a:buSzPct val="100000"/>
                <a:buFont typeface="Inter"/>
                <a:buNone/>
                <a:tabLst/>
                <a:defRPr/>
              </a:pPr>
              <a:r>
                <a:rPr kumimoji="0" lang="en-US" sz="1300" b="0"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Integrate climate into corporate practices</a:t>
              </a:r>
            </a:p>
          </p:txBody>
        </p:sp>
        <p:sp>
          <p:nvSpPr>
            <p:cNvPr id="15" name="Content Placeholder 19">
              <a:extLst>
                <a:ext uri="{FF2B5EF4-FFF2-40B4-BE49-F238E27FC236}">
                  <a16:creationId xmlns:a16="http://schemas.microsoft.com/office/drawing/2014/main" id="{B8A9B96D-CAB2-A93D-F108-8B1A4CB78F7E}"/>
                </a:ext>
              </a:extLst>
            </p:cNvPr>
            <p:cNvSpPr txBox="1">
              <a:spLocks/>
            </p:cNvSpPr>
            <p:nvPr/>
          </p:nvSpPr>
          <p:spPr>
            <a:xfrm>
              <a:off x="-791924" y="3752771"/>
              <a:ext cx="1469988" cy="38775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b" anchorCtr="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Pct val="100000"/>
                <a:buFont typeface="Inter"/>
                <a:buNone/>
                <a:tabLst/>
                <a:defRPr/>
              </a:pPr>
              <a:r>
                <a:rPr kumimoji="0" lang="en-US" sz="1300" b="1"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3. Enhance Governance</a:t>
              </a:r>
            </a:p>
          </p:txBody>
        </p:sp>
      </p:grpSp>
      <p:grpSp>
        <p:nvGrpSpPr>
          <p:cNvPr id="5" name="Group 4">
            <a:extLst>
              <a:ext uri="{FF2B5EF4-FFF2-40B4-BE49-F238E27FC236}">
                <a16:creationId xmlns:a16="http://schemas.microsoft.com/office/drawing/2014/main" id="{4176DC77-6AF3-8E52-1050-5E51C30AE253}"/>
              </a:ext>
            </a:extLst>
          </p:cNvPr>
          <p:cNvGrpSpPr/>
          <p:nvPr/>
        </p:nvGrpSpPr>
        <p:grpSpPr>
          <a:xfrm>
            <a:off x="2369768" y="4029334"/>
            <a:ext cx="1720732" cy="1722716"/>
            <a:chOff x="-1184099" y="3234131"/>
            <a:chExt cx="2021482" cy="2023669"/>
          </a:xfrm>
        </p:grpSpPr>
        <p:grpSp>
          <p:nvGrpSpPr>
            <p:cNvPr id="33" name="Group 32">
              <a:extLst>
                <a:ext uri="{FF2B5EF4-FFF2-40B4-BE49-F238E27FC236}">
                  <a16:creationId xmlns:a16="http://schemas.microsoft.com/office/drawing/2014/main" id="{53D7B769-6342-1067-778C-90B6A46730C5}"/>
                </a:ext>
              </a:extLst>
            </p:cNvPr>
            <p:cNvGrpSpPr/>
            <p:nvPr/>
          </p:nvGrpSpPr>
          <p:grpSpPr>
            <a:xfrm>
              <a:off x="-1184099" y="3234131"/>
              <a:ext cx="2021482" cy="2023669"/>
              <a:chOff x="-1184099" y="3234131"/>
              <a:chExt cx="2021482" cy="2023669"/>
            </a:xfrm>
          </p:grpSpPr>
          <p:sp>
            <p:nvSpPr>
              <p:cNvPr id="36" name="Teardrop 35">
                <a:extLst>
                  <a:ext uri="{FF2B5EF4-FFF2-40B4-BE49-F238E27FC236}">
                    <a16:creationId xmlns:a16="http://schemas.microsoft.com/office/drawing/2014/main" id="{9561B1FE-F1A9-C55E-43CE-7847E81B8423}"/>
                  </a:ext>
                </a:extLst>
              </p:cNvPr>
              <p:cNvSpPr/>
              <p:nvPr/>
            </p:nvSpPr>
            <p:spPr>
              <a:xfrm rot="2700000">
                <a:off x="-1184099" y="3234131"/>
                <a:ext cx="2021482" cy="2021482"/>
              </a:xfrm>
              <a:prstGeom prst="teardrop">
                <a:avLst/>
              </a:prstGeom>
              <a:solidFill>
                <a:schemeClr val="accent5"/>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sp>
            <p:nvSpPr>
              <p:cNvPr id="37" name="Block Arc 36">
                <a:extLst>
                  <a:ext uri="{FF2B5EF4-FFF2-40B4-BE49-F238E27FC236}">
                    <a16:creationId xmlns:a16="http://schemas.microsoft.com/office/drawing/2014/main" id="{7EAD9341-3F8A-FE2E-D099-7D7034B39E10}"/>
                  </a:ext>
                </a:extLst>
              </p:cNvPr>
              <p:cNvSpPr/>
              <p:nvPr/>
            </p:nvSpPr>
            <p:spPr>
              <a:xfrm rot="16200000">
                <a:off x="-1187095" y="3238200"/>
                <a:ext cx="2023200" cy="2016000"/>
              </a:xfrm>
              <a:prstGeom prst="blockArc">
                <a:avLst>
                  <a:gd name="adj1" fmla="val 10830229"/>
                  <a:gd name="adj2" fmla="val 40749"/>
                  <a:gd name="adj3" fmla="val 13230"/>
                </a:avLst>
              </a:prstGeom>
              <a:solidFill>
                <a:schemeClr val="bg2">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grpSp>
        <p:sp>
          <p:nvSpPr>
            <p:cNvPr id="34" name="Content Placeholder 18">
              <a:extLst>
                <a:ext uri="{FF2B5EF4-FFF2-40B4-BE49-F238E27FC236}">
                  <a16:creationId xmlns:a16="http://schemas.microsoft.com/office/drawing/2014/main" id="{D2D1C13A-14DA-4C0B-96DC-46136EC1E52E}"/>
                </a:ext>
              </a:extLst>
            </p:cNvPr>
            <p:cNvSpPr txBox="1">
              <a:spLocks/>
            </p:cNvSpPr>
            <p:nvPr/>
          </p:nvSpPr>
          <p:spPr>
            <a:xfrm>
              <a:off x="-896495" y="3971582"/>
              <a:ext cx="1677745" cy="97795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90000"/>
                </a:lnSpc>
                <a:spcBef>
                  <a:spcPts val="0"/>
                </a:spcBef>
                <a:spcAft>
                  <a:spcPts val="0"/>
                </a:spcAft>
                <a:buClr>
                  <a:srgbClr val="000000"/>
                </a:buClr>
                <a:buSzPct val="100000"/>
                <a:buFont typeface="Inter"/>
                <a:buNone/>
                <a:tabLst/>
                <a:defRPr/>
              </a:pPr>
              <a:r>
                <a:rPr kumimoji="0" lang="en-US" sz="1300" b="0"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Streamline  preparations across global requirements</a:t>
              </a:r>
            </a:p>
          </p:txBody>
        </p:sp>
        <p:sp>
          <p:nvSpPr>
            <p:cNvPr id="35" name="Content Placeholder 19">
              <a:extLst>
                <a:ext uri="{FF2B5EF4-FFF2-40B4-BE49-F238E27FC236}">
                  <a16:creationId xmlns:a16="http://schemas.microsoft.com/office/drawing/2014/main" id="{BAC39F11-8683-5CD6-E7D0-D073C98A3BB5}"/>
                </a:ext>
              </a:extLst>
            </p:cNvPr>
            <p:cNvSpPr txBox="1">
              <a:spLocks/>
            </p:cNvSpPr>
            <p:nvPr/>
          </p:nvSpPr>
          <p:spPr>
            <a:xfrm>
              <a:off x="-986299" y="3700790"/>
              <a:ext cx="1798444" cy="29722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t" anchorCtr="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Pct val="100000"/>
                <a:buFont typeface="Inter"/>
                <a:buNone/>
                <a:tabLst/>
                <a:defRPr/>
              </a:pPr>
              <a:r>
                <a:rPr kumimoji="0" lang="en-US" sz="1300" b="1"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2. Create Roadmap</a:t>
              </a:r>
            </a:p>
          </p:txBody>
        </p:sp>
      </p:grpSp>
      <p:grpSp>
        <p:nvGrpSpPr>
          <p:cNvPr id="6" name="Group 5">
            <a:extLst>
              <a:ext uri="{FF2B5EF4-FFF2-40B4-BE49-F238E27FC236}">
                <a16:creationId xmlns:a16="http://schemas.microsoft.com/office/drawing/2014/main" id="{8006CA32-D623-4291-09AE-0374BED9E858}"/>
              </a:ext>
            </a:extLst>
          </p:cNvPr>
          <p:cNvGrpSpPr/>
          <p:nvPr/>
        </p:nvGrpSpPr>
        <p:grpSpPr>
          <a:xfrm>
            <a:off x="581087" y="4029786"/>
            <a:ext cx="1724432" cy="1722715"/>
            <a:chOff x="-1188446" y="3234131"/>
            <a:chExt cx="2025829" cy="2023668"/>
          </a:xfrm>
        </p:grpSpPr>
        <p:grpSp>
          <p:nvGrpSpPr>
            <p:cNvPr id="28" name="Group 27">
              <a:extLst>
                <a:ext uri="{FF2B5EF4-FFF2-40B4-BE49-F238E27FC236}">
                  <a16:creationId xmlns:a16="http://schemas.microsoft.com/office/drawing/2014/main" id="{525850DA-32BD-D442-B48C-E59122E95ADA}"/>
                </a:ext>
              </a:extLst>
            </p:cNvPr>
            <p:cNvGrpSpPr/>
            <p:nvPr/>
          </p:nvGrpSpPr>
          <p:grpSpPr>
            <a:xfrm>
              <a:off x="-1188446" y="3234131"/>
              <a:ext cx="2025829" cy="2023668"/>
              <a:chOff x="-1188446" y="3234131"/>
              <a:chExt cx="2025829" cy="2023668"/>
            </a:xfrm>
          </p:grpSpPr>
          <p:sp>
            <p:nvSpPr>
              <p:cNvPr id="31" name="Teardrop 30">
                <a:extLst>
                  <a:ext uri="{FF2B5EF4-FFF2-40B4-BE49-F238E27FC236}">
                    <a16:creationId xmlns:a16="http://schemas.microsoft.com/office/drawing/2014/main" id="{7E52E562-9F5D-6108-2E70-4A4985867A84}"/>
                  </a:ext>
                </a:extLst>
              </p:cNvPr>
              <p:cNvSpPr/>
              <p:nvPr/>
            </p:nvSpPr>
            <p:spPr>
              <a:xfrm rot="2700000">
                <a:off x="-1184099" y="3234131"/>
                <a:ext cx="2021482" cy="2021482"/>
              </a:xfrm>
              <a:prstGeom prst="teardrop">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sp>
            <p:nvSpPr>
              <p:cNvPr id="32" name="Block Arc 31">
                <a:extLst>
                  <a:ext uri="{FF2B5EF4-FFF2-40B4-BE49-F238E27FC236}">
                    <a16:creationId xmlns:a16="http://schemas.microsoft.com/office/drawing/2014/main" id="{7E614D11-9333-D068-0DEF-FA2DF7FAAFFD}"/>
                  </a:ext>
                </a:extLst>
              </p:cNvPr>
              <p:cNvSpPr/>
              <p:nvPr/>
            </p:nvSpPr>
            <p:spPr>
              <a:xfrm rot="16200000">
                <a:off x="-1192046" y="3238199"/>
                <a:ext cx="2023200" cy="2016000"/>
              </a:xfrm>
              <a:prstGeom prst="blockArc">
                <a:avLst>
                  <a:gd name="adj1" fmla="val 10830229"/>
                  <a:gd name="adj2" fmla="val 40749"/>
                  <a:gd name="adj3" fmla="val 13230"/>
                </a:avLst>
              </a:prstGeom>
              <a:solidFill>
                <a:schemeClr val="bg1">
                  <a:alpha val="5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mn-ea"/>
                  <a:cs typeface="+mn-cs"/>
                  <a:sym typeface="Calibri"/>
                </a:endParaRPr>
              </a:p>
            </p:txBody>
          </p:sp>
        </p:grpSp>
        <p:sp>
          <p:nvSpPr>
            <p:cNvPr id="29" name="Content Placeholder 18">
              <a:extLst>
                <a:ext uri="{FF2B5EF4-FFF2-40B4-BE49-F238E27FC236}">
                  <a16:creationId xmlns:a16="http://schemas.microsoft.com/office/drawing/2014/main" id="{E7B0904F-C0CF-38A2-683E-311FB78802AA}"/>
                </a:ext>
              </a:extLst>
            </p:cNvPr>
            <p:cNvSpPr txBox="1">
              <a:spLocks/>
            </p:cNvSpPr>
            <p:nvPr/>
          </p:nvSpPr>
          <p:spPr>
            <a:xfrm>
              <a:off x="-962739" y="4034022"/>
              <a:ext cx="1617191" cy="5055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90000"/>
                </a:lnSpc>
                <a:spcBef>
                  <a:spcPts val="0"/>
                </a:spcBef>
                <a:spcAft>
                  <a:spcPts val="0"/>
                </a:spcAft>
                <a:buClr>
                  <a:srgbClr val="000000"/>
                </a:buClr>
                <a:buSzPct val="100000"/>
                <a:buFont typeface="Inter"/>
                <a:buNone/>
                <a:tabLst/>
                <a:defRPr/>
              </a:pPr>
              <a:r>
                <a:rPr kumimoji="0" lang="en-US" sz="1300" b="0"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Index climate programs against disclosure requirements</a:t>
              </a:r>
            </a:p>
          </p:txBody>
        </p:sp>
        <p:sp>
          <p:nvSpPr>
            <p:cNvPr id="30" name="Content Placeholder 19">
              <a:extLst>
                <a:ext uri="{FF2B5EF4-FFF2-40B4-BE49-F238E27FC236}">
                  <a16:creationId xmlns:a16="http://schemas.microsoft.com/office/drawing/2014/main" id="{97656D8A-1762-1DAD-5676-0F1B10624FE0}"/>
                </a:ext>
              </a:extLst>
            </p:cNvPr>
            <p:cNvSpPr txBox="1">
              <a:spLocks/>
            </p:cNvSpPr>
            <p:nvPr/>
          </p:nvSpPr>
          <p:spPr>
            <a:xfrm>
              <a:off x="-815535" y="3670919"/>
              <a:ext cx="1469988" cy="38775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t" anchorCtr="0">
              <a:noAutofit/>
            </a:bodyPr>
            <a:lstStyle>
              <a:lvl1pPr marL="182880" marR="0" indent="-182880" algn="l" defTabSz="914400" rtl="0" latinLnBrk="0">
                <a:lnSpc>
                  <a:spcPct val="150000"/>
                </a:lnSpc>
                <a:spcBef>
                  <a:spcPts val="1000"/>
                </a:spcBef>
                <a:spcAft>
                  <a:spcPts val="0"/>
                </a:spcAft>
                <a:buClr>
                  <a:schemeClr val="tx1"/>
                </a:buClr>
                <a:buSzPct val="100000"/>
                <a:buFont typeface="Inter"/>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latinLnBrk="0">
                <a:lnSpc>
                  <a:spcPct val="150000"/>
                </a:lnSpc>
                <a:spcBef>
                  <a:spcPts val="300"/>
                </a:spcBef>
                <a:spcAft>
                  <a:spcPts val="0"/>
                </a:spcAft>
                <a:buClr>
                  <a:schemeClr val="tx1"/>
                </a:buClr>
                <a:buSzPct val="100000"/>
                <a:buFont typeface="Arial" panose="020B0604020202020204" pitchFamily="34" charset="0"/>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latinLnBrk="0">
                <a:lnSpc>
                  <a:spcPct val="150000"/>
                </a:lnSpc>
                <a:spcBef>
                  <a:spcPts val="300"/>
                </a:spcBef>
                <a:spcAft>
                  <a:spcPts val="0"/>
                </a:spcAft>
                <a:buClr>
                  <a:schemeClr val="tx1"/>
                </a:buClr>
                <a:buSzPct val="100000"/>
                <a:buFont typeface="Arial"/>
                <a:buChar char="•"/>
                <a:tabLst/>
                <a:defRPr sz="12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marR="0" lvl="0" indent="0" algn="ctr" defTabSz="914400" rtl="0" eaLnBrk="1" fontAlgn="auto" latinLnBrk="0" hangingPunct="1">
                <a:lnSpc>
                  <a:spcPct val="120000"/>
                </a:lnSpc>
                <a:spcBef>
                  <a:spcPts val="0"/>
                </a:spcBef>
                <a:spcAft>
                  <a:spcPts val="0"/>
                </a:spcAft>
                <a:buClrTx/>
                <a:buSzPct val="100000"/>
                <a:buFont typeface="Inter"/>
                <a:buNone/>
                <a:tabLst/>
                <a:defRPr/>
              </a:pPr>
              <a:r>
                <a:rPr kumimoji="0" lang="en-US" sz="1300" b="1" i="0" u="none" strike="noStrike" kern="1200" cap="none" spc="0" normalizeH="0" baseline="0" noProof="0" dirty="0">
                  <a:ln>
                    <a:noFill/>
                  </a:ln>
                  <a:solidFill>
                    <a:srgbClr val="FFFFFF"/>
                  </a:solidFill>
                  <a:effectLst/>
                  <a:uLnTx/>
                  <a:uFillTx/>
                  <a:latin typeface="Inter" panose="02000503000000020004" pitchFamily="2" charset="0"/>
                  <a:cs typeface="Arial"/>
                  <a:sym typeface="Arial"/>
                </a:rPr>
                <a:t>1. Identify Gaps</a:t>
              </a:r>
            </a:p>
          </p:txBody>
        </p:sp>
      </p:grpSp>
      <p:sp>
        <p:nvSpPr>
          <p:cNvPr id="13" name="Content Placeholder 12">
            <a:extLst>
              <a:ext uri="{FF2B5EF4-FFF2-40B4-BE49-F238E27FC236}">
                <a16:creationId xmlns:a16="http://schemas.microsoft.com/office/drawing/2014/main" id="{A6AB3B5A-81D1-5E02-57DE-489D26917B3D}"/>
              </a:ext>
            </a:extLst>
          </p:cNvPr>
          <p:cNvSpPr>
            <a:spLocks noGrp="1"/>
          </p:cNvSpPr>
          <p:nvPr>
            <p:ph sz="quarter" idx="14"/>
          </p:nvPr>
        </p:nvSpPr>
        <p:spPr>
          <a:xfrm>
            <a:off x="609599" y="1322071"/>
            <a:ext cx="6988096" cy="1801870"/>
          </a:xfrm>
        </p:spPr>
        <p:txBody>
          <a:bodyPr/>
          <a:lstStyle/>
          <a:p>
            <a:pPr marL="0" indent="0" hangingPunct="0">
              <a:lnSpc>
                <a:spcPct val="100000"/>
              </a:lnSpc>
              <a:spcBef>
                <a:spcPts val="0"/>
              </a:spcBef>
              <a:spcAft>
                <a:spcPts val="1200"/>
              </a:spcAft>
              <a:buClrTx/>
              <a:buSzTx/>
              <a:buNone/>
              <a:defRPr/>
            </a:pPr>
            <a:r>
              <a:rPr lang="en-US" dirty="0">
                <a:latin typeface="+mn-lt"/>
              </a:rPr>
              <a:t>ClimeCo can help clients prepare for complex new climate disclosure requirements in the EU, California, and Australia. </a:t>
            </a:r>
          </a:p>
          <a:p>
            <a:pPr hangingPunct="0">
              <a:lnSpc>
                <a:spcPct val="100000"/>
              </a:lnSpc>
              <a:spcBef>
                <a:spcPts val="0"/>
              </a:spcBef>
              <a:spcAft>
                <a:spcPts val="1200"/>
              </a:spcAft>
              <a:buClrTx/>
              <a:buSzTx/>
              <a:defRPr/>
            </a:pPr>
            <a:r>
              <a:rPr lang="en-US" dirty="0">
                <a:latin typeface="+mn-lt"/>
              </a:rPr>
              <a:t>We focus on </a:t>
            </a:r>
            <a:r>
              <a:rPr lang="en-US" b="1" dirty="0">
                <a:latin typeface="+mn-lt"/>
              </a:rPr>
              <a:t>streamlining preparations </a:t>
            </a:r>
            <a:r>
              <a:rPr lang="en-US" dirty="0">
                <a:latin typeface="+mn-lt"/>
              </a:rPr>
              <a:t>globally to reduce the burden on client teams.</a:t>
            </a:r>
          </a:p>
          <a:p>
            <a:pPr hangingPunct="0">
              <a:lnSpc>
                <a:spcPct val="100000"/>
              </a:lnSpc>
              <a:spcBef>
                <a:spcPts val="0"/>
              </a:spcBef>
              <a:spcAft>
                <a:spcPts val="1200"/>
              </a:spcAft>
              <a:buClrTx/>
              <a:buSzTx/>
              <a:defRPr/>
            </a:pPr>
            <a:r>
              <a:rPr lang="en-US" dirty="0">
                <a:latin typeface="+mn-lt"/>
              </a:rPr>
              <a:t>Our portfolio of solutions allows us to help companies </a:t>
            </a:r>
            <a:r>
              <a:rPr lang="en-US" b="1" dirty="0">
                <a:latin typeface="+mn-lt"/>
              </a:rPr>
              <a:t>at any stage </a:t>
            </a:r>
            <a:r>
              <a:rPr lang="en-US" dirty="0">
                <a:latin typeface="+mn-lt"/>
              </a:rPr>
              <a:t>in the process.</a:t>
            </a:r>
          </a:p>
          <a:p>
            <a:pPr hangingPunct="0">
              <a:lnSpc>
                <a:spcPct val="100000"/>
              </a:lnSpc>
              <a:spcBef>
                <a:spcPts val="0"/>
              </a:spcBef>
              <a:spcAft>
                <a:spcPts val="1200"/>
              </a:spcAft>
              <a:buClrTx/>
              <a:buSzTx/>
              <a:defRPr/>
            </a:pPr>
            <a:r>
              <a:rPr lang="en-US" dirty="0">
                <a:latin typeface="+mn-lt"/>
              </a:rPr>
              <a:t>We train clients to </a:t>
            </a:r>
            <a:r>
              <a:rPr lang="en-US" b="1" dirty="0">
                <a:latin typeface="+mn-lt"/>
              </a:rPr>
              <a:t>build internal capacity</a:t>
            </a:r>
            <a:r>
              <a:rPr lang="en-US" dirty="0">
                <a:latin typeface="+mn-lt"/>
              </a:rPr>
              <a:t> rather than building reliance on software.</a:t>
            </a:r>
          </a:p>
        </p:txBody>
      </p:sp>
      <p:sp>
        <p:nvSpPr>
          <p:cNvPr id="3" name="Slide Number Placeholder 2">
            <a:extLst>
              <a:ext uri="{FF2B5EF4-FFF2-40B4-BE49-F238E27FC236}">
                <a16:creationId xmlns:a16="http://schemas.microsoft.com/office/drawing/2014/main" id="{C64A2472-49E8-184E-4651-BD7406C8D860}"/>
              </a:ext>
            </a:extLst>
          </p:cNvPr>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700" b="1" i="0" u="none" strike="noStrike" kern="0" cap="none" spc="0" normalizeH="0" baseline="0" noProof="0" smtClean="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rPr>
              <a:pPr marL="0" marR="0" lvl="0" indent="0" algn="l" defTabSz="914400" rtl="0" eaLnBrk="1" fontAlgn="auto" latinLnBrk="0" hangingPunct="0">
                <a:lnSpc>
                  <a:spcPct val="100000"/>
                </a:lnSpc>
                <a:spcBef>
                  <a:spcPts val="0"/>
                </a:spcBef>
                <a:spcAft>
                  <a:spcPts val="0"/>
                </a:spcAft>
                <a:buClrTx/>
                <a:buSzTx/>
                <a:buFontTx/>
                <a:buNone/>
                <a:tabLst/>
                <a:defRPr/>
              </a:pPr>
              <a:t>16</a:t>
            </a:fld>
            <a:endParaRPr kumimoji="0" lang="en-US" sz="700" b="1" i="0" u="none" strike="noStrike" kern="0" cap="none" spc="0" normalizeH="0" baseline="0" noProof="0" dirty="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endParaRPr>
          </a:p>
        </p:txBody>
      </p:sp>
      <p:sp>
        <p:nvSpPr>
          <p:cNvPr id="2" name="Footer Placeholder 1">
            <a:extLst>
              <a:ext uri="{FF2B5EF4-FFF2-40B4-BE49-F238E27FC236}">
                <a16:creationId xmlns:a16="http://schemas.microsoft.com/office/drawing/2014/main" id="{BA06C720-B5C8-8020-4D1A-37512EBF694F}"/>
              </a:ext>
            </a:extLst>
          </p:cNvPr>
          <p:cNvSpPr>
            <a:spLocks noGrp="1"/>
          </p:cNvSpPr>
          <p:nvPr>
            <p:ph type="ftr" sz="quarter" idx="11"/>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tint val="75000"/>
                  </a:srgbClr>
                </a:solidFill>
                <a:effectLst/>
                <a:uLnTx/>
                <a:uFillTx/>
                <a:latin typeface="Inter" panose="02000503000000020004" pitchFamily="2" charset="0"/>
                <a:ea typeface="Inter" panose="02000503000000020004" pitchFamily="2" charset="0"/>
                <a:cs typeface="Arial" panose="020B0604020202020204" pitchFamily="34" charset="0"/>
                <a:sym typeface="Calibri"/>
              </a:rPr>
              <a:t>Proprietary &amp; Confidential: Not for Distribution.</a:t>
            </a:r>
          </a:p>
        </p:txBody>
      </p:sp>
      <p:sp>
        <p:nvSpPr>
          <p:cNvPr id="12" name="Title 11">
            <a:extLst>
              <a:ext uri="{FF2B5EF4-FFF2-40B4-BE49-F238E27FC236}">
                <a16:creationId xmlns:a16="http://schemas.microsoft.com/office/drawing/2014/main" id="{8B92C7AA-24C3-05BE-84FD-2B7C8220CB7A}"/>
              </a:ext>
            </a:extLst>
          </p:cNvPr>
          <p:cNvSpPr>
            <a:spLocks noGrp="1"/>
          </p:cNvSpPr>
          <p:nvPr>
            <p:ph type="title"/>
          </p:nvPr>
        </p:nvSpPr>
        <p:spPr>
          <a:xfrm>
            <a:off x="609600" y="555170"/>
            <a:ext cx="10969752" cy="441291"/>
          </a:xfrm>
        </p:spPr>
        <p:txBody>
          <a:bodyPr/>
          <a:lstStyle/>
          <a:p>
            <a:r>
              <a:rPr lang="en-US" sz="2400" dirty="0"/>
              <a:t>Disclosure Roadmap Optimization &amp; Implementation</a:t>
            </a:r>
          </a:p>
        </p:txBody>
      </p:sp>
      <p:cxnSp>
        <p:nvCxnSpPr>
          <p:cNvPr id="18" name="Straight Connector 17">
            <a:extLst>
              <a:ext uri="{FF2B5EF4-FFF2-40B4-BE49-F238E27FC236}">
                <a16:creationId xmlns:a16="http://schemas.microsoft.com/office/drawing/2014/main" id="{36E309A8-3381-B6B3-E879-96E2D6D605FC}"/>
              </a:ext>
            </a:extLst>
          </p:cNvPr>
          <p:cNvCxnSpPr>
            <a:cxnSpLocks/>
          </p:cNvCxnSpPr>
          <p:nvPr/>
        </p:nvCxnSpPr>
        <p:spPr>
          <a:xfrm>
            <a:off x="773213" y="6121284"/>
            <a:ext cx="6123698" cy="0"/>
          </a:xfrm>
          <a:prstGeom prst="line">
            <a:avLst/>
          </a:prstGeom>
          <a:noFill/>
          <a:ln w="12700" cap="flat">
            <a:solidFill>
              <a:schemeClr val="accent1"/>
            </a:solidFill>
            <a:prstDash val="dash"/>
            <a:miter lim="800000"/>
          </a:ln>
          <a:effectLst/>
          <a:sp3d/>
        </p:spPr>
        <p:style>
          <a:lnRef idx="0">
            <a:scrgbClr r="0" g="0" b="0"/>
          </a:lnRef>
          <a:fillRef idx="0">
            <a:scrgbClr r="0" g="0" b="0"/>
          </a:fillRef>
          <a:effectRef idx="0">
            <a:scrgbClr r="0" g="0" b="0"/>
          </a:effectRef>
          <a:fontRef idx="none"/>
        </p:style>
      </p:cxnSp>
      <p:cxnSp>
        <p:nvCxnSpPr>
          <p:cNvPr id="19" name="Straight Connector 18">
            <a:extLst>
              <a:ext uri="{FF2B5EF4-FFF2-40B4-BE49-F238E27FC236}">
                <a16:creationId xmlns:a16="http://schemas.microsoft.com/office/drawing/2014/main" id="{DFF08446-966A-C694-EB52-C4AE1D55DDE4}"/>
              </a:ext>
            </a:extLst>
          </p:cNvPr>
          <p:cNvCxnSpPr>
            <a:cxnSpLocks/>
          </p:cNvCxnSpPr>
          <p:nvPr/>
        </p:nvCxnSpPr>
        <p:spPr>
          <a:xfrm>
            <a:off x="2294042" y="6013359"/>
            <a:ext cx="0" cy="234831"/>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20" name="Straight Connector 19">
            <a:extLst>
              <a:ext uri="{FF2B5EF4-FFF2-40B4-BE49-F238E27FC236}">
                <a16:creationId xmlns:a16="http://schemas.microsoft.com/office/drawing/2014/main" id="{00BB9AC6-04DB-F7D5-33E5-32AB36A2829C}"/>
              </a:ext>
            </a:extLst>
          </p:cNvPr>
          <p:cNvCxnSpPr>
            <a:cxnSpLocks/>
          </p:cNvCxnSpPr>
          <p:nvPr/>
        </p:nvCxnSpPr>
        <p:spPr>
          <a:xfrm>
            <a:off x="6896911" y="6121284"/>
            <a:ext cx="4369982" cy="0"/>
          </a:xfrm>
          <a:prstGeom prst="line">
            <a:avLst/>
          </a:prstGeom>
          <a:noFill/>
          <a:ln w="12700" cap="flat">
            <a:solidFill>
              <a:schemeClr val="accent1"/>
            </a:solidFill>
            <a:prstDash val="dash"/>
            <a:miter lim="800000"/>
          </a:ln>
          <a:effectLst/>
          <a:sp3d/>
        </p:spPr>
        <p:style>
          <a:lnRef idx="0">
            <a:scrgbClr r="0" g="0" b="0"/>
          </a:lnRef>
          <a:fillRef idx="0">
            <a:scrgbClr r="0" g="0" b="0"/>
          </a:fillRef>
          <a:effectRef idx="0">
            <a:scrgbClr r="0" g="0" b="0"/>
          </a:effectRef>
          <a:fontRef idx="none"/>
        </p:style>
      </p:cxnSp>
      <p:sp>
        <p:nvSpPr>
          <p:cNvPr id="21" name="TextBox 20">
            <a:extLst>
              <a:ext uri="{FF2B5EF4-FFF2-40B4-BE49-F238E27FC236}">
                <a16:creationId xmlns:a16="http://schemas.microsoft.com/office/drawing/2014/main" id="{66596C56-84FB-9B28-6A70-CB338B768A0C}"/>
              </a:ext>
            </a:extLst>
          </p:cNvPr>
          <p:cNvSpPr txBox="1"/>
          <p:nvPr/>
        </p:nvSpPr>
        <p:spPr>
          <a:xfrm>
            <a:off x="758898" y="6025601"/>
            <a:ext cx="1189860" cy="3913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dirty="0">
                <a:ln>
                  <a:noFill/>
                </a:ln>
                <a:solidFill>
                  <a:srgbClr val="1A4170"/>
                </a:solidFill>
                <a:effectLst/>
                <a:uLnTx/>
                <a:uFillTx/>
                <a:latin typeface="Inter"/>
                <a:ea typeface="+mn-ea"/>
                <a:cs typeface="+mn-cs"/>
                <a:sym typeface="Open Sans Regular"/>
              </a:rPr>
              <a:t>Prioritize Gaps</a:t>
            </a:r>
          </a:p>
        </p:txBody>
      </p:sp>
      <p:sp>
        <p:nvSpPr>
          <p:cNvPr id="48" name="TextBox 47">
            <a:extLst>
              <a:ext uri="{FF2B5EF4-FFF2-40B4-BE49-F238E27FC236}">
                <a16:creationId xmlns:a16="http://schemas.microsoft.com/office/drawing/2014/main" id="{E3E3EA01-8287-6DF6-7EC7-7C10E9BF7047}"/>
              </a:ext>
            </a:extLst>
          </p:cNvPr>
          <p:cNvSpPr txBox="1"/>
          <p:nvPr/>
        </p:nvSpPr>
        <p:spPr>
          <a:xfrm>
            <a:off x="2353798" y="6013569"/>
            <a:ext cx="1393174" cy="40874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chor="ctr"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ct val="150000"/>
              </a:lnSpc>
              <a:defRPr sz="1000">
                <a:solidFill>
                  <a:schemeClr val="accent1">
                    <a:alpha val="74000"/>
                  </a:schemeClr>
                </a:solidFill>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CA" sz="1000" b="1" i="0" u="none" strike="noStrike" kern="1200" cap="none" spc="0" normalizeH="0" baseline="0" noProof="0" dirty="0">
                <a:ln>
                  <a:noFill/>
                </a:ln>
                <a:solidFill>
                  <a:srgbClr val="1A4170">
                    <a:alpha val="74000"/>
                  </a:srgbClr>
                </a:solidFill>
                <a:effectLst/>
                <a:uLnTx/>
                <a:uFillTx/>
                <a:latin typeface="Inter"/>
                <a:ea typeface="+mn-ea"/>
                <a:cs typeface="+mn-cs"/>
                <a:sym typeface="Open Sans Regular"/>
              </a:rPr>
              <a:t>Build Supporting Infrastructure</a:t>
            </a:r>
          </a:p>
        </p:txBody>
      </p:sp>
      <p:sp>
        <p:nvSpPr>
          <p:cNvPr id="49" name="TextBox 48">
            <a:extLst>
              <a:ext uri="{FF2B5EF4-FFF2-40B4-BE49-F238E27FC236}">
                <a16:creationId xmlns:a16="http://schemas.microsoft.com/office/drawing/2014/main" id="{99BA525E-E92C-D18D-2FC1-7BA0BBA2B655}"/>
              </a:ext>
            </a:extLst>
          </p:cNvPr>
          <p:cNvSpPr txBox="1"/>
          <p:nvPr/>
        </p:nvSpPr>
        <p:spPr>
          <a:xfrm>
            <a:off x="9926190" y="6016877"/>
            <a:ext cx="1393174" cy="40874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chor="ctr"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ct val="150000"/>
              </a:lnSpc>
              <a:defRPr sz="1000">
                <a:solidFill>
                  <a:schemeClr val="accent1">
                    <a:alpha val="74000"/>
                  </a:schemeClr>
                </a:solidFill>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CA" sz="1000" b="1" i="0" u="none" strike="noStrike" kern="1200" cap="none" spc="0" normalizeH="0" baseline="0" noProof="0" dirty="0">
                <a:ln>
                  <a:noFill/>
                </a:ln>
                <a:solidFill>
                  <a:srgbClr val="1A4170">
                    <a:alpha val="74000"/>
                  </a:srgbClr>
                </a:solidFill>
                <a:effectLst/>
                <a:uLnTx/>
                <a:uFillTx/>
                <a:latin typeface="Inter"/>
                <a:ea typeface="+mn-ea"/>
                <a:cs typeface="+mn-cs"/>
                <a:sym typeface="Open Sans Regular"/>
              </a:rPr>
              <a:t>Get Credit for Results</a:t>
            </a:r>
          </a:p>
        </p:txBody>
      </p:sp>
      <p:cxnSp>
        <p:nvCxnSpPr>
          <p:cNvPr id="52" name="Straight Connector 51">
            <a:extLst>
              <a:ext uri="{FF2B5EF4-FFF2-40B4-BE49-F238E27FC236}">
                <a16:creationId xmlns:a16="http://schemas.microsoft.com/office/drawing/2014/main" id="{DDE81690-3D63-849B-CFB8-DFE087BCCE14}"/>
              </a:ext>
            </a:extLst>
          </p:cNvPr>
          <p:cNvCxnSpPr>
            <a:cxnSpLocks/>
          </p:cNvCxnSpPr>
          <p:nvPr/>
        </p:nvCxnSpPr>
        <p:spPr>
          <a:xfrm>
            <a:off x="9765340" y="6025601"/>
            <a:ext cx="0" cy="234831"/>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54" name="Text Placeholder 13">
            <a:extLst>
              <a:ext uri="{FF2B5EF4-FFF2-40B4-BE49-F238E27FC236}">
                <a16:creationId xmlns:a16="http://schemas.microsoft.com/office/drawing/2014/main" id="{F9CB0465-06A9-81E0-0346-F000B5DB4481}"/>
              </a:ext>
            </a:extLst>
          </p:cNvPr>
          <p:cNvSpPr>
            <a:spLocks noGrp="1"/>
          </p:cNvSpPr>
          <p:nvPr>
            <p:ph type="body" sz="quarter" idx="25"/>
          </p:nvPr>
        </p:nvSpPr>
        <p:spPr>
          <a:xfrm>
            <a:off x="612648" y="201168"/>
            <a:ext cx="6400800" cy="356733"/>
          </a:xfrm>
        </p:spPr>
        <p:txBody>
          <a:bodyPr/>
          <a:lstStyle/>
          <a:p>
            <a:r>
              <a:rPr lang="en-US" dirty="0"/>
              <a:t>Portfolio of solutions</a:t>
            </a:r>
          </a:p>
        </p:txBody>
      </p:sp>
      <p:sp>
        <p:nvSpPr>
          <p:cNvPr id="55" name="Content Placeholder 25">
            <a:extLst>
              <a:ext uri="{FF2B5EF4-FFF2-40B4-BE49-F238E27FC236}">
                <a16:creationId xmlns:a16="http://schemas.microsoft.com/office/drawing/2014/main" id="{5A6E1ECB-7384-FB5E-EA72-042BB46EF7EA}"/>
              </a:ext>
            </a:extLst>
          </p:cNvPr>
          <p:cNvSpPr txBox="1">
            <a:spLocks/>
          </p:cNvSpPr>
          <p:nvPr/>
        </p:nvSpPr>
        <p:spPr>
          <a:xfrm>
            <a:off x="120435" y="3644773"/>
            <a:ext cx="11823826" cy="349032"/>
          </a:xfrm>
          <a:prstGeom prst="rect">
            <a:avLst/>
          </a:prstGeom>
        </p:spPr>
        <p:txBody>
          <a:bodyPr anchor="ctr"/>
          <a:lstStyle>
            <a:lvl1pPr marL="182880" marR="0" indent="-182880" algn="l" defTabSz="914400" rtl="0" eaLnBrk="1" latinLnBrk="0" hangingPunct="1">
              <a:lnSpc>
                <a:spcPct val="120000"/>
              </a:lnSpc>
              <a:spcBef>
                <a:spcPts val="1000"/>
              </a:spcBef>
              <a:spcAft>
                <a:spcPts val="0"/>
              </a:spcAft>
              <a:buClr>
                <a:schemeClr val="tx1"/>
              </a:buClr>
              <a:buSzPct val="100000"/>
              <a:buFont typeface="Inte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1097280" marR="0" indent="-182880" algn="l" defTabSz="914400" rtl="0" eaLnBrk="1" latinLnBrk="0" hangingPunct="1">
              <a:lnSpc>
                <a:spcPct val="120000"/>
              </a:lnSpc>
              <a:spcBef>
                <a:spcPts val="300"/>
              </a:spcBef>
              <a:spcAft>
                <a:spcPts val="0"/>
              </a:spcAft>
              <a:buClrTx/>
              <a:buSzPct val="100000"/>
              <a:buFont typeface="Arial"/>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Arial"/>
                <a:sym typeface="Arial"/>
              </a:defRPr>
            </a:lvl6pPr>
            <a:lvl7pPr marL="1280160" marR="0" indent="-182880" algn="l" defTabSz="914400" rtl="0" eaLnBrk="1" latinLnBrk="0" hangingPunct="1">
              <a:lnSpc>
                <a:spcPct val="120000"/>
              </a:lnSpc>
              <a:spcBef>
                <a:spcPts val="300"/>
              </a:spcBef>
              <a:spcAft>
                <a:spcPts val="0"/>
              </a:spcAft>
              <a:buClrTx/>
              <a:buSzPct val="100000"/>
              <a:buFont typeface="Arial"/>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Arial"/>
                <a:sym typeface="Arial"/>
              </a:defRPr>
            </a:lvl7pPr>
            <a:lvl8pPr marL="1463040" marR="0" indent="-182880" algn="l" defTabSz="914400" rtl="0" eaLnBrk="1" latinLnBrk="0" hangingPunct="1">
              <a:lnSpc>
                <a:spcPct val="120000"/>
              </a:lnSpc>
              <a:spcBef>
                <a:spcPts val="300"/>
              </a:spcBef>
              <a:spcAft>
                <a:spcPts val="0"/>
              </a:spcAft>
              <a:buClrTx/>
              <a:buSzPct val="100000"/>
              <a:buFont typeface="Arial"/>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Arial"/>
                <a:sym typeface="Arial"/>
              </a:defRPr>
            </a:lvl8pPr>
            <a:lvl9pPr marL="1645920" marR="0" indent="-182880" algn="l" defTabSz="914400" rtl="0" eaLnBrk="1" latinLnBrk="0" hangingPunct="1">
              <a:lnSpc>
                <a:spcPct val="120000"/>
              </a:lnSpc>
              <a:spcBef>
                <a:spcPts val="300"/>
              </a:spcBef>
              <a:spcAft>
                <a:spcPts val="0"/>
              </a:spcAft>
              <a:buClrTx/>
              <a:buSzPct val="100000"/>
              <a:buFont typeface="Arial"/>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Arial"/>
                <a:sym typeface="Arial"/>
              </a:defRPr>
            </a:lvl9pPr>
          </a:lstStyle>
          <a:p>
            <a:pPr marL="0" marR="0" lvl="0" indent="0" algn="ctr" defTabSz="914400" rtl="0" eaLnBrk="1" fontAlgn="auto" latinLnBrk="0" hangingPunct="1">
              <a:lnSpc>
                <a:spcPct val="120000"/>
              </a:lnSpc>
              <a:spcBef>
                <a:spcPts val="1000"/>
              </a:spcBef>
              <a:spcAft>
                <a:spcPts val="0"/>
              </a:spcAft>
              <a:buClr>
                <a:srgbClr val="000000"/>
              </a:buClr>
              <a:buSzPct val="100000"/>
              <a:buFont typeface="Inter"/>
              <a:buNone/>
              <a:tabLst/>
              <a:defRPr/>
            </a:pPr>
            <a:r>
              <a:rPr kumimoji="0" lang="en-US" sz="1600" b="1" i="0" u="none" strike="noStrike" kern="0" cap="none" spc="0" normalizeH="0" baseline="0" noProof="0" dirty="0">
                <a:ln>
                  <a:noFill/>
                </a:ln>
                <a:solidFill>
                  <a:srgbClr val="1B4171"/>
                </a:solidFill>
                <a:effectLst/>
                <a:uLnTx/>
                <a:uFillTx/>
                <a:latin typeface="Inter"/>
                <a:cs typeface="Arial"/>
                <a:sym typeface="Arial"/>
              </a:rPr>
              <a:t>Portfolio of Disclosure Solutions</a:t>
            </a:r>
          </a:p>
        </p:txBody>
      </p:sp>
    </p:spTree>
    <p:extLst>
      <p:ext uri="{BB962C8B-B14F-4D97-AF65-F5344CB8AC3E}">
        <p14:creationId xmlns:p14="http://schemas.microsoft.com/office/powerpoint/2010/main" val="10535345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5" name="Picture Placeholder 24" descr="Shield Tick with solid fill">
            <a:extLst>
              <a:ext uri="{FF2B5EF4-FFF2-40B4-BE49-F238E27FC236}">
                <a16:creationId xmlns:a16="http://schemas.microsoft.com/office/drawing/2014/main" id="{939DD75A-2484-1063-C19C-12A7856DF7EF}"/>
              </a:ext>
            </a:extLst>
          </p:cNvPr>
          <p:cNvPicPr>
            <a:picLocks noGrp="1" noChangeAspect="1"/>
          </p:cNvPicPr>
          <p:nvPr>
            <p:ph type="pic" sz="quarter" idx="34"/>
          </p:nvPr>
        </p:nvPicPr>
        <p:blipFill>
          <a:blip r:embed="rId2">
            <a:extLst>
              <a:ext uri="{96DAC541-7B7A-43D3-8B79-37D633B846F1}">
                <asvg:svgBlip xmlns:asvg="http://schemas.microsoft.com/office/drawing/2016/SVG/main" r:embed="rId3"/>
              </a:ext>
            </a:extLst>
          </a:blip>
          <a:srcRect l="135" r="135"/>
          <a:stretch>
            <a:fillRect/>
          </a:stretch>
        </p:blipFill>
        <p:spPr>
          <a:xfrm>
            <a:off x="3317875" y="2938463"/>
            <a:ext cx="585788" cy="587375"/>
          </a:xfrm>
          <a:solidFill>
            <a:schemeClr val="accent6"/>
          </a:solidFill>
        </p:spPr>
      </p:pic>
      <p:pic>
        <p:nvPicPr>
          <p:cNvPr id="23" name="Picture Placeholder 22" descr="Shield with solid fill">
            <a:extLst>
              <a:ext uri="{FF2B5EF4-FFF2-40B4-BE49-F238E27FC236}">
                <a16:creationId xmlns:a16="http://schemas.microsoft.com/office/drawing/2014/main" id="{08084AC4-7176-0E77-944F-DF12534C1181}"/>
              </a:ext>
            </a:extLst>
          </p:cNvPr>
          <p:cNvPicPr>
            <a:picLocks noGrp="1" noChangeAspect="1"/>
          </p:cNvPicPr>
          <p:nvPr>
            <p:ph type="pic" sz="quarter" idx="33"/>
          </p:nvPr>
        </p:nvPicPr>
        <p:blipFill>
          <a:blip r:embed="rId4">
            <a:extLst>
              <a:ext uri="{96DAC541-7B7A-43D3-8B79-37D633B846F1}">
                <asvg:svgBlip xmlns:asvg="http://schemas.microsoft.com/office/drawing/2016/SVG/main" r:embed="rId5"/>
              </a:ext>
            </a:extLst>
          </a:blip>
          <a:srcRect/>
          <a:stretch>
            <a:fillRect/>
          </a:stretch>
        </p:blipFill>
        <p:spPr>
          <a:xfrm>
            <a:off x="788988" y="2938463"/>
            <a:ext cx="587375" cy="587375"/>
          </a:xfrm>
          <a:solidFill>
            <a:schemeClr val="accent6"/>
          </a:solidFill>
          <a:ln>
            <a:solidFill>
              <a:schemeClr val="accent6"/>
            </a:solidFill>
          </a:ln>
        </p:spPr>
      </p:pic>
      <p:sp>
        <p:nvSpPr>
          <p:cNvPr id="5" name="Text Placeholder 4">
            <a:extLst>
              <a:ext uri="{FF2B5EF4-FFF2-40B4-BE49-F238E27FC236}">
                <a16:creationId xmlns:a16="http://schemas.microsoft.com/office/drawing/2014/main" id="{49DA9DB8-8E5B-4B80-5A78-2A7C5A95A3CA}"/>
              </a:ext>
            </a:extLst>
          </p:cNvPr>
          <p:cNvSpPr>
            <a:spLocks noGrp="1"/>
          </p:cNvSpPr>
          <p:nvPr>
            <p:ph type="body" sz="quarter" idx="28"/>
          </p:nvPr>
        </p:nvSpPr>
        <p:spPr>
          <a:xfrm>
            <a:off x="789876" y="3584634"/>
            <a:ext cx="1972590" cy="485410"/>
          </a:xfrm>
        </p:spPr>
        <p:txBody>
          <a:bodyPr/>
          <a:lstStyle/>
          <a:p>
            <a:r>
              <a:rPr lang="en-US" dirty="0"/>
              <a:t>Limited Assurance</a:t>
            </a:r>
          </a:p>
        </p:txBody>
      </p:sp>
      <p:sp>
        <p:nvSpPr>
          <p:cNvPr id="6" name="Text Placeholder 5">
            <a:extLst>
              <a:ext uri="{FF2B5EF4-FFF2-40B4-BE49-F238E27FC236}">
                <a16:creationId xmlns:a16="http://schemas.microsoft.com/office/drawing/2014/main" id="{6D51DAA0-9562-169F-0274-52A9639EAC0D}"/>
              </a:ext>
            </a:extLst>
          </p:cNvPr>
          <p:cNvSpPr>
            <a:spLocks noGrp="1"/>
          </p:cNvSpPr>
          <p:nvPr>
            <p:ph type="body" sz="quarter" idx="29"/>
          </p:nvPr>
        </p:nvSpPr>
        <p:spPr>
          <a:xfrm>
            <a:off x="3296408" y="3584634"/>
            <a:ext cx="1972590" cy="485410"/>
          </a:xfrm>
        </p:spPr>
        <p:txBody>
          <a:bodyPr/>
          <a:lstStyle/>
          <a:p>
            <a:r>
              <a:rPr lang="en-US" dirty="0"/>
              <a:t>Reasonable Assurance</a:t>
            </a:r>
          </a:p>
        </p:txBody>
      </p:sp>
      <p:sp>
        <p:nvSpPr>
          <p:cNvPr id="7" name="Text Placeholder 6">
            <a:extLst>
              <a:ext uri="{FF2B5EF4-FFF2-40B4-BE49-F238E27FC236}">
                <a16:creationId xmlns:a16="http://schemas.microsoft.com/office/drawing/2014/main" id="{B078EBBD-A89C-059D-CC82-ECF1AA8E394E}"/>
              </a:ext>
            </a:extLst>
          </p:cNvPr>
          <p:cNvSpPr>
            <a:spLocks noGrp="1"/>
          </p:cNvSpPr>
          <p:nvPr>
            <p:ph type="body" sz="quarter" idx="30"/>
          </p:nvPr>
        </p:nvSpPr>
        <p:spPr>
          <a:xfrm>
            <a:off x="789877" y="4152490"/>
            <a:ext cx="2286000" cy="1633926"/>
          </a:xfrm>
        </p:spPr>
        <p:txBody>
          <a:bodyPr/>
          <a:lstStyle/>
          <a:p>
            <a:pPr>
              <a:buFont typeface="Arial" panose="020B0604020202020204" pitchFamily="34" charset="0"/>
              <a:buChar char="•"/>
            </a:pPr>
            <a:r>
              <a:rPr lang="en-US" dirty="0"/>
              <a:t>2026 for Scope 1 &amp; 2</a:t>
            </a:r>
          </a:p>
          <a:p>
            <a:pPr>
              <a:buFont typeface="Arial" panose="020B0604020202020204" pitchFamily="34" charset="0"/>
              <a:buChar char="•"/>
            </a:pPr>
            <a:r>
              <a:rPr lang="en-US" dirty="0"/>
              <a:t>Limited review of data/controls</a:t>
            </a:r>
          </a:p>
          <a:p>
            <a:pPr>
              <a:buFont typeface="Arial" panose="020B0604020202020204" pitchFamily="34" charset="0"/>
              <a:buChar char="•"/>
            </a:pPr>
            <a:r>
              <a:rPr lang="en-US" dirty="0"/>
              <a:t>Less evidence gathering</a:t>
            </a:r>
          </a:p>
          <a:p>
            <a:pPr>
              <a:buFont typeface="Arial" panose="020B0604020202020204" pitchFamily="34" charset="0"/>
              <a:buChar char="•"/>
            </a:pPr>
            <a:r>
              <a:rPr lang="en-US" dirty="0"/>
              <a:t>Lower confidence in completeness and accuracy</a:t>
            </a:r>
          </a:p>
        </p:txBody>
      </p:sp>
      <p:sp>
        <p:nvSpPr>
          <p:cNvPr id="8" name="Text Placeholder 7">
            <a:extLst>
              <a:ext uri="{FF2B5EF4-FFF2-40B4-BE49-F238E27FC236}">
                <a16:creationId xmlns:a16="http://schemas.microsoft.com/office/drawing/2014/main" id="{0B4A60D2-B8B9-BADB-D830-2F4810684F8A}"/>
              </a:ext>
            </a:extLst>
          </p:cNvPr>
          <p:cNvSpPr>
            <a:spLocks noGrp="1"/>
          </p:cNvSpPr>
          <p:nvPr>
            <p:ph type="body" sz="quarter" idx="31"/>
          </p:nvPr>
        </p:nvSpPr>
        <p:spPr>
          <a:xfrm>
            <a:off x="3307166" y="4152490"/>
            <a:ext cx="2286000" cy="1850366"/>
          </a:xfrm>
        </p:spPr>
        <p:txBody>
          <a:bodyPr/>
          <a:lstStyle/>
          <a:p>
            <a:r>
              <a:rPr lang="en-US" dirty="0"/>
              <a:t>2030 for Scope 1 &amp; 2</a:t>
            </a:r>
          </a:p>
          <a:p>
            <a:r>
              <a:rPr lang="en-US" dirty="0"/>
              <a:t>Additional review of data/controls</a:t>
            </a:r>
          </a:p>
          <a:p>
            <a:r>
              <a:rPr lang="en-US" dirty="0"/>
              <a:t>More significant evidence gathering</a:t>
            </a:r>
          </a:p>
          <a:p>
            <a:r>
              <a:rPr lang="en-US" dirty="0"/>
              <a:t>Higher confidence in completeness and accuracy</a:t>
            </a:r>
          </a:p>
        </p:txBody>
      </p:sp>
      <p:sp>
        <p:nvSpPr>
          <p:cNvPr id="10" name="Footer Placeholder 9">
            <a:extLst>
              <a:ext uri="{FF2B5EF4-FFF2-40B4-BE49-F238E27FC236}">
                <a16:creationId xmlns:a16="http://schemas.microsoft.com/office/drawing/2014/main" id="{D6B1EDE9-44CD-598F-1A79-4F6604BC63AD}"/>
              </a:ext>
            </a:extLst>
          </p:cNvPr>
          <p:cNvSpPr>
            <a:spLocks noGrp="1"/>
          </p:cNvSpPr>
          <p:nvPr>
            <p:ph type="ftr" sz="quarter" idx="23"/>
          </p:nvPr>
        </p:nvSpPr>
        <p:spPr/>
        <p:txBody>
          <a:bodyPr/>
          <a:lstStyle/>
          <a:p>
            <a:r>
              <a:rPr lang="en-US" dirty="0"/>
              <a:t>Proprietary &amp; Confidential: Not for Distribution.</a:t>
            </a:r>
          </a:p>
        </p:txBody>
      </p:sp>
      <p:sp>
        <p:nvSpPr>
          <p:cNvPr id="11" name="Slide Number Placeholder 10">
            <a:extLst>
              <a:ext uri="{FF2B5EF4-FFF2-40B4-BE49-F238E27FC236}">
                <a16:creationId xmlns:a16="http://schemas.microsoft.com/office/drawing/2014/main" id="{F3E64D1A-CB72-4254-02EC-C95E128BC764}"/>
              </a:ext>
            </a:extLst>
          </p:cNvPr>
          <p:cNvSpPr>
            <a:spLocks noGrp="1"/>
          </p:cNvSpPr>
          <p:nvPr>
            <p:ph type="sldNum" sz="quarter" idx="24"/>
          </p:nvPr>
        </p:nvSpPr>
        <p:spPr/>
        <p:txBody>
          <a:bodyPr/>
          <a:lstStyle/>
          <a:p>
            <a:fld id="{86CB4B4D-7CA3-9044-876B-883B54F8677D}" type="slidenum">
              <a:rPr lang="en-US" smtClean="0"/>
              <a:pPr/>
              <a:t>17</a:t>
            </a:fld>
            <a:endParaRPr lang="en-US" dirty="0"/>
          </a:p>
        </p:txBody>
      </p:sp>
      <p:sp>
        <p:nvSpPr>
          <p:cNvPr id="12" name="Title 11">
            <a:extLst>
              <a:ext uri="{FF2B5EF4-FFF2-40B4-BE49-F238E27FC236}">
                <a16:creationId xmlns:a16="http://schemas.microsoft.com/office/drawing/2014/main" id="{538BF16D-E3B1-3F83-FE99-1B3C018E4A4E}"/>
              </a:ext>
            </a:extLst>
          </p:cNvPr>
          <p:cNvSpPr>
            <a:spLocks noGrp="1"/>
          </p:cNvSpPr>
          <p:nvPr>
            <p:ph type="title"/>
          </p:nvPr>
        </p:nvSpPr>
        <p:spPr>
          <a:xfrm>
            <a:off x="612648" y="855144"/>
            <a:ext cx="10972800" cy="485410"/>
          </a:xfrm>
        </p:spPr>
        <p:txBody>
          <a:bodyPr/>
          <a:lstStyle/>
          <a:p>
            <a:r>
              <a:rPr lang="en-US" dirty="0"/>
              <a:t>How Can I be Sure My Footprint is Ready for Verification? </a:t>
            </a:r>
          </a:p>
        </p:txBody>
      </p:sp>
      <p:pic>
        <p:nvPicPr>
          <p:cNvPr id="16" name="Picture 15">
            <a:extLst>
              <a:ext uri="{FF2B5EF4-FFF2-40B4-BE49-F238E27FC236}">
                <a16:creationId xmlns:a16="http://schemas.microsoft.com/office/drawing/2014/main" id="{7A25540C-7845-0FB4-465C-9F5D162FEA7B}"/>
              </a:ext>
            </a:extLst>
          </p:cNvPr>
          <p:cNvPicPr>
            <a:picLocks noChangeAspect="1"/>
          </p:cNvPicPr>
          <p:nvPr/>
        </p:nvPicPr>
        <p:blipFill>
          <a:blip r:embed="rId6"/>
          <a:srcRect r="2557"/>
          <a:stretch>
            <a:fillRect/>
          </a:stretch>
        </p:blipFill>
        <p:spPr>
          <a:xfrm>
            <a:off x="5748998" y="1829063"/>
            <a:ext cx="6227160" cy="3957353"/>
          </a:xfrm>
          <a:prstGeom prst="rect">
            <a:avLst/>
          </a:prstGeom>
          <a:ln w="38100">
            <a:solidFill>
              <a:schemeClr val="accent1">
                <a:lumMod val="60000"/>
                <a:lumOff val="40000"/>
              </a:schemeClr>
            </a:solidFill>
          </a:ln>
        </p:spPr>
      </p:pic>
      <p:sp>
        <p:nvSpPr>
          <p:cNvPr id="17" name="TextBox 16">
            <a:extLst>
              <a:ext uri="{FF2B5EF4-FFF2-40B4-BE49-F238E27FC236}">
                <a16:creationId xmlns:a16="http://schemas.microsoft.com/office/drawing/2014/main" id="{B7223946-01E2-D341-83EE-627D7FFC7F09}"/>
              </a:ext>
            </a:extLst>
          </p:cNvPr>
          <p:cNvSpPr txBox="1"/>
          <p:nvPr/>
        </p:nvSpPr>
        <p:spPr>
          <a:xfrm>
            <a:off x="609600" y="5869759"/>
            <a:ext cx="7589520" cy="70788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rIns="0">
            <a:spAutoFit/>
          </a:bodyPr>
          <a:lstStyle/>
          <a:p>
            <a:pPr algn="just"/>
            <a:r>
              <a:rPr lang="en-US" sz="800" dirty="0"/>
              <a:t>Sources</a:t>
            </a:r>
            <a:r>
              <a:rPr lang="en-US" sz="800" u="sng" dirty="0"/>
              <a:t>:</a:t>
            </a:r>
          </a:p>
          <a:p>
            <a:pPr algn="just"/>
            <a:r>
              <a:rPr lang="en-US" sz="800" u="sng" dirty="0"/>
              <a:t> </a:t>
            </a:r>
            <a:r>
              <a:rPr lang="en-US" sz="800" u="sng" dirty="0">
                <a:hlinkClick r:id="rId7">
                  <a:extLst>
                    <a:ext uri="{A12FA001-AC4F-418D-AE19-62706E023703}">
                      <ahyp:hlinkClr xmlns:ahyp="http://schemas.microsoft.com/office/drawing/2018/hyperlinkcolor" val="tx"/>
                    </a:ext>
                  </a:extLst>
                </a:hlinkClick>
              </a:rPr>
              <a:t>CARB Public Meeting</a:t>
            </a:r>
          </a:p>
          <a:p>
            <a:pPr algn="just"/>
            <a:r>
              <a:rPr lang="en-US" sz="800" u="sng" dirty="0">
                <a:hlinkClick r:id="rId8">
                  <a:extLst>
                    <a:ext uri="{A12FA001-AC4F-418D-AE19-62706E023703}">
                      <ahyp:hlinkClr xmlns:ahyp="http://schemas.microsoft.com/office/drawing/2018/hyperlinkcolor" val="tx"/>
                    </a:ext>
                  </a:extLst>
                </a:hlinkClick>
              </a:rPr>
              <a:t>SCS Global “Preparing for the New Greenhouse Gas Inventory Verification Regulations</a:t>
            </a:r>
            <a:r>
              <a:rPr lang="en-US" sz="800" u="sng" dirty="0"/>
              <a:t>”</a:t>
            </a:r>
          </a:p>
          <a:p>
            <a:pPr algn="just"/>
            <a:endParaRPr lang="en-US" sz="800" u="sng" dirty="0"/>
          </a:p>
          <a:p>
            <a:pPr algn="just"/>
            <a:endParaRPr lang="en-US" sz="800" i="1" dirty="0">
              <a:latin typeface="Inter" panose="020B0502030000000004" pitchFamily="34" charset="0"/>
              <a:ea typeface="Inter" panose="020B0502030000000004" pitchFamily="34" charset="0"/>
            </a:endParaRPr>
          </a:p>
        </p:txBody>
      </p:sp>
      <p:sp>
        <p:nvSpPr>
          <p:cNvPr id="18" name="Content Placeholder 12">
            <a:extLst>
              <a:ext uri="{FF2B5EF4-FFF2-40B4-BE49-F238E27FC236}">
                <a16:creationId xmlns:a16="http://schemas.microsoft.com/office/drawing/2014/main" id="{6496B9DE-7DC3-8421-C5F2-C3E10940A067}"/>
              </a:ext>
            </a:extLst>
          </p:cNvPr>
          <p:cNvSpPr txBox="1">
            <a:spLocks/>
          </p:cNvSpPr>
          <p:nvPr/>
        </p:nvSpPr>
        <p:spPr>
          <a:xfrm>
            <a:off x="438912" y="1586132"/>
            <a:ext cx="5185711" cy="606123"/>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Font typeface="System Font Regular"/>
              <a:buNone/>
            </a:pPr>
            <a:endParaRPr lang="en-US" sz="1600" kern="0" dirty="0"/>
          </a:p>
        </p:txBody>
      </p:sp>
      <p:sp>
        <p:nvSpPr>
          <p:cNvPr id="19" name="Content Placeholder 12">
            <a:extLst>
              <a:ext uri="{FF2B5EF4-FFF2-40B4-BE49-F238E27FC236}">
                <a16:creationId xmlns:a16="http://schemas.microsoft.com/office/drawing/2014/main" id="{2000557C-6FD2-10EB-5439-DCE80E59A804}"/>
              </a:ext>
            </a:extLst>
          </p:cNvPr>
          <p:cNvSpPr txBox="1">
            <a:spLocks/>
          </p:cNvSpPr>
          <p:nvPr/>
        </p:nvSpPr>
        <p:spPr>
          <a:xfrm>
            <a:off x="609597" y="1727959"/>
            <a:ext cx="4792181" cy="1174732"/>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Font typeface="System Font Regular"/>
              <a:buNone/>
            </a:pPr>
            <a:r>
              <a:rPr lang="en-US" sz="1600" kern="0" dirty="0"/>
              <a:t>Finding a CARB-approved verifier and running a pilot verification process now can significantly lower compliance risk ahead of 2026. At a minimum, prep an Inventory Management Plan.</a:t>
            </a:r>
          </a:p>
        </p:txBody>
      </p:sp>
    </p:spTree>
    <p:extLst>
      <p:ext uri="{BB962C8B-B14F-4D97-AF65-F5344CB8AC3E}">
        <p14:creationId xmlns:p14="http://schemas.microsoft.com/office/powerpoint/2010/main" val="239021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599A9520-2786-1438-4344-16CA0D92E7CF}"/>
              </a:ext>
            </a:extLst>
          </p:cNvPr>
          <p:cNvPicPr>
            <a:picLocks noGrp="1" noChangeAspect="1"/>
          </p:cNvPicPr>
          <p:nvPr>
            <p:ph type="pic" sz="half" idx="21"/>
          </p:nvPr>
        </p:nvPicPr>
        <p:blipFill>
          <a:blip r:embed="rId3"/>
          <a:srcRect l="36165" r="36165"/>
          <a:stretch/>
        </p:blipFill>
        <p:spPr/>
      </p:pic>
      <p:sp>
        <p:nvSpPr>
          <p:cNvPr id="388" name="Text Placeholder 387">
            <a:extLst>
              <a:ext uri="{FF2B5EF4-FFF2-40B4-BE49-F238E27FC236}">
                <a16:creationId xmlns:a16="http://schemas.microsoft.com/office/drawing/2014/main" id="{B9B784A3-C6E8-DB8E-2A55-1E7EF74E96BC}"/>
              </a:ext>
            </a:extLst>
          </p:cNvPr>
          <p:cNvSpPr>
            <a:spLocks noGrp="1"/>
          </p:cNvSpPr>
          <p:nvPr>
            <p:ph type="body" sz="quarter" idx="34"/>
          </p:nvPr>
        </p:nvSpPr>
        <p:spPr>
          <a:xfrm>
            <a:off x="8565870" y="3000648"/>
            <a:ext cx="3480353" cy="3023633"/>
          </a:xfrm>
        </p:spPr>
        <p:txBody>
          <a:bodyPr/>
          <a:lstStyle/>
          <a:p>
            <a:pPr marL="0" indent="0">
              <a:buNone/>
            </a:pPr>
            <a:r>
              <a:rPr lang="en-US" b="1" dirty="0">
                <a:solidFill>
                  <a:schemeClr val="tx2"/>
                </a:solidFill>
                <a:sym typeface="Open Sans Regular"/>
              </a:rPr>
              <a:t>To advance the low-carbon future and restore nature with market-based solutions.  </a:t>
            </a:r>
          </a:p>
          <a:p>
            <a:pPr marL="0" indent="0">
              <a:buNone/>
            </a:pPr>
            <a:endParaRPr lang="en-US" b="1" dirty="0">
              <a:solidFill>
                <a:schemeClr val="tx2"/>
              </a:solidFill>
              <a:sym typeface="Open Sans Regular"/>
            </a:endParaRPr>
          </a:p>
          <a:p>
            <a:pPr marL="0" indent="0">
              <a:buNone/>
            </a:pPr>
            <a:r>
              <a:rPr lang="en-US" b="1" dirty="0">
                <a:solidFill>
                  <a:schemeClr val="tx2"/>
                </a:solidFill>
                <a:sym typeface="Open Sans Regular"/>
              </a:rPr>
              <a:t>We provide comprehensive sustainability solutions to help clients maximize their environmental assets, minimize regulatory costs, and enhance their impact.</a:t>
            </a:r>
          </a:p>
          <a:p>
            <a:endParaRPr lang="en-US" b="1" dirty="0">
              <a:solidFill>
                <a:schemeClr val="tx2"/>
              </a:solidFill>
              <a:sym typeface="Calibri"/>
            </a:endParaRPr>
          </a:p>
          <a:p>
            <a:endParaRPr lang="en-US" dirty="0"/>
          </a:p>
        </p:txBody>
      </p:sp>
      <p:sp>
        <p:nvSpPr>
          <p:cNvPr id="37" name="Text Placeholder 36">
            <a:extLst>
              <a:ext uri="{FF2B5EF4-FFF2-40B4-BE49-F238E27FC236}">
                <a16:creationId xmlns:a16="http://schemas.microsoft.com/office/drawing/2014/main" id="{C7391E70-4DDD-BB60-EEF9-CB95DCA200FC}"/>
              </a:ext>
            </a:extLst>
          </p:cNvPr>
          <p:cNvSpPr>
            <a:spLocks noGrp="1"/>
          </p:cNvSpPr>
          <p:nvPr>
            <p:ph type="body" sz="quarter" idx="28"/>
          </p:nvPr>
        </p:nvSpPr>
        <p:spPr>
          <a:xfrm>
            <a:off x="4183985" y="526673"/>
            <a:ext cx="3385616" cy="515938"/>
          </a:xfrm>
        </p:spPr>
        <p:txBody>
          <a:bodyPr/>
          <a:lstStyle/>
          <a:p>
            <a:r>
              <a:rPr lang="en-US" sz="1800" dirty="0"/>
              <a:t>Sustainability Advisory</a:t>
            </a:r>
          </a:p>
        </p:txBody>
      </p:sp>
      <p:sp>
        <p:nvSpPr>
          <p:cNvPr id="39" name="Text Placeholder 38">
            <a:extLst>
              <a:ext uri="{FF2B5EF4-FFF2-40B4-BE49-F238E27FC236}">
                <a16:creationId xmlns:a16="http://schemas.microsoft.com/office/drawing/2014/main" id="{0F984F28-7679-DFEA-9FE0-433C89412FBD}"/>
              </a:ext>
            </a:extLst>
          </p:cNvPr>
          <p:cNvSpPr>
            <a:spLocks noGrp="1"/>
          </p:cNvSpPr>
          <p:nvPr>
            <p:ph type="body" sz="quarter" idx="30"/>
          </p:nvPr>
        </p:nvSpPr>
        <p:spPr>
          <a:xfrm>
            <a:off x="4183985" y="2483422"/>
            <a:ext cx="4222166" cy="515938"/>
          </a:xfrm>
        </p:spPr>
        <p:txBody>
          <a:bodyPr/>
          <a:lstStyle/>
          <a:p>
            <a:r>
              <a:rPr lang="en-US" sz="1800" dirty="0"/>
              <a:t>Carbon Management</a:t>
            </a:r>
          </a:p>
        </p:txBody>
      </p:sp>
      <p:sp>
        <p:nvSpPr>
          <p:cNvPr id="40" name="Text Placeholder 39">
            <a:extLst>
              <a:ext uri="{FF2B5EF4-FFF2-40B4-BE49-F238E27FC236}">
                <a16:creationId xmlns:a16="http://schemas.microsoft.com/office/drawing/2014/main" id="{EA2A4299-17EF-EBA2-FBBD-BD48DE3065EE}"/>
              </a:ext>
            </a:extLst>
          </p:cNvPr>
          <p:cNvSpPr>
            <a:spLocks noGrp="1"/>
          </p:cNvSpPr>
          <p:nvPr>
            <p:ph type="body" sz="quarter" idx="31"/>
          </p:nvPr>
        </p:nvSpPr>
        <p:spPr>
          <a:xfrm>
            <a:off x="4184762" y="3064052"/>
            <a:ext cx="3529009" cy="1424760"/>
          </a:xfrm>
        </p:spPr>
        <p:txBody>
          <a:bodyPr/>
          <a:lstStyle/>
          <a:p>
            <a:r>
              <a:rPr lang="en-US" sz="1200" dirty="0"/>
              <a:t>Origination &amp; Due Diligence </a:t>
            </a:r>
          </a:p>
          <a:p>
            <a:r>
              <a:rPr lang="en-US" sz="1200" dirty="0"/>
              <a:t>Methodology Review &amp; Development</a:t>
            </a:r>
          </a:p>
          <a:p>
            <a:r>
              <a:rPr lang="en-US" sz="1200" dirty="0"/>
              <a:t>Deal Structuring &amp; Financing </a:t>
            </a:r>
          </a:p>
          <a:p>
            <a:r>
              <a:rPr lang="en-US" sz="1200" dirty="0"/>
              <a:t>Project Management &amp; Reporting</a:t>
            </a:r>
          </a:p>
          <a:p>
            <a:r>
              <a:rPr lang="en-US" sz="1200" dirty="0"/>
              <a:t>Portfolio Hedging &amp; Offtake Agreements</a:t>
            </a:r>
          </a:p>
          <a:p>
            <a:pPr marL="0" indent="0">
              <a:buNone/>
            </a:pPr>
            <a:endParaRPr lang="en-US" sz="1200" dirty="0"/>
          </a:p>
        </p:txBody>
      </p:sp>
      <p:pic>
        <p:nvPicPr>
          <p:cNvPr id="47" name="Picture Placeholder 46">
            <a:extLst>
              <a:ext uri="{FF2B5EF4-FFF2-40B4-BE49-F238E27FC236}">
                <a16:creationId xmlns:a16="http://schemas.microsoft.com/office/drawing/2014/main" id="{59340AB7-1712-8524-4900-EDCEBFA27052}"/>
              </a:ext>
            </a:extLst>
          </p:cNvPr>
          <p:cNvPicPr>
            <a:picLocks noGrp="1" noChangeAspect="1"/>
          </p:cNvPicPr>
          <p:nvPr>
            <p:ph type="pic" sz="quarter" idx="25"/>
          </p:nvPr>
        </p:nvPicPr>
        <p:blipFill>
          <a:blip r:embed="rId4" cstate="print">
            <a:extLst>
              <a:ext uri="{28A0092B-C50C-407E-A947-70E740481C1C}">
                <a14:useLocalDpi xmlns:a14="http://schemas.microsoft.com/office/drawing/2010/main" val="0"/>
              </a:ext>
            </a:extLst>
          </a:blip>
          <a:srcRect t="568" b="568"/>
          <a:stretch/>
        </p:blipFill>
        <p:spPr>
          <a:xfrm>
            <a:off x="2833288" y="885664"/>
            <a:ext cx="1112196" cy="1112196"/>
          </a:xfrm>
        </p:spPr>
      </p:pic>
      <p:pic>
        <p:nvPicPr>
          <p:cNvPr id="51" name="Picture Placeholder 50" descr="A green circle with white puzzle pieces in it&#10;&#10;Description automatically generated">
            <a:extLst>
              <a:ext uri="{FF2B5EF4-FFF2-40B4-BE49-F238E27FC236}">
                <a16:creationId xmlns:a16="http://schemas.microsoft.com/office/drawing/2014/main" id="{9769F8DA-6578-2BDA-7AD4-E7B70C1C83C9}"/>
              </a:ext>
            </a:extLst>
          </p:cNvPr>
          <p:cNvPicPr>
            <a:picLocks noGrp="1" noChangeAspect="1"/>
          </p:cNvPicPr>
          <p:nvPr>
            <p:ph type="pic" sz="quarter" idx="26"/>
          </p:nvPr>
        </p:nvPicPr>
        <p:blipFill>
          <a:blip r:embed="rId5" cstate="print">
            <a:extLst>
              <a:ext uri="{28A0092B-C50C-407E-A947-70E740481C1C}">
                <a14:useLocalDpi xmlns:a14="http://schemas.microsoft.com/office/drawing/2010/main" val="0"/>
              </a:ext>
            </a:extLst>
          </a:blip>
          <a:srcRect t="568" b="568"/>
          <a:stretch/>
        </p:blipFill>
        <p:spPr>
          <a:xfrm>
            <a:off x="2833288" y="2724079"/>
            <a:ext cx="1112196" cy="1112196"/>
          </a:xfrm>
        </p:spPr>
      </p:pic>
      <p:pic>
        <p:nvPicPr>
          <p:cNvPr id="53" name="Picture Placeholder 52" descr="A logo on a green circle&#10;&#10;Description automatically generated">
            <a:extLst>
              <a:ext uri="{FF2B5EF4-FFF2-40B4-BE49-F238E27FC236}">
                <a16:creationId xmlns:a16="http://schemas.microsoft.com/office/drawing/2014/main" id="{D67204D6-2473-1882-1457-CBA7F7C7042B}"/>
              </a:ext>
            </a:extLst>
          </p:cNvPr>
          <p:cNvPicPr>
            <a:picLocks noGrp="1" noChangeAspect="1"/>
          </p:cNvPicPr>
          <p:nvPr>
            <p:ph type="pic" sz="quarter" idx="27"/>
          </p:nvPr>
        </p:nvPicPr>
        <p:blipFill>
          <a:blip r:embed="rId6" cstate="print">
            <a:extLst>
              <a:ext uri="{28A0092B-C50C-407E-A947-70E740481C1C}">
                <a14:useLocalDpi xmlns:a14="http://schemas.microsoft.com/office/drawing/2010/main" val="0"/>
              </a:ext>
            </a:extLst>
          </a:blip>
          <a:srcRect t="498" b="498"/>
          <a:stretch/>
        </p:blipFill>
        <p:spPr>
          <a:xfrm>
            <a:off x="2833288" y="4478718"/>
            <a:ext cx="1112196" cy="1112196"/>
          </a:xfrm>
        </p:spPr>
      </p:pic>
      <p:sp>
        <p:nvSpPr>
          <p:cNvPr id="2" name="Footer Placeholder 1">
            <a:extLst>
              <a:ext uri="{FF2B5EF4-FFF2-40B4-BE49-F238E27FC236}">
                <a16:creationId xmlns:a16="http://schemas.microsoft.com/office/drawing/2014/main" id="{24490B6F-F5F7-86F3-0258-B98D43A2DE08}"/>
              </a:ext>
            </a:extLst>
          </p:cNvPr>
          <p:cNvSpPr>
            <a:spLocks noGrp="1"/>
          </p:cNvSpPr>
          <p:nvPr>
            <p:ph type="ftr" sz="quarter" idx="23"/>
          </p:nvPr>
        </p:nvSpPr>
        <p:spPr>
          <a:xfrm>
            <a:off x="438912" y="6539152"/>
            <a:ext cx="2743200" cy="236552"/>
          </a:xfr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Inter" panose="02000503000000020004" pitchFamily="2" charset="0"/>
                <a:ea typeface="Inter" panose="02000503000000020004" pitchFamily="2" charset="0"/>
                <a:cs typeface="Arial" panose="020B0604020202020204" pitchFamily="34" charset="0"/>
                <a:sym typeface="Calibri"/>
              </a:rPr>
              <a:t>Proprietary &amp; Confidential: Not for Distribution.</a:t>
            </a:r>
          </a:p>
        </p:txBody>
      </p:sp>
      <p:sp>
        <p:nvSpPr>
          <p:cNvPr id="21" name="Slide Number Placeholder 20">
            <a:extLst>
              <a:ext uri="{FF2B5EF4-FFF2-40B4-BE49-F238E27FC236}">
                <a16:creationId xmlns:a16="http://schemas.microsoft.com/office/drawing/2014/main" id="{46809241-072A-3D3F-BDC6-EF14C6627A17}"/>
              </a:ext>
            </a:extLst>
          </p:cNvPr>
          <p:cNvSpPr>
            <a:spLocks noGrp="1"/>
          </p:cNvSpPr>
          <p:nvPr>
            <p:ph type="sldNum" sz="quarter" idx="24"/>
          </p:nvPr>
        </p:nvSpPr>
        <p:spPr>
          <a:xfrm>
            <a:off x="11774658" y="6537960"/>
            <a:ext cx="339207" cy="237744"/>
          </a:xfr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700" b="1" i="0" u="none" strike="noStrike" kern="0" cap="none" spc="0" normalizeH="0" baseline="0" noProof="0" smtClean="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rPr>
              <a:pPr marL="0" marR="0" lvl="0" indent="0" algn="l" defTabSz="914400" rtl="0" eaLnBrk="1" fontAlgn="auto" latinLnBrk="0" hangingPunct="0">
                <a:lnSpc>
                  <a:spcPct val="100000"/>
                </a:lnSpc>
                <a:spcBef>
                  <a:spcPts val="0"/>
                </a:spcBef>
                <a:spcAft>
                  <a:spcPts val="0"/>
                </a:spcAft>
                <a:buClrTx/>
                <a:buSzTx/>
                <a:buFontTx/>
                <a:buNone/>
                <a:tabLst/>
                <a:defRPr/>
              </a:pPr>
              <a:t>2</a:t>
            </a:fld>
            <a:endParaRPr kumimoji="0" lang="en-US" sz="700" b="1" i="0" u="none" strike="noStrike" kern="0" cap="none" spc="0" normalizeH="0" baseline="0" noProof="0" dirty="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endParaRPr>
          </a:p>
        </p:txBody>
      </p:sp>
      <p:sp>
        <p:nvSpPr>
          <p:cNvPr id="55" name="Text Placeholder 54">
            <a:extLst>
              <a:ext uri="{FF2B5EF4-FFF2-40B4-BE49-F238E27FC236}">
                <a16:creationId xmlns:a16="http://schemas.microsoft.com/office/drawing/2014/main" id="{B0714B99-444E-DFCF-15BE-CD2431AA744F}"/>
              </a:ext>
            </a:extLst>
          </p:cNvPr>
          <p:cNvSpPr>
            <a:spLocks noGrp="1"/>
          </p:cNvSpPr>
          <p:nvPr>
            <p:ph type="body" sz="quarter" idx="29"/>
          </p:nvPr>
        </p:nvSpPr>
        <p:spPr>
          <a:xfrm>
            <a:off x="4184762" y="1107303"/>
            <a:ext cx="3817953" cy="1424760"/>
          </a:xfrm>
        </p:spPr>
        <p:txBody>
          <a:bodyPr/>
          <a:lstStyle/>
          <a:p>
            <a:r>
              <a:rPr lang="en-US" sz="1200" dirty="0"/>
              <a:t>Climate Risk Assessments &amp; Reporting</a:t>
            </a:r>
          </a:p>
          <a:p>
            <a:r>
              <a:rPr lang="en-US" sz="1200" dirty="0"/>
              <a:t>Regulatory Optimization </a:t>
            </a:r>
          </a:p>
          <a:p>
            <a:r>
              <a:rPr lang="en-US" sz="1200" dirty="0"/>
              <a:t>GHG Accounting &amp; Life Cycle Assessment</a:t>
            </a:r>
          </a:p>
          <a:p>
            <a:r>
              <a:rPr lang="en-US" sz="1200" dirty="0"/>
              <a:t>Decarbonization Strategy</a:t>
            </a:r>
          </a:p>
          <a:p>
            <a:r>
              <a:rPr lang="en-US" sz="1200" dirty="0"/>
              <a:t>Impact Reporting</a:t>
            </a:r>
          </a:p>
          <a:p>
            <a:r>
              <a:rPr lang="en-US" sz="1200" dirty="0"/>
              <a:t>Green Premium Valuation &amp; Verification </a:t>
            </a:r>
          </a:p>
        </p:txBody>
      </p:sp>
      <p:sp>
        <p:nvSpPr>
          <p:cNvPr id="41" name="Text Placeholder 40">
            <a:extLst>
              <a:ext uri="{FF2B5EF4-FFF2-40B4-BE49-F238E27FC236}">
                <a16:creationId xmlns:a16="http://schemas.microsoft.com/office/drawing/2014/main" id="{EE5D7CAC-9E43-0635-6995-1405463A8244}"/>
              </a:ext>
            </a:extLst>
          </p:cNvPr>
          <p:cNvSpPr>
            <a:spLocks noGrp="1"/>
          </p:cNvSpPr>
          <p:nvPr>
            <p:ph type="body" sz="quarter" idx="32"/>
          </p:nvPr>
        </p:nvSpPr>
        <p:spPr>
          <a:xfrm>
            <a:off x="4183985" y="4173515"/>
            <a:ext cx="3385616" cy="515938"/>
          </a:xfrm>
        </p:spPr>
        <p:txBody>
          <a:bodyPr/>
          <a:lstStyle/>
          <a:p>
            <a:r>
              <a:rPr lang="en-US" sz="1800" dirty="0"/>
              <a:t>Environmental Credits</a:t>
            </a:r>
          </a:p>
        </p:txBody>
      </p:sp>
      <p:sp>
        <p:nvSpPr>
          <p:cNvPr id="42" name="Text Placeholder 41">
            <a:extLst>
              <a:ext uri="{FF2B5EF4-FFF2-40B4-BE49-F238E27FC236}">
                <a16:creationId xmlns:a16="http://schemas.microsoft.com/office/drawing/2014/main" id="{352BCD0F-1D50-852F-E2BD-3837BFC5D69D}"/>
              </a:ext>
            </a:extLst>
          </p:cNvPr>
          <p:cNvSpPr>
            <a:spLocks noGrp="1"/>
          </p:cNvSpPr>
          <p:nvPr>
            <p:ph type="body" sz="quarter" idx="33"/>
          </p:nvPr>
        </p:nvSpPr>
        <p:spPr>
          <a:xfrm>
            <a:off x="4184762" y="4754145"/>
            <a:ext cx="3529005" cy="1424760"/>
          </a:xfrm>
        </p:spPr>
        <p:txBody>
          <a:bodyPr/>
          <a:lstStyle/>
          <a:p>
            <a:r>
              <a:rPr lang="en-US" sz="1200" dirty="0"/>
              <a:t>High Quality Carbon Credits </a:t>
            </a:r>
          </a:p>
          <a:p>
            <a:pPr lvl="1"/>
            <a:r>
              <a:rPr lang="en-US" sz="1200" dirty="0"/>
              <a:t>Technology- &amp; Nature-based Projects</a:t>
            </a:r>
          </a:p>
          <a:p>
            <a:r>
              <a:rPr lang="en-US" sz="1200" dirty="0"/>
              <a:t>Commodity Certificates</a:t>
            </a:r>
          </a:p>
          <a:p>
            <a:pPr lvl="1"/>
            <a:r>
              <a:rPr lang="en-US" sz="1200" dirty="0"/>
              <a:t>Renewable Energy, Fuels, &amp; Materials </a:t>
            </a:r>
          </a:p>
          <a:p>
            <a:r>
              <a:rPr lang="en-US" sz="1200" dirty="0"/>
              <a:t>Digital Carbon Solutions &amp; Marketing</a:t>
            </a:r>
          </a:p>
          <a:p>
            <a:pPr lvl="1"/>
            <a:r>
              <a:rPr lang="en-US" sz="1200" dirty="0"/>
              <a:t>EcoCommitted Labels</a:t>
            </a:r>
          </a:p>
        </p:txBody>
      </p:sp>
      <p:sp>
        <p:nvSpPr>
          <p:cNvPr id="390" name="Content Placeholder 389">
            <a:extLst>
              <a:ext uri="{FF2B5EF4-FFF2-40B4-BE49-F238E27FC236}">
                <a16:creationId xmlns:a16="http://schemas.microsoft.com/office/drawing/2014/main" id="{20A23C9D-E155-25CB-4A33-EBEE6AB33866}"/>
              </a:ext>
            </a:extLst>
          </p:cNvPr>
          <p:cNvSpPr>
            <a:spLocks noGrp="1"/>
          </p:cNvSpPr>
          <p:nvPr>
            <p:ph sz="quarter" idx="36"/>
          </p:nvPr>
        </p:nvSpPr>
        <p:spPr>
          <a:xfrm>
            <a:off x="8566150" y="1782763"/>
            <a:ext cx="3208338" cy="792162"/>
          </a:xfrm>
        </p:spPr>
        <p:txBody>
          <a:bodyPr/>
          <a:lstStyle/>
          <a:p>
            <a:r>
              <a:rPr lang="en-US" dirty="0">
                <a:latin typeface="+mj-lt"/>
              </a:rPr>
              <a:t>Our Mission</a:t>
            </a:r>
          </a:p>
        </p:txBody>
      </p:sp>
      <p:sp>
        <p:nvSpPr>
          <p:cNvPr id="439" name="Straight Connector 10"/>
          <p:cNvSpPr/>
          <p:nvPr/>
        </p:nvSpPr>
        <p:spPr>
          <a:xfrm flipH="1">
            <a:off x="8056397" y="832419"/>
            <a:ext cx="0" cy="5415981"/>
          </a:xfrm>
          <a:prstGeom prst="line">
            <a:avLst/>
          </a:prstGeom>
          <a:ln>
            <a:solidFill>
              <a:schemeClr val="bg1">
                <a:lumMod val="50000"/>
              </a:schemeClr>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Inter"/>
              <a:ea typeface="Calibri"/>
              <a:cs typeface="Calibri"/>
              <a:sym typeface="Calibri"/>
            </a:endParaRPr>
          </a:p>
        </p:txBody>
      </p:sp>
      <p:cxnSp>
        <p:nvCxnSpPr>
          <p:cNvPr id="5" name="Straight Connector 4">
            <a:extLst>
              <a:ext uri="{FF2B5EF4-FFF2-40B4-BE49-F238E27FC236}">
                <a16:creationId xmlns:a16="http://schemas.microsoft.com/office/drawing/2014/main" id="{9DAA1CF1-1EE0-3EC5-C0C0-21139B348013}"/>
              </a:ext>
            </a:extLst>
          </p:cNvPr>
          <p:cNvCxnSpPr/>
          <p:nvPr/>
        </p:nvCxnSpPr>
        <p:spPr>
          <a:xfrm>
            <a:off x="8591776" y="2687837"/>
            <a:ext cx="676656" cy="0"/>
          </a:xfrm>
          <a:prstGeom prst="line">
            <a:avLst/>
          </a:prstGeom>
          <a:noFill/>
          <a:ln w="38100" cap="rnd">
            <a:solidFill>
              <a:schemeClr val="tx2"/>
            </a:solidFill>
            <a:prstDash val="solid"/>
            <a:miter lim="800000"/>
          </a:ln>
          <a:effectLst/>
          <a:sp3d/>
        </p:spPr>
        <p:style>
          <a:lnRef idx="0">
            <a:scrgbClr r="0" g="0" b="0"/>
          </a:lnRef>
          <a:fillRef idx="0">
            <a:scrgbClr r="0" g="0" b="0"/>
          </a:fillRef>
          <a:effectRef idx="0">
            <a:scrgbClr r="0" g="0" b="0"/>
          </a:effectRef>
          <a:fontRef idx="none"/>
        </p:style>
      </p:cxnSp>
      <p:sp>
        <p:nvSpPr>
          <p:cNvPr id="7" name="Oval 6">
            <a:extLst>
              <a:ext uri="{FF2B5EF4-FFF2-40B4-BE49-F238E27FC236}">
                <a16:creationId xmlns:a16="http://schemas.microsoft.com/office/drawing/2014/main" id="{B58C59D8-26BD-35ED-44B6-43BADA233935}"/>
              </a:ext>
            </a:extLst>
          </p:cNvPr>
          <p:cNvSpPr/>
          <p:nvPr/>
        </p:nvSpPr>
        <p:spPr>
          <a:xfrm>
            <a:off x="3029842" y="1143084"/>
            <a:ext cx="752053" cy="752053"/>
          </a:xfrm>
          <a:prstGeom prst="ellipse">
            <a:avLst/>
          </a:prstGeom>
          <a:solidFill>
            <a:srgbClr val="00767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Calibri"/>
              <a:cs typeface="Calibri"/>
              <a:sym typeface="Calibri"/>
            </a:endParaRPr>
          </a:p>
        </p:txBody>
      </p:sp>
      <p:sp>
        <p:nvSpPr>
          <p:cNvPr id="8" name="Oval 7">
            <a:extLst>
              <a:ext uri="{FF2B5EF4-FFF2-40B4-BE49-F238E27FC236}">
                <a16:creationId xmlns:a16="http://schemas.microsoft.com/office/drawing/2014/main" id="{A59028FC-556B-3055-8B04-6919195A56DC}"/>
              </a:ext>
            </a:extLst>
          </p:cNvPr>
          <p:cNvSpPr/>
          <p:nvPr/>
        </p:nvSpPr>
        <p:spPr>
          <a:xfrm>
            <a:off x="2976046" y="2942205"/>
            <a:ext cx="752053" cy="752053"/>
          </a:xfrm>
          <a:prstGeom prst="ellipse">
            <a:avLst/>
          </a:prstGeom>
          <a:solidFill>
            <a:srgbClr val="00767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Calibri"/>
              <a:cs typeface="Calibri"/>
              <a:sym typeface="Calibri"/>
            </a:endParaRPr>
          </a:p>
        </p:txBody>
      </p:sp>
      <p:sp>
        <p:nvSpPr>
          <p:cNvPr id="9" name="Oval 8">
            <a:extLst>
              <a:ext uri="{FF2B5EF4-FFF2-40B4-BE49-F238E27FC236}">
                <a16:creationId xmlns:a16="http://schemas.microsoft.com/office/drawing/2014/main" id="{1C119BBC-9957-CBAF-104E-37E405CAFE80}"/>
              </a:ext>
            </a:extLst>
          </p:cNvPr>
          <p:cNvSpPr/>
          <p:nvPr/>
        </p:nvSpPr>
        <p:spPr>
          <a:xfrm>
            <a:off x="3009628" y="4689453"/>
            <a:ext cx="752053" cy="752053"/>
          </a:xfrm>
          <a:prstGeom prst="ellipse">
            <a:avLst/>
          </a:prstGeom>
          <a:solidFill>
            <a:srgbClr val="00767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nter"/>
              <a:ea typeface="Calibri"/>
              <a:cs typeface="Calibri"/>
              <a:sym typeface="Calibri"/>
            </a:endParaRPr>
          </a:p>
        </p:txBody>
      </p:sp>
      <p:pic>
        <p:nvPicPr>
          <p:cNvPr id="13" name="Graphic 12" descr="Renewable Energy with solid fill">
            <a:extLst>
              <a:ext uri="{FF2B5EF4-FFF2-40B4-BE49-F238E27FC236}">
                <a16:creationId xmlns:a16="http://schemas.microsoft.com/office/drawing/2014/main" id="{0350ED39-CE0A-8517-8652-5E3499065D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28454" y="4566723"/>
            <a:ext cx="914400" cy="914400"/>
          </a:xfrm>
          <a:prstGeom prst="rect">
            <a:avLst/>
          </a:prstGeom>
        </p:spPr>
      </p:pic>
      <p:pic>
        <p:nvPicPr>
          <p:cNvPr id="15" name="Graphic 14" descr="Playbook with solid fill">
            <a:extLst>
              <a:ext uri="{FF2B5EF4-FFF2-40B4-BE49-F238E27FC236}">
                <a16:creationId xmlns:a16="http://schemas.microsoft.com/office/drawing/2014/main" id="{3CAE9E4D-F1CB-1AE0-3652-EE539DCCCC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3922" y="979845"/>
            <a:ext cx="914400" cy="914400"/>
          </a:xfrm>
          <a:prstGeom prst="rect">
            <a:avLst/>
          </a:prstGeom>
        </p:spPr>
      </p:pic>
      <p:pic>
        <p:nvPicPr>
          <p:cNvPr id="17" name="Graphic 16" descr="Puzzle pieces with solid fill">
            <a:extLst>
              <a:ext uri="{FF2B5EF4-FFF2-40B4-BE49-F238E27FC236}">
                <a16:creationId xmlns:a16="http://schemas.microsoft.com/office/drawing/2014/main" id="{DB8A7FFE-426A-8452-3CA6-5FF09C9799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962275" y="2790825"/>
            <a:ext cx="914400" cy="914400"/>
          </a:xfrm>
          <a:prstGeom prst="rect">
            <a:avLst/>
          </a:prstGeom>
        </p:spPr>
      </p:pic>
    </p:spTree>
    <p:extLst>
      <p:ext uri="{BB962C8B-B14F-4D97-AF65-F5344CB8AC3E}">
        <p14:creationId xmlns:p14="http://schemas.microsoft.com/office/powerpoint/2010/main" val="1593999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C0E23AE-0633-E97B-EE5E-6A82F2B08038}"/>
              </a:ext>
            </a:extLst>
          </p:cNvPr>
          <p:cNvSpPr/>
          <p:nvPr/>
        </p:nvSpPr>
        <p:spPr>
          <a:xfrm>
            <a:off x="10134601" y="6400800"/>
            <a:ext cx="1555994" cy="347998"/>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j-lt"/>
              <a:ea typeface="+mn-ea"/>
              <a:cs typeface="+mn-cs"/>
              <a:sym typeface="Calibri"/>
            </a:endParaRPr>
          </a:p>
        </p:txBody>
      </p:sp>
      <p:sp>
        <p:nvSpPr>
          <p:cNvPr id="3" name="Text Placeholder 2">
            <a:extLst>
              <a:ext uri="{FF2B5EF4-FFF2-40B4-BE49-F238E27FC236}">
                <a16:creationId xmlns:a16="http://schemas.microsoft.com/office/drawing/2014/main" id="{D97451F3-12C3-D84A-E194-4306B2F58D74}"/>
              </a:ext>
            </a:extLst>
          </p:cNvPr>
          <p:cNvSpPr>
            <a:spLocks noGrp="1"/>
          </p:cNvSpPr>
          <p:nvPr>
            <p:ph type="body" sz="quarter" idx="26"/>
          </p:nvPr>
        </p:nvSpPr>
        <p:spPr>
          <a:xfrm>
            <a:off x="6918" y="2120381"/>
            <a:ext cx="4324350" cy="640080"/>
          </a:xfrm>
        </p:spPr>
        <p:txBody>
          <a:bodyPr/>
          <a:lstStyle/>
          <a:p>
            <a:r>
              <a:rPr lang="en-US" sz="1800" dirty="0">
                <a:latin typeface="+mj-lt"/>
              </a:rPr>
              <a:t>SB 261 and SB 253 Overview</a:t>
            </a:r>
          </a:p>
        </p:txBody>
      </p:sp>
      <p:sp>
        <p:nvSpPr>
          <p:cNvPr id="4" name="Text Placeholder 3">
            <a:extLst>
              <a:ext uri="{FF2B5EF4-FFF2-40B4-BE49-F238E27FC236}">
                <a16:creationId xmlns:a16="http://schemas.microsoft.com/office/drawing/2014/main" id="{7061225A-8A3E-9C3D-C1D0-CCEDEEAA5098}"/>
              </a:ext>
            </a:extLst>
          </p:cNvPr>
          <p:cNvSpPr>
            <a:spLocks noGrp="1"/>
          </p:cNvSpPr>
          <p:nvPr>
            <p:ph type="body" sz="quarter" idx="27"/>
          </p:nvPr>
        </p:nvSpPr>
        <p:spPr>
          <a:xfrm>
            <a:off x="6918" y="2938066"/>
            <a:ext cx="4324350" cy="640080"/>
          </a:xfrm>
        </p:spPr>
        <p:txBody>
          <a:bodyPr/>
          <a:lstStyle/>
          <a:p>
            <a:r>
              <a:rPr lang="en-US" sz="1800" dirty="0">
                <a:latin typeface="+mj-lt"/>
              </a:rPr>
              <a:t>Frequently Asked Questions</a:t>
            </a:r>
          </a:p>
        </p:txBody>
      </p:sp>
      <p:sp>
        <p:nvSpPr>
          <p:cNvPr id="5" name="Text Placeholder 4">
            <a:extLst>
              <a:ext uri="{FF2B5EF4-FFF2-40B4-BE49-F238E27FC236}">
                <a16:creationId xmlns:a16="http://schemas.microsoft.com/office/drawing/2014/main" id="{72BCCEBB-5B88-26BC-A6AC-2F0BCEE6F71E}"/>
              </a:ext>
            </a:extLst>
          </p:cNvPr>
          <p:cNvSpPr>
            <a:spLocks noGrp="1"/>
          </p:cNvSpPr>
          <p:nvPr>
            <p:ph type="body" sz="quarter" idx="28"/>
          </p:nvPr>
        </p:nvSpPr>
        <p:spPr>
          <a:xfrm>
            <a:off x="6918" y="3755751"/>
            <a:ext cx="4324350" cy="640080"/>
          </a:xfrm>
        </p:spPr>
        <p:txBody>
          <a:bodyPr/>
          <a:lstStyle/>
          <a:p>
            <a:r>
              <a:rPr lang="en-US" sz="1800" dirty="0">
                <a:latin typeface="+mj-lt"/>
              </a:rPr>
              <a:t>Looking Ahead</a:t>
            </a:r>
          </a:p>
        </p:txBody>
      </p:sp>
      <p:sp>
        <p:nvSpPr>
          <p:cNvPr id="6" name="Footer Placeholder 5">
            <a:extLst>
              <a:ext uri="{FF2B5EF4-FFF2-40B4-BE49-F238E27FC236}">
                <a16:creationId xmlns:a16="http://schemas.microsoft.com/office/drawing/2014/main" id="{01FE4333-9BBB-E616-5479-044AF176C6CF}"/>
              </a:ext>
            </a:extLst>
          </p:cNvPr>
          <p:cNvSpPr>
            <a:spLocks noGrp="1"/>
          </p:cNvSpPr>
          <p:nvPr>
            <p:ph type="ftr" sz="quarter" idx="23"/>
          </p:nvPr>
        </p:nvSpPr>
        <p:spPr/>
        <p:txBody>
          <a:bodyPr/>
          <a:lstStyle/>
          <a:p>
            <a:r>
              <a:rPr lang="en-US" dirty="0">
                <a:latin typeface="+mj-lt"/>
              </a:rPr>
              <a:t>Proprietary &amp; Confidential: Not for Distribution.</a:t>
            </a:r>
          </a:p>
        </p:txBody>
      </p:sp>
      <p:sp>
        <p:nvSpPr>
          <p:cNvPr id="7" name="Slide Number Placeholder 6">
            <a:extLst>
              <a:ext uri="{FF2B5EF4-FFF2-40B4-BE49-F238E27FC236}">
                <a16:creationId xmlns:a16="http://schemas.microsoft.com/office/drawing/2014/main" id="{907C781C-6113-B1B4-BD0B-ED052CE646B4}"/>
              </a:ext>
            </a:extLst>
          </p:cNvPr>
          <p:cNvSpPr>
            <a:spLocks noGrp="1"/>
          </p:cNvSpPr>
          <p:nvPr>
            <p:ph type="sldNum" sz="quarter" idx="24"/>
          </p:nvPr>
        </p:nvSpPr>
        <p:spPr/>
        <p:txBody>
          <a:bodyPr/>
          <a:lstStyle/>
          <a:p>
            <a:fld id="{86CB4B4D-7CA3-9044-876B-883B54F8677D}" type="slidenum">
              <a:rPr lang="en-US" smtClean="0">
                <a:latin typeface="+mj-lt"/>
              </a:rPr>
              <a:pPr/>
              <a:t>3</a:t>
            </a:fld>
            <a:endParaRPr lang="en-US" dirty="0">
              <a:latin typeface="+mj-lt"/>
            </a:endParaRPr>
          </a:p>
        </p:txBody>
      </p:sp>
      <p:sp>
        <p:nvSpPr>
          <p:cNvPr id="8" name="Title 7">
            <a:extLst>
              <a:ext uri="{FF2B5EF4-FFF2-40B4-BE49-F238E27FC236}">
                <a16:creationId xmlns:a16="http://schemas.microsoft.com/office/drawing/2014/main" id="{65D73D95-E916-AA11-F9D0-77EFDBBEAFBC}"/>
              </a:ext>
            </a:extLst>
          </p:cNvPr>
          <p:cNvSpPr>
            <a:spLocks noGrp="1"/>
          </p:cNvSpPr>
          <p:nvPr>
            <p:ph type="title"/>
          </p:nvPr>
        </p:nvSpPr>
        <p:spPr/>
        <p:txBody>
          <a:bodyPr/>
          <a:lstStyle/>
          <a:p>
            <a:r>
              <a:rPr lang="en-US" dirty="0">
                <a:latin typeface="+mj-lt"/>
              </a:rPr>
              <a:t>Speakers &amp; Agenda</a:t>
            </a:r>
          </a:p>
        </p:txBody>
      </p:sp>
      <p:sp>
        <p:nvSpPr>
          <p:cNvPr id="9" name="Rectangle 8">
            <a:extLst>
              <a:ext uri="{FF2B5EF4-FFF2-40B4-BE49-F238E27FC236}">
                <a16:creationId xmlns:a16="http://schemas.microsoft.com/office/drawing/2014/main" id="{22EB2593-1387-039B-7ACD-40FB20B51299}"/>
              </a:ext>
            </a:extLst>
          </p:cNvPr>
          <p:cNvSpPr/>
          <p:nvPr/>
        </p:nvSpPr>
        <p:spPr>
          <a:xfrm>
            <a:off x="5442120" y="0"/>
            <a:ext cx="6749880" cy="6858000"/>
          </a:xfrm>
          <a:prstGeom prst="rect">
            <a:avLst/>
          </a:prstGeom>
          <a:solidFill>
            <a:schemeClr val="bg1">
              <a:lumMod val="9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j-lt"/>
              <a:ea typeface="+mn-ea"/>
              <a:cs typeface="+mn-cs"/>
              <a:sym typeface="Calibri"/>
            </a:endParaRPr>
          </a:p>
        </p:txBody>
      </p:sp>
      <p:sp>
        <p:nvSpPr>
          <p:cNvPr id="16" name="Freeform 26">
            <a:extLst>
              <a:ext uri="{FF2B5EF4-FFF2-40B4-BE49-F238E27FC236}">
                <a16:creationId xmlns:a16="http://schemas.microsoft.com/office/drawing/2014/main" id="{CF4E4FA1-B7C3-927E-462D-09011A07A5EB}"/>
              </a:ext>
            </a:extLst>
          </p:cNvPr>
          <p:cNvSpPr/>
          <p:nvPr/>
        </p:nvSpPr>
        <p:spPr>
          <a:xfrm>
            <a:off x="7453328" y="1807390"/>
            <a:ext cx="2952826" cy="565128"/>
          </a:xfrm>
          <a:custGeom>
            <a:avLst/>
            <a:gdLst>
              <a:gd name="connsiteX0" fmla="*/ 0 w 2009454"/>
              <a:gd name="connsiteY0" fmla="*/ 0 h 745507"/>
              <a:gd name="connsiteX1" fmla="*/ 2009454 w 2009454"/>
              <a:gd name="connsiteY1" fmla="*/ 0 h 745507"/>
              <a:gd name="connsiteX2" fmla="*/ 2009454 w 2009454"/>
              <a:gd name="connsiteY2" fmla="*/ 745507 h 745507"/>
              <a:gd name="connsiteX3" fmla="*/ 0 w 2009454"/>
              <a:gd name="connsiteY3" fmla="*/ 745507 h 745507"/>
              <a:gd name="connsiteX4" fmla="*/ 0 w 2009454"/>
              <a:gd name="connsiteY4" fmla="*/ 0 h 745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454" h="745507">
                <a:moveTo>
                  <a:pt x="0" y="0"/>
                </a:moveTo>
                <a:lnTo>
                  <a:pt x="2009454" y="0"/>
                </a:lnTo>
                <a:lnTo>
                  <a:pt x="2009454" y="745507"/>
                </a:lnTo>
                <a:lnTo>
                  <a:pt x="0" y="74550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0" numCol="1" spcCol="1270" anchor="t" anchorCtr="0">
            <a:noAutofit/>
          </a:bodyPr>
          <a:lstStyle/>
          <a:p>
            <a:pPr marL="0" marR="0" lvl="0" indent="0" defTabSz="533400" rtl="0" eaLnBrk="1" fontAlgn="auto" latinLnBrk="0" hangingPunct="1">
              <a:lnSpc>
                <a:spcPct val="105000"/>
              </a:lnSpc>
              <a:spcBef>
                <a:spcPct val="0"/>
              </a:spcBef>
              <a:spcAft>
                <a:spcPct val="35000"/>
              </a:spcAft>
              <a:buClr>
                <a:srgbClr val="000000"/>
              </a:buClr>
              <a:buSzPct val="100000"/>
              <a:buFont typeface="Inter"/>
              <a:buNone/>
              <a:tabLst/>
              <a:defRPr/>
            </a:pPr>
            <a:r>
              <a:rPr lang="en-US" sz="1600" b="1" dirty="0">
                <a:solidFill>
                  <a:srgbClr val="1B4171"/>
                </a:solidFill>
                <a:latin typeface="+mj-lt"/>
                <a:ea typeface="Calibri"/>
                <a:cs typeface="Calibri"/>
                <a:sym typeface="Arial"/>
              </a:rPr>
              <a:t>Amanda Mast</a:t>
            </a:r>
            <a:br>
              <a:rPr lang="en-US" sz="1400" b="1" dirty="0">
                <a:latin typeface="+mj-lt"/>
                <a:ea typeface="Calibri"/>
                <a:cs typeface="Calibri"/>
              </a:rPr>
            </a:br>
            <a:r>
              <a:rPr lang="en-US" sz="1400" dirty="0">
                <a:solidFill>
                  <a:srgbClr val="1B4171"/>
                </a:solidFill>
                <a:latin typeface="+mj-lt"/>
                <a:ea typeface="Calibri"/>
                <a:cs typeface="Calibri"/>
                <a:sym typeface="Arial"/>
              </a:rPr>
              <a:t>Director, Sustainability Advisory</a:t>
            </a:r>
          </a:p>
        </p:txBody>
      </p:sp>
      <p:pic>
        <p:nvPicPr>
          <p:cNvPr id="17" name="Picture 16">
            <a:extLst>
              <a:ext uri="{FF2B5EF4-FFF2-40B4-BE49-F238E27FC236}">
                <a16:creationId xmlns:a16="http://schemas.microsoft.com/office/drawing/2014/main" id="{C99C87DA-F5B6-864C-FCBA-9952305A6240}"/>
              </a:ext>
            </a:extLst>
          </p:cNvPr>
          <p:cNvPicPr>
            <a:picLocks noChangeAspect="1"/>
          </p:cNvPicPr>
          <p:nvPr/>
        </p:nvPicPr>
        <p:blipFill>
          <a:blip r:embed="rId3">
            <a:extLst>
              <a:ext uri="{28A0092B-C50C-407E-A947-70E740481C1C}">
                <a14:useLocalDpi xmlns:a14="http://schemas.microsoft.com/office/drawing/2010/main" val="0"/>
              </a:ext>
            </a:extLst>
          </a:blip>
          <a:srcRect t="8465" b="8465"/>
          <a:stretch/>
        </p:blipFill>
        <p:spPr>
          <a:xfrm>
            <a:off x="5883801" y="3788136"/>
            <a:ext cx="1425380" cy="1425380"/>
          </a:xfrm>
          <a:prstGeom prst="flowChartConnector">
            <a:avLst/>
          </a:prstGeom>
          <a:blipFill>
            <a:blip r:embed="rId4" cstate="email">
              <a:extLst>
                <a:ext uri="{28A0092B-C50C-407E-A947-70E740481C1C}">
                  <a14:useLocalDpi xmlns:a14="http://schemas.microsoft.com/office/drawing/2010/main"/>
                </a:ext>
              </a:extLst>
            </a:blip>
            <a:srcRect/>
            <a:stretch>
              <a:fillRect/>
            </a:stretch>
          </a:blipFill>
          <a:ln w="25400">
            <a:noFill/>
          </a:ln>
        </p:spPr>
      </p:pic>
      <p:sp>
        <p:nvSpPr>
          <p:cNvPr id="19" name="Text Placeholder 1">
            <a:extLst>
              <a:ext uri="{FF2B5EF4-FFF2-40B4-BE49-F238E27FC236}">
                <a16:creationId xmlns:a16="http://schemas.microsoft.com/office/drawing/2014/main" id="{E2786E1E-BC79-5C29-2DB3-AC04194CD8BB}"/>
              </a:ext>
            </a:extLst>
          </p:cNvPr>
          <p:cNvSpPr txBox="1">
            <a:spLocks/>
          </p:cNvSpPr>
          <p:nvPr/>
        </p:nvSpPr>
        <p:spPr>
          <a:xfrm>
            <a:off x="7525129" y="2464148"/>
            <a:ext cx="3040347" cy="600164"/>
          </a:xfrm>
          <a:prstGeom prst="rect">
            <a:avLst/>
          </a:prstGeom>
        </p:spPr>
        <p:txBody>
          <a:bodyPr wrap="square" lIns="0" tIns="0" rIns="0" bIns="0" anchor="t">
            <a:spAutoFit/>
          </a:bodyPr>
          <a:lstStyle>
            <a:lvl1pPr marL="182880" marR="0" indent="-182880" algn="l" defTabSz="914400" rtl="0" eaLnBrk="1" latinLnBrk="0" hangingPunct="1">
              <a:lnSpc>
                <a:spcPct val="120000"/>
              </a:lnSpc>
              <a:spcBef>
                <a:spcPts val="1000"/>
              </a:spcBef>
              <a:spcAft>
                <a:spcPts val="0"/>
              </a:spcAft>
              <a:buClr>
                <a:schemeClr val="tx1"/>
              </a:buClr>
              <a:buSzPct val="100000"/>
              <a:buFont typeface="Inte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1pPr>
            <a:lvl2pPr marL="365760" marR="0" indent="-182880" algn="l" defTabSz="914400" rtl="0" eaLnBrk="1" latinLnBrk="0" hangingPunct="1">
              <a:lnSpc>
                <a:spcPct val="120000"/>
              </a:lnSpc>
              <a:spcBef>
                <a:spcPts val="300"/>
              </a:spcBef>
              <a:spcAft>
                <a:spcPts val="0"/>
              </a:spcAft>
              <a:buClr>
                <a:schemeClr val="tx1"/>
              </a:buClr>
              <a:buSzPct val="100000"/>
              <a:buFont typeface="Inter"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2pPr>
            <a:lvl3pPr marL="548640" marR="0" indent="-182880" algn="l" defTabSz="914400" rtl="0" eaLnBrk="1" latinLnBrk="0" hangingPunct="1">
              <a:lnSpc>
                <a:spcPct val="120000"/>
              </a:lnSpc>
              <a:spcBef>
                <a:spcPts val="300"/>
              </a:spcBef>
              <a:spcAft>
                <a:spcPts val="0"/>
              </a:spcAft>
              <a:buClr>
                <a:schemeClr val="tx1"/>
              </a:buClr>
              <a:buSzPct val="100000"/>
              <a:buFont typeface="Inte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3pPr>
            <a:lvl4pPr marL="731520" marR="0" indent="-182880" algn="l" defTabSz="914400" rtl="0" eaLnBrk="1" latinLnBrk="0" hangingPunct="1">
              <a:lnSpc>
                <a:spcPct val="120000"/>
              </a:lnSpc>
              <a:spcBef>
                <a:spcPts val="300"/>
              </a:spcBef>
              <a:spcAft>
                <a:spcPts val="0"/>
              </a:spcAft>
              <a:buClr>
                <a:schemeClr val="tx1"/>
              </a:buClr>
              <a:buSzPct val="100000"/>
              <a:buFont typeface="Inter"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4pPr>
            <a:lvl5pPr marL="914400" marR="0" indent="-182880" algn="l" defTabSz="914400" rtl="0" eaLnBrk="1" latinLnBrk="0" hangingPunct="1">
              <a:lnSpc>
                <a:spcPct val="120000"/>
              </a:lnSpc>
              <a:spcBef>
                <a:spcPts val="300"/>
              </a:spcBef>
              <a:spcAft>
                <a:spcPts val="0"/>
              </a:spcAft>
              <a:buClr>
                <a:schemeClr val="tx1"/>
              </a:buClr>
              <a:buSzPct val="100000"/>
              <a:buFont typeface="Inte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5pPr>
            <a:lvl6pPr marL="109728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6pPr>
            <a:lvl7pPr marL="128016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7pPr>
            <a:lvl8pPr marL="146304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8pPr>
            <a:lvl9pPr marL="164592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9pPr>
          </a:lstStyle>
          <a:p>
            <a:pPr marL="0" indent="0">
              <a:lnSpc>
                <a:spcPct val="100000"/>
              </a:lnSpc>
              <a:spcBef>
                <a:spcPts val="300"/>
              </a:spcBef>
              <a:buNone/>
            </a:pPr>
            <a:r>
              <a:rPr lang="en-US" sz="1300" spc="-20" dirty="0">
                <a:solidFill>
                  <a:schemeClr val="accent3"/>
                </a:solidFill>
                <a:latin typeface="+mj-lt"/>
              </a:rPr>
              <a:t>10+ years in corporate sustainability strategy, with a focus on climate risk and resilience</a:t>
            </a:r>
          </a:p>
        </p:txBody>
      </p:sp>
      <p:sp>
        <p:nvSpPr>
          <p:cNvPr id="20" name="Freeform 26">
            <a:extLst>
              <a:ext uri="{FF2B5EF4-FFF2-40B4-BE49-F238E27FC236}">
                <a16:creationId xmlns:a16="http://schemas.microsoft.com/office/drawing/2014/main" id="{0C618978-3BBE-3B80-5D4B-D511B76191CD}"/>
              </a:ext>
            </a:extLst>
          </p:cNvPr>
          <p:cNvSpPr/>
          <p:nvPr/>
        </p:nvSpPr>
        <p:spPr>
          <a:xfrm>
            <a:off x="7453328" y="3758094"/>
            <a:ext cx="3519846" cy="565127"/>
          </a:xfrm>
          <a:custGeom>
            <a:avLst/>
            <a:gdLst>
              <a:gd name="connsiteX0" fmla="*/ 0 w 2009454"/>
              <a:gd name="connsiteY0" fmla="*/ 0 h 745507"/>
              <a:gd name="connsiteX1" fmla="*/ 2009454 w 2009454"/>
              <a:gd name="connsiteY1" fmla="*/ 0 h 745507"/>
              <a:gd name="connsiteX2" fmla="*/ 2009454 w 2009454"/>
              <a:gd name="connsiteY2" fmla="*/ 745507 h 745507"/>
              <a:gd name="connsiteX3" fmla="*/ 0 w 2009454"/>
              <a:gd name="connsiteY3" fmla="*/ 745507 h 745507"/>
              <a:gd name="connsiteX4" fmla="*/ 0 w 2009454"/>
              <a:gd name="connsiteY4" fmla="*/ 0 h 745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454" h="745507">
                <a:moveTo>
                  <a:pt x="0" y="0"/>
                </a:moveTo>
                <a:lnTo>
                  <a:pt x="2009454" y="0"/>
                </a:lnTo>
                <a:lnTo>
                  <a:pt x="2009454" y="745507"/>
                </a:lnTo>
                <a:lnTo>
                  <a:pt x="0" y="74550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0" numCol="1" spcCol="1270" anchor="t" anchorCtr="0">
            <a:noAutofit/>
          </a:bodyPr>
          <a:lstStyle/>
          <a:p>
            <a:pPr marL="0" marR="0" lvl="0" indent="0" defTabSz="533400" rtl="0" eaLnBrk="1" fontAlgn="auto" latinLnBrk="0" hangingPunct="1">
              <a:lnSpc>
                <a:spcPct val="105000"/>
              </a:lnSpc>
              <a:spcBef>
                <a:spcPct val="0"/>
              </a:spcBef>
              <a:spcAft>
                <a:spcPct val="35000"/>
              </a:spcAft>
              <a:buClr>
                <a:srgbClr val="000000"/>
              </a:buClr>
              <a:buSzPct val="100000"/>
              <a:buFont typeface="Inter"/>
              <a:buNone/>
              <a:tabLst/>
              <a:defRPr/>
            </a:pPr>
            <a:r>
              <a:rPr lang="en-US" sz="1600" b="1" dirty="0">
                <a:solidFill>
                  <a:srgbClr val="1B4171"/>
                </a:solidFill>
                <a:latin typeface="+mj-lt"/>
                <a:ea typeface="Calibri"/>
                <a:cs typeface="Calibri"/>
                <a:sym typeface="Arial"/>
              </a:rPr>
              <a:t>Wilson Fong</a:t>
            </a:r>
            <a:br>
              <a:rPr lang="en-US" sz="1400" b="1" dirty="0">
                <a:latin typeface="+mj-lt"/>
                <a:ea typeface="Calibri"/>
                <a:cs typeface="Calibri"/>
              </a:rPr>
            </a:br>
            <a:r>
              <a:rPr lang="en-US" sz="1400" dirty="0">
                <a:solidFill>
                  <a:srgbClr val="1B4171"/>
                </a:solidFill>
                <a:latin typeface="+mj-lt"/>
                <a:ea typeface="Calibri"/>
                <a:cs typeface="Calibri"/>
                <a:sym typeface="Arial"/>
              </a:rPr>
              <a:t>Manager, Sustainability Advisory </a:t>
            </a:r>
            <a:endParaRPr lang="en-US" sz="1400" i="0" u="none" strike="noStrike" kern="1200" cap="none" spc="0" normalizeH="0" baseline="0" noProof="0" dirty="0">
              <a:ln>
                <a:noFill/>
              </a:ln>
              <a:solidFill>
                <a:srgbClr val="1B4171"/>
              </a:solidFill>
              <a:effectLst/>
              <a:uLnTx/>
              <a:uFillTx/>
              <a:latin typeface="+mj-lt"/>
              <a:ea typeface="Calibri"/>
              <a:cs typeface="Calibri"/>
            </a:endParaRPr>
          </a:p>
        </p:txBody>
      </p:sp>
      <p:sp>
        <p:nvSpPr>
          <p:cNvPr id="21" name="Text Placeholder 1">
            <a:extLst>
              <a:ext uri="{FF2B5EF4-FFF2-40B4-BE49-F238E27FC236}">
                <a16:creationId xmlns:a16="http://schemas.microsoft.com/office/drawing/2014/main" id="{D36B0B79-FE45-92B3-A065-3E5747B627EF}"/>
              </a:ext>
            </a:extLst>
          </p:cNvPr>
          <p:cNvSpPr txBox="1">
            <a:spLocks/>
          </p:cNvSpPr>
          <p:nvPr/>
        </p:nvSpPr>
        <p:spPr>
          <a:xfrm>
            <a:off x="7536438" y="4380630"/>
            <a:ext cx="3029038" cy="600164"/>
          </a:xfrm>
          <a:prstGeom prst="rect">
            <a:avLst/>
          </a:prstGeom>
        </p:spPr>
        <p:txBody>
          <a:bodyPr wrap="square" lIns="0" tIns="0" rIns="0" bIns="0" anchor="t">
            <a:spAutoFit/>
          </a:bodyPr>
          <a:lstStyle>
            <a:lvl1pPr marL="182880" marR="0" indent="-182880" algn="l" defTabSz="914400" rtl="0" eaLnBrk="1" latinLnBrk="0" hangingPunct="1">
              <a:lnSpc>
                <a:spcPct val="120000"/>
              </a:lnSpc>
              <a:spcBef>
                <a:spcPts val="1000"/>
              </a:spcBef>
              <a:spcAft>
                <a:spcPts val="0"/>
              </a:spcAft>
              <a:buClr>
                <a:schemeClr val="tx1"/>
              </a:buClr>
              <a:buSzPct val="100000"/>
              <a:buFont typeface="Inte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1pPr>
            <a:lvl2pPr marL="365760" marR="0" indent="-182880" algn="l" defTabSz="914400" rtl="0" eaLnBrk="1" latinLnBrk="0" hangingPunct="1">
              <a:lnSpc>
                <a:spcPct val="120000"/>
              </a:lnSpc>
              <a:spcBef>
                <a:spcPts val="300"/>
              </a:spcBef>
              <a:spcAft>
                <a:spcPts val="0"/>
              </a:spcAft>
              <a:buClr>
                <a:schemeClr val="tx1"/>
              </a:buClr>
              <a:buSzPct val="100000"/>
              <a:buFont typeface="Inter"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2pPr>
            <a:lvl3pPr marL="548640" marR="0" indent="-182880" algn="l" defTabSz="914400" rtl="0" eaLnBrk="1" latinLnBrk="0" hangingPunct="1">
              <a:lnSpc>
                <a:spcPct val="120000"/>
              </a:lnSpc>
              <a:spcBef>
                <a:spcPts val="300"/>
              </a:spcBef>
              <a:spcAft>
                <a:spcPts val="0"/>
              </a:spcAft>
              <a:buClr>
                <a:schemeClr val="tx1"/>
              </a:buClr>
              <a:buSzPct val="100000"/>
              <a:buFont typeface="Inte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3pPr>
            <a:lvl4pPr marL="731520" marR="0" indent="-182880" algn="l" defTabSz="914400" rtl="0" eaLnBrk="1" latinLnBrk="0" hangingPunct="1">
              <a:lnSpc>
                <a:spcPct val="120000"/>
              </a:lnSpc>
              <a:spcBef>
                <a:spcPts val="300"/>
              </a:spcBef>
              <a:spcAft>
                <a:spcPts val="0"/>
              </a:spcAft>
              <a:buClr>
                <a:schemeClr val="tx1"/>
              </a:buClr>
              <a:buSzPct val="100000"/>
              <a:buFont typeface="Inter"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4pPr>
            <a:lvl5pPr marL="914400" marR="0" indent="-182880" algn="l" defTabSz="914400" rtl="0" eaLnBrk="1" latinLnBrk="0" hangingPunct="1">
              <a:lnSpc>
                <a:spcPct val="120000"/>
              </a:lnSpc>
              <a:spcBef>
                <a:spcPts val="300"/>
              </a:spcBef>
              <a:spcAft>
                <a:spcPts val="0"/>
              </a:spcAft>
              <a:buClr>
                <a:schemeClr val="tx1"/>
              </a:buClr>
              <a:buSzPct val="100000"/>
              <a:buFont typeface="Inte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5pPr>
            <a:lvl6pPr marL="109728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6pPr>
            <a:lvl7pPr marL="128016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7pPr>
            <a:lvl8pPr marL="146304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8pPr>
            <a:lvl9pPr marL="164592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9pPr>
          </a:lstStyle>
          <a:p>
            <a:pPr marL="0" indent="0">
              <a:lnSpc>
                <a:spcPct val="100000"/>
              </a:lnSpc>
              <a:spcBef>
                <a:spcPts val="300"/>
              </a:spcBef>
              <a:buNone/>
            </a:pPr>
            <a:r>
              <a:rPr lang="en-US" sz="1300" spc="-20" dirty="0">
                <a:solidFill>
                  <a:schemeClr val="accent3"/>
                </a:solidFill>
                <a:latin typeface="+mj-lt"/>
              </a:rPr>
              <a:t>6+ years in sustainability reporting, compliance, regulatory mapping, and policy impact analysis </a:t>
            </a:r>
          </a:p>
        </p:txBody>
      </p:sp>
      <p:pic>
        <p:nvPicPr>
          <p:cNvPr id="11" name="Graphic 10">
            <a:extLst>
              <a:ext uri="{FF2B5EF4-FFF2-40B4-BE49-F238E27FC236}">
                <a16:creationId xmlns:a16="http://schemas.microsoft.com/office/drawing/2014/main" id="{BEDCBEF0-2BEF-3BF2-360B-7F1FB51B6B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66787" y="3163543"/>
            <a:ext cx="394202" cy="342043"/>
          </a:xfrm>
          <a:prstGeom prst="rect">
            <a:avLst/>
          </a:prstGeom>
        </p:spPr>
      </p:pic>
      <p:pic>
        <p:nvPicPr>
          <p:cNvPr id="12" name="Graphic 11">
            <a:extLst>
              <a:ext uri="{FF2B5EF4-FFF2-40B4-BE49-F238E27FC236}">
                <a16:creationId xmlns:a16="http://schemas.microsoft.com/office/drawing/2014/main" id="{E8D0B710-A6B5-CFFA-FE95-0E6403BFA9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66787" y="5061744"/>
            <a:ext cx="394202" cy="342043"/>
          </a:xfrm>
          <a:prstGeom prst="rect">
            <a:avLst/>
          </a:prstGeom>
        </p:spPr>
      </p:pic>
      <p:pic>
        <p:nvPicPr>
          <p:cNvPr id="10" name="Picture 9">
            <a:extLst>
              <a:ext uri="{FF2B5EF4-FFF2-40B4-BE49-F238E27FC236}">
                <a16:creationId xmlns:a16="http://schemas.microsoft.com/office/drawing/2014/main" id="{649F90F2-9D83-5F50-7B42-6D916D48DF8A}"/>
              </a:ext>
            </a:extLst>
          </p:cNvPr>
          <p:cNvPicPr>
            <a:picLocks noChangeAspect="1"/>
          </p:cNvPicPr>
          <p:nvPr/>
        </p:nvPicPr>
        <p:blipFill>
          <a:blip r:embed="rId7">
            <a:extLst>
              <a:ext uri="{28A0092B-C50C-407E-A947-70E740481C1C}">
                <a14:useLocalDpi xmlns:a14="http://schemas.microsoft.com/office/drawing/2010/main" val="0"/>
              </a:ext>
            </a:extLst>
          </a:blip>
          <a:srcRect t="8168" b="8168"/>
          <a:stretch/>
        </p:blipFill>
        <p:spPr>
          <a:xfrm>
            <a:off x="5878043" y="1672232"/>
            <a:ext cx="1426464" cy="1426464"/>
          </a:xfrm>
          <a:prstGeom prst="flowChartConnector">
            <a:avLst/>
          </a:prstGeom>
          <a:blipFill>
            <a:blip r:embed="rId4" cstate="email">
              <a:extLst>
                <a:ext uri="{28A0092B-C50C-407E-A947-70E740481C1C}">
                  <a14:useLocalDpi xmlns:a14="http://schemas.microsoft.com/office/drawing/2010/main"/>
                </a:ext>
              </a:extLst>
            </a:blip>
            <a:srcRect/>
            <a:stretch>
              <a:fillRect/>
            </a:stretch>
          </a:blipFill>
          <a:ln w="25400">
            <a:noFill/>
          </a:ln>
        </p:spPr>
      </p:pic>
    </p:spTree>
    <p:extLst>
      <p:ext uri="{BB962C8B-B14F-4D97-AF65-F5344CB8AC3E}">
        <p14:creationId xmlns:p14="http://schemas.microsoft.com/office/powerpoint/2010/main" val="809394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86BA1F5E-9030-6E9D-3E38-D565239ABCEA}"/>
              </a:ext>
            </a:extLst>
          </p:cNvPr>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a:stretch/>
        </p:blipFill>
        <p:spPr>
          <a:xfrm>
            <a:off x="0" y="0"/>
            <a:ext cx="11961045" cy="6865497"/>
          </a:xfrm>
        </p:spPr>
      </p:pic>
      <p:sp>
        <p:nvSpPr>
          <p:cNvPr id="7" name="Title 6">
            <a:extLst>
              <a:ext uri="{FF2B5EF4-FFF2-40B4-BE49-F238E27FC236}">
                <a16:creationId xmlns:a16="http://schemas.microsoft.com/office/drawing/2014/main" id="{72F6D15A-0FD4-BEF9-A725-3F71AA63380B}"/>
              </a:ext>
            </a:extLst>
          </p:cNvPr>
          <p:cNvSpPr>
            <a:spLocks noGrp="1"/>
          </p:cNvSpPr>
          <p:nvPr>
            <p:ph type="ctrTitle"/>
          </p:nvPr>
        </p:nvSpPr>
        <p:spPr>
          <a:xfrm>
            <a:off x="-2" y="1929384"/>
            <a:ext cx="8312794" cy="2999232"/>
          </a:xfrm>
          <a:solidFill>
            <a:schemeClr val="bg1">
              <a:alpha val="93000"/>
            </a:schemeClr>
          </a:solidFill>
        </p:spPr>
        <p:txBody>
          <a:bodyPr vert="horz"/>
          <a:lstStyle/>
          <a:p>
            <a:r>
              <a:rPr lang="en-US" dirty="0"/>
              <a:t>SB 261 and SB 253 Overview</a:t>
            </a:r>
          </a:p>
        </p:txBody>
      </p:sp>
      <p:sp>
        <p:nvSpPr>
          <p:cNvPr id="3" name="Slide Number Placeholder 2">
            <a:extLst>
              <a:ext uri="{FF2B5EF4-FFF2-40B4-BE49-F238E27FC236}">
                <a16:creationId xmlns:a16="http://schemas.microsoft.com/office/drawing/2014/main" id="{42752679-C4A8-A9EB-5931-D64912333D1F}"/>
              </a:ext>
            </a:extLst>
          </p:cNvPr>
          <p:cNvSpPr>
            <a:spLocks noGrp="1"/>
          </p:cNvSpPr>
          <p:nvPr>
            <p:ph type="sldNum" sz="quarter" idx="16"/>
          </p:nvPr>
        </p:nvSpPr>
        <p:spPr>
          <a:xfrm>
            <a:off x="11774658" y="6537960"/>
            <a:ext cx="339207" cy="237744"/>
          </a:xfrm>
        </p:spPr>
        <p:txBody>
          <a:bodyPr/>
          <a:lstStyle/>
          <a:p>
            <a:fld id="{86CB4B4D-7CA3-9044-876B-883B54F8677D}" type="slidenum">
              <a:rPr lang="en-US" smtClean="0"/>
              <a:pPr/>
              <a:t>4</a:t>
            </a:fld>
            <a:endParaRPr lang="en-US" dirty="0"/>
          </a:p>
        </p:txBody>
      </p:sp>
      <p:graphicFrame>
        <p:nvGraphicFramePr>
          <p:cNvPr id="5" name="think-cell data - do not delete" hidden="1">
            <a:extLst>
              <a:ext uri="{FF2B5EF4-FFF2-40B4-BE49-F238E27FC236}">
                <a16:creationId xmlns:a16="http://schemas.microsoft.com/office/drawing/2014/main" id="{F1C6ED70-B4D0-0BDA-C2F7-9CC4B3BCDEE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1C6ED70-B4D0-0BDA-C2F7-9CC4B3BCDEE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4" name="Picture 6">
            <a:extLst>
              <a:ext uri="{FF2B5EF4-FFF2-40B4-BE49-F238E27FC236}">
                <a16:creationId xmlns:a16="http://schemas.microsoft.com/office/drawing/2014/main" id="{3F43E7C1-C424-A8A8-043B-ABC3FF8057D1}"/>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2" r="79146"/>
          <a:stretch/>
        </p:blipFill>
        <p:spPr>
          <a:xfrm>
            <a:off x="456942" y="3044600"/>
            <a:ext cx="819634" cy="703902"/>
          </a:xfrm>
          <a:prstGeom prst="rect">
            <a:avLst/>
          </a:prstGeom>
        </p:spPr>
      </p:pic>
      <p:sp>
        <p:nvSpPr>
          <p:cNvPr id="48" name="Freeform 47">
            <a:extLst>
              <a:ext uri="{FF2B5EF4-FFF2-40B4-BE49-F238E27FC236}">
                <a16:creationId xmlns:a16="http://schemas.microsoft.com/office/drawing/2014/main" id="{7ED2D8C9-0A94-CD00-A185-FC6FFFBD98B7}"/>
              </a:ext>
            </a:extLst>
          </p:cNvPr>
          <p:cNvSpPr/>
          <p:nvPr/>
        </p:nvSpPr>
        <p:spPr>
          <a:xfrm>
            <a:off x="10535530" y="-7499"/>
            <a:ext cx="1433982" cy="6872997"/>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3795239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493EA01-84E5-C1F8-7C4F-CB7759AFE7A7}"/>
              </a:ext>
            </a:extLst>
          </p:cNvPr>
          <p:cNvSpPr>
            <a:spLocks noGrp="1"/>
          </p:cNvSpPr>
          <p:nvPr>
            <p:ph type="sldNum" sz="quarter" idx="10"/>
          </p:nvPr>
        </p:nvSpPr>
        <p:spPr>
          <a:xfrm>
            <a:off x="11593897" y="7431099"/>
            <a:ext cx="339207" cy="237744"/>
          </a:xfrm>
        </p:spPr>
        <p:txBody>
          <a:bodyPr/>
          <a:lstStyle/>
          <a:p>
            <a:fld id="{86CB4B4D-7CA3-9044-876B-883B54F8677D}" type="slidenum">
              <a:rPr lang="en-US" smtClean="0"/>
              <a:pPr/>
              <a:t>5</a:t>
            </a:fld>
            <a:endParaRPr lang="en-US" dirty="0"/>
          </a:p>
        </p:txBody>
      </p:sp>
      <p:sp>
        <p:nvSpPr>
          <p:cNvPr id="4" name="Footer Placeholder 3">
            <a:extLst>
              <a:ext uri="{FF2B5EF4-FFF2-40B4-BE49-F238E27FC236}">
                <a16:creationId xmlns:a16="http://schemas.microsoft.com/office/drawing/2014/main" id="{73008608-C7E4-6941-9557-AF9725A0392E}"/>
              </a:ext>
            </a:extLst>
          </p:cNvPr>
          <p:cNvSpPr>
            <a:spLocks noGrp="1"/>
          </p:cNvSpPr>
          <p:nvPr>
            <p:ph type="ftr" sz="quarter" idx="11"/>
          </p:nvPr>
        </p:nvSpPr>
        <p:spPr>
          <a:xfrm>
            <a:off x="408735" y="6539152"/>
            <a:ext cx="2743200" cy="236552"/>
          </a:xfrm>
        </p:spPr>
        <p:txBody>
          <a:bodyPr/>
          <a:lstStyle/>
          <a:p>
            <a:r>
              <a:rPr lang="en-US" dirty="0"/>
              <a:t>Proprietary &amp; Confidential: Not for Distribution.</a:t>
            </a:r>
          </a:p>
        </p:txBody>
      </p:sp>
      <p:sp>
        <p:nvSpPr>
          <p:cNvPr id="5" name="Title 4">
            <a:extLst>
              <a:ext uri="{FF2B5EF4-FFF2-40B4-BE49-F238E27FC236}">
                <a16:creationId xmlns:a16="http://schemas.microsoft.com/office/drawing/2014/main" id="{3331C9C6-99AD-AC20-6763-9A901449314B}"/>
              </a:ext>
            </a:extLst>
          </p:cNvPr>
          <p:cNvSpPr>
            <a:spLocks noGrp="1"/>
          </p:cNvSpPr>
          <p:nvPr>
            <p:ph type="title"/>
          </p:nvPr>
        </p:nvSpPr>
        <p:spPr>
          <a:xfrm>
            <a:off x="0" y="215340"/>
            <a:ext cx="12192000" cy="491386"/>
          </a:xfrm>
          <a:solidFill>
            <a:schemeClr val="tx2"/>
          </a:solidFill>
        </p:spPr>
        <p:txBody>
          <a:bodyPr anchor="ctr"/>
          <a:lstStyle/>
          <a:p>
            <a:pPr algn="ctr"/>
            <a:r>
              <a:rPr lang="en-US" sz="2400" dirty="0">
                <a:solidFill>
                  <a:schemeClr val="bg1"/>
                </a:solidFill>
                <a:latin typeface="+mn-lt"/>
                <a:ea typeface="Inter"/>
              </a:rPr>
              <a:t>Deadlines Under California Climate Requirements - Senate Bills 253, 261, 219</a:t>
            </a:r>
          </a:p>
        </p:txBody>
      </p:sp>
      <p:sp>
        <p:nvSpPr>
          <p:cNvPr id="39" name="TextBox 38">
            <a:extLst>
              <a:ext uri="{FF2B5EF4-FFF2-40B4-BE49-F238E27FC236}">
                <a16:creationId xmlns:a16="http://schemas.microsoft.com/office/drawing/2014/main" id="{B23182AB-912E-2E3F-E668-698E11D5A18C}"/>
              </a:ext>
            </a:extLst>
          </p:cNvPr>
          <p:cNvSpPr txBox="1"/>
          <p:nvPr/>
        </p:nvSpPr>
        <p:spPr>
          <a:xfrm>
            <a:off x="2679253" y="4815726"/>
            <a:ext cx="2531063" cy="1887696"/>
          </a:xfrm>
          <a:prstGeom prst="rect">
            <a:avLst/>
          </a:prstGeom>
          <a:noFill/>
        </p:spPr>
        <p:txBody>
          <a:bodyPr wrap="square" rtlCol="0">
            <a:spAutoFit/>
          </a:bodyPr>
          <a:lstStyle/>
          <a:p>
            <a:pPr>
              <a:lnSpc>
                <a:spcPct val="100000"/>
              </a:lnSpc>
              <a:spcBef>
                <a:spcPts val="0"/>
              </a:spcBef>
              <a:spcAft>
                <a:spcPts val="800"/>
              </a:spcAft>
            </a:pPr>
            <a:r>
              <a:rPr lang="en-US" sz="1100" dirty="0"/>
              <a:t>On or before </a:t>
            </a:r>
            <a:r>
              <a:rPr lang="en-US" sz="1100" b="1" dirty="0"/>
              <a:t>January 1, 2026</a:t>
            </a:r>
            <a:r>
              <a:rPr lang="en-US" sz="1100" dirty="0"/>
              <a:t>, and biennially thereafter, companies must prepare and publish a climate-related financial risk report </a:t>
            </a:r>
          </a:p>
          <a:p>
            <a:r>
              <a:rPr lang="en-US" sz="1100" dirty="0"/>
              <a:t>Ahead of </a:t>
            </a:r>
            <a:r>
              <a:rPr lang="en-US" sz="1100" b="1" dirty="0"/>
              <a:t>June 2026 </a:t>
            </a:r>
            <a:r>
              <a:rPr lang="en-US" sz="1100" dirty="0"/>
              <a:t>(proposed deadline), and annually thereafter, Scope 1 &amp; 2 emissions must be inventoried and submitted to the emissions reporting organization; limited assurance is required initially</a:t>
            </a:r>
          </a:p>
        </p:txBody>
      </p:sp>
      <p:sp>
        <p:nvSpPr>
          <p:cNvPr id="40" name="TextBox 39">
            <a:extLst>
              <a:ext uri="{FF2B5EF4-FFF2-40B4-BE49-F238E27FC236}">
                <a16:creationId xmlns:a16="http://schemas.microsoft.com/office/drawing/2014/main" id="{73F1DD59-07F5-67F0-60C1-17A1D9F79B2E}"/>
              </a:ext>
            </a:extLst>
          </p:cNvPr>
          <p:cNvSpPr txBox="1"/>
          <p:nvPr/>
        </p:nvSpPr>
        <p:spPr>
          <a:xfrm>
            <a:off x="5191931" y="3617542"/>
            <a:ext cx="2468880" cy="702756"/>
          </a:xfrm>
          <a:prstGeom prst="rect">
            <a:avLst/>
          </a:prstGeom>
          <a:noFill/>
        </p:spPr>
        <p:txBody>
          <a:bodyPr wrap="square" rtlCol="0">
            <a:spAutoFit/>
          </a:bodyPr>
          <a:lstStyle/>
          <a:p>
            <a:pPr>
              <a:lnSpc>
                <a:spcPct val="100000"/>
              </a:lnSpc>
              <a:spcBef>
                <a:spcPts val="0"/>
              </a:spcBef>
            </a:pPr>
            <a:r>
              <a:rPr lang="en-US" sz="1100" dirty="0"/>
              <a:t>Scope 1 &amp; 2 emissions </a:t>
            </a:r>
          </a:p>
          <a:p>
            <a:pPr>
              <a:lnSpc>
                <a:spcPct val="100000"/>
              </a:lnSpc>
              <a:spcBef>
                <a:spcPts val="0"/>
              </a:spcBef>
              <a:spcAft>
                <a:spcPts val="800"/>
              </a:spcAft>
            </a:pPr>
            <a:r>
              <a:rPr lang="en-US" sz="1100" dirty="0"/>
              <a:t>Limited assurance</a:t>
            </a:r>
          </a:p>
          <a:p>
            <a:pPr>
              <a:lnSpc>
                <a:spcPct val="100000"/>
              </a:lnSpc>
              <a:spcBef>
                <a:spcPts val="0"/>
              </a:spcBef>
            </a:pPr>
            <a:r>
              <a:rPr lang="en-US" sz="1100" dirty="0"/>
              <a:t>Scope 3 emissions initial reporting</a:t>
            </a:r>
          </a:p>
        </p:txBody>
      </p:sp>
      <p:sp>
        <p:nvSpPr>
          <p:cNvPr id="41" name="TextBox 40">
            <a:extLst>
              <a:ext uri="{FF2B5EF4-FFF2-40B4-BE49-F238E27FC236}">
                <a16:creationId xmlns:a16="http://schemas.microsoft.com/office/drawing/2014/main" id="{FCBBBAC3-8584-797F-CA73-E216E0ECD2DD}"/>
              </a:ext>
            </a:extLst>
          </p:cNvPr>
          <p:cNvSpPr txBox="1"/>
          <p:nvPr/>
        </p:nvSpPr>
        <p:spPr>
          <a:xfrm>
            <a:off x="9598496" y="4797167"/>
            <a:ext cx="1895694" cy="1041311"/>
          </a:xfrm>
          <a:prstGeom prst="rect">
            <a:avLst/>
          </a:prstGeom>
          <a:noFill/>
        </p:spPr>
        <p:txBody>
          <a:bodyPr wrap="square" rtlCol="0">
            <a:spAutoFit/>
          </a:bodyPr>
          <a:lstStyle/>
          <a:p>
            <a:pPr>
              <a:lnSpc>
                <a:spcPct val="100000"/>
              </a:lnSpc>
              <a:spcBef>
                <a:spcPts val="0"/>
              </a:spcBef>
            </a:pPr>
            <a:r>
              <a:rPr lang="en-US" sz="1100" dirty="0"/>
              <a:t>Scope 1 &amp; 2 emissions </a:t>
            </a:r>
          </a:p>
          <a:p>
            <a:pPr>
              <a:lnSpc>
                <a:spcPct val="100000"/>
              </a:lnSpc>
              <a:spcBef>
                <a:spcPts val="0"/>
              </a:spcBef>
              <a:spcAft>
                <a:spcPts val="800"/>
              </a:spcAft>
            </a:pPr>
            <a:r>
              <a:rPr lang="en-US" sz="1100" dirty="0"/>
              <a:t>Reasonable assurance</a:t>
            </a:r>
          </a:p>
          <a:p>
            <a:pPr>
              <a:lnSpc>
                <a:spcPct val="100000"/>
              </a:lnSpc>
              <a:spcBef>
                <a:spcPts val="0"/>
              </a:spcBef>
            </a:pPr>
            <a:r>
              <a:rPr lang="en-US" sz="1100" dirty="0"/>
              <a:t>Scope 3 emissions</a:t>
            </a:r>
          </a:p>
          <a:p>
            <a:pPr>
              <a:lnSpc>
                <a:spcPct val="100000"/>
              </a:lnSpc>
              <a:spcBef>
                <a:spcPts val="0"/>
              </a:spcBef>
            </a:pPr>
            <a:r>
              <a:rPr lang="en-US" sz="1100" dirty="0"/>
              <a:t>Limited assurance (Pending</a:t>
            </a:r>
            <a:r>
              <a:rPr lang="en-US" sz="1100" dirty="0">
                <a:solidFill>
                  <a:schemeClr val="accent1"/>
                </a:solidFill>
              </a:rPr>
              <a:t>)</a:t>
            </a:r>
          </a:p>
        </p:txBody>
      </p:sp>
      <p:sp>
        <p:nvSpPr>
          <p:cNvPr id="44" name="Rectangle: Rounded Corners 103">
            <a:extLst>
              <a:ext uri="{FF2B5EF4-FFF2-40B4-BE49-F238E27FC236}">
                <a16:creationId xmlns:a16="http://schemas.microsoft.com/office/drawing/2014/main" id="{0DE8F540-587E-098B-C14C-E67C4FB78B0A}"/>
              </a:ext>
            </a:extLst>
          </p:cNvPr>
          <p:cNvSpPr/>
          <p:nvPr/>
        </p:nvSpPr>
        <p:spPr>
          <a:xfrm>
            <a:off x="7622674" y="4522475"/>
            <a:ext cx="4023360" cy="182880"/>
          </a:xfrm>
          <a:prstGeom prst="rect">
            <a:avLst/>
          </a:prstGeom>
          <a:gradFill>
            <a:gsLst>
              <a:gs pos="0">
                <a:schemeClr val="accent5">
                  <a:lumMod val="75000"/>
                </a:schemeClr>
              </a:gs>
              <a:gs pos="100000">
                <a:schemeClr val="accent2">
                  <a:lumMod val="75000"/>
                </a:schemeClr>
              </a:gs>
            </a:gsLst>
            <a:lin ang="240000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a typeface="+mn-ea"/>
              <a:cs typeface="+mn-cs"/>
              <a:sym typeface="Calibri"/>
            </a:endParaRPr>
          </a:p>
        </p:txBody>
      </p:sp>
      <p:sp>
        <p:nvSpPr>
          <p:cNvPr id="45" name="Rectangle: Rounded Corners 103">
            <a:extLst>
              <a:ext uri="{FF2B5EF4-FFF2-40B4-BE49-F238E27FC236}">
                <a16:creationId xmlns:a16="http://schemas.microsoft.com/office/drawing/2014/main" id="{CEB91DF1-7061-8177-E075-B2030527810A}"/>
              </a:ext>
            </a:extLst>
          </p:cNvPr>
          <p:cNvSpPr/>
          <p:nvPr/>
        </p:nvSpPr>
        <p:spPr>
          <a:xfrm>
            <a:off x="5163816" y="4522475"/>
            <a:ext cx="2468880" cy="182880"/>
          </a:xfrm>
          <a:prstGeom prst="rect">
            <a:avLst/>
          </a:prstGeom>
          <a:solidFill>
            <a:schemeClr val="accent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a typeface="+mn-ea"/>
              <a:cs typeface="+mn-cs"/>
              <a:sym typeface="Calibri"/>
            </a:endParaRPr>
          </a:p>
        </p:txBody>
      </p:sp>
      <p:sp>
        <p:nvSpPr>
          <p:cNvPr id="46" name="Rectangle: Rounded Corners 103">
            <a:extLst>
              <a:ext uri="{FF2B5EF4-FFF2-40B4-BE49-F238E27FC236}">
                <a16:creationId xmlns:a16="http://schemas.microsoft.com/office/drawing/2014/main" id="{687D7B4E-FF30-49CA-2AD4-BC062D546319}"/>
              </a:ext>
            </a:extLst>
          </p:cNvPr>
          <p:cNvSpPr/>
          <p:nvPr/>
        </p:nvSpPr>
        <p:spPr>
          <a:xfrm>
            <a:off x="2686435" y="4522475"/>
            <a:ext cx="2468880" cy="182880"/>
          </a:xfrm>
          <a:prstGeom prst="rect">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a typeface="+mn-ea"/>
              <a:cs typeface="+mn-cs"/>
              <a:sym typeface="Calibri"/>
            </a:endParaRPr>
          </a:p>
        </p:txBody>
      </p:sp>
      <p:sp>
        <p:nvSpPr>
          <p:cNvPr id="48" name="Oval 47">
            <a:extLst>
              <a:ext uri="{FF2B5EF4-FFF2-40B4-BE49-F238E27FC236}">
                <a16:creationId xmlns:a16="http://schemas.microsoft.com/office/drawing/2014/main" id="{B804EFEA-0480-0B61-8BB5-577EB16A855A}"/>
              </a:ext>
            </a:extLst>
          </p:cNvPr>
          <p:cNvSpPr/>
          <p:nvPr/>
        </p:nvSpPr>
        <p:spPr>
          <a:xfrm>
            <a:off x="3567727" y="3620380"/>
            <a:ext cx="652528" cy="646067"/>
          </a:xfrm>
          <a:prstGeom prst="ellipse">
            <a:avLst/>
          </a:prstGeom>
          <a:solidFill>
            <a:srgbClr val="FFFFFF"/>
          </a:solidFill>
          <a:ln w="28575" cap="flat">
            <a:solidFill>
              <a:schemeClr val="accent4"/>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dirty="0">
                <a:ln>
                  <a:noFill/>
                </a:ln>
                <a:solidFill>
                  <a:srgbClr val="000000"/>
                </a:solidFill>
                <a:effectLst/>
                <a:uFillTx/>
                <a:ea typeface="+mn-ea"/>
                <a:cs typeface="+mn-cs"/>
                <a:sym typeface="Calibri"/>
              </a:rPr>
              <a:t>2026</a:t>
            </a:r>
          </a:p>
        </p:txBody>
      </p:sp>
      <p:cxnSp>
        <p:nvCxnSpPr>
          <p:cNvPr id="49" name="Straight Connector 48">
            <a:extLst>
              <a:ext uri="{FF2B5EF4-FFF2-40B4-BE49-F238E27FC236}">
                <a16:creationId xmlns:a16="http://schemas.microsoft.com/office/drawing/2014/main" id="{4F5F57FB-CD27-F9A6-6772-59CC2555E945}"/>
              </a:ext>
            </a:extLst>
          </p:cNvPr>
          <p:cNvCxnSpPr>
            <a:cxnSpLocks/>
            <a:stCxn id="48" idx="4"/>
          </p:cNvCxnSpPr>
          <p:nvPr/>
        </p:nvCxnSpPr>
        <p:spPr>
          <a:xfrm>
            <a:off x="3893991" y="4266447"/>
            <a:ext cx="0" cy="256576"/>
          </a:xfrm>
          <a:prstGeom prst="line">
            <a:avLst/>
          </a:prstGeom>
          <a:noFill/>
          <a:ln w="12700" cap="flat">
            <a:solidFill>
              <a:schemeClr val="accent4"/>
            </a:solidFill>
            <a:prstDash val="solid"/>
            <a:miter lim="800000"/>
          </a:ln>
          <a:effectLst/>
          <a:sp3d/>
        </p:spPr>
        <p:style>
          <a:lnRef idx="0">
            <a:scrgbClr r="0" g="0" b="0"/>
          </a:lnRef>
          <a:fillRef idx="0">
            <a:scrgbClr r="0" g="0" b="0"/>
          </a:fillRef>
          <a:effectRef idx="0">
            <a:scrgbClr r="0" g="0" b="0"/>
          </a:effectRef>
          <a:fontRef idx="none"/>
        </p:style>
      </p:cxnSp>
      <p:sp>
        <p:nvSpPr>
          <p:cNvPr id="54" name="Oval 53">
            <a:extLst>
              <a:ext uri="{FF2B5EF4-FFF2-40B4-BE49-F238E27FC236}">
                <a16:creationId xmlns:a16="http://schemas.microsoft.com/office/drawing/2014/main" id="{A9C20B9F-F119-B3C5-B41F-07A8B3AC1DB9}"/>
              </a:ext>
            </a:extLst>
          </p:cNvPr>
          <p:cNvSpPr/>
          <p:nvPr/>
        </p:nvSpPr>
        <p:spPr>
          <a:xfrm>
            <a:off x="10062256" y="3611913"/>
            <a:ext cx="652528" cy="646067"/>
          </a:xfrm>
          <a:prstGeom prst="ellipse">
            <a:avLst/>
          </a:prstGeom>
          <a:solidFill>
            <a:srgbClr val="FFFFFF"/>
          </a:solidFill>
          <a:ln w="28575"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dirty="0">
                <a:ln>
                  <a:noFill/>
                </a:ln>
                <a:solidFill>
                  <a:srgbClr val="000000"/>
                </a:solidFill>
                <a:effectLst/>
                <a:uFillTx/>
                <a:ea typeface="+mn-ea"/>
                <a:cs typeface="+mn-cs"/>
                <a:sym typeface="Calibri"/>
              </a:rPr>
              <a:t>2030</a:t>
            </a:r>
          </a:p>
        </p:txBody>
      </p:sp>
      <p:cxnSp>
        <p:nvCxnSpPr>
          <p:cNvPr id="55" name="Straight Connector 54">
            <a:extLst>
              <a:ext uri="{FF2B5EF4-FFF2-40B4-BE49-F238E27FC236}">
                <a16:creationId xmlns:a16="http://schemas.microsoft.com/office/drawing/2014/main" id="{5FBC33CB-15EF-CEA1-16BA-52228BEA66B7}"/>
              </a:ext>
            </a:extLst>
          </p:cNvPr>
          <p:cNvCxnSpPr>
            <a:cxnSpLocks/>
          </p:cNvCxnSpPr>
          <p:nvPr/>
        </p:nvCxnSpPr>
        <p:spPr>
          <a:xfrm>
            <a:off x="10398045" y="4262471"/>
            <a:ext cx="0" cy="252063"/>
          </a:xfrm>
          <a:prstGeom prst="line">
            <a:avLst/>
          </a:prstGeom>
          <a:noFill/>
          <a:ln w="12700" cap="flat">
            <a:solidFill>
              <a:schemeClr val="accent5"/>
            </a:solidFill>
            <a:prstDash val="solid"/>
            <a:miter lim="800000"/>
          </a:ln>
          <a:effectLst/>
          <a:sp3d/>
        </p:spPr>
        <p:style>
          <a:lnRef idx="0">
            <a:scrgbClr r="0" g="0" b="0"/>
          </a:lnRef>
          <a:fillRef idx="0">
            <a:scrgbClr r="0" g="0" b="0"/>
          </a:fillRef>
          <a:effectRef idx="0">
            <a:scrgbClr r="0" g="0" b="0"/>
          </a:effectRef>
          <a:fontRef idx="none"/>
        </p:style>
      </p:cxnSp>
      <p:sp>
        <p:nvSpPr>
          <p:cNvPr id="57" name="Oval 56">
            <a:extLst>
              <a:ext uri="{FF2B5EF4-FFF2-40B4-BE49-F238E27FC236}">
                <a16:creationId xmlns:a16="http://schemas.microsoft.com/office/drawing/2014/main" id="{CFE23557-9595-C1B6-8339-6362AD244D49}"/>
              </a:ext>
            </a:extLst>
          </p:cNvPr>
          <p:cNvSpPr/>
          <p:nvPr/>
        </p:nvSpPr>
        <p:spPr>
          <a:xfrm>
            <a:off x="6053617" y="4976193"/>
            <a:ext cx="652528" cy="646067"/>
          </a:xfrm>
          <a:prstGeom prst="ellipse">
            <a:avLst/>
          </a:prstGeom>
          <a:solidFill>
            <a:srgbClr val="FFFFFF"/>
          </a:solidFill>
          <a:ln w="28575" cap="flat">
            <a:solidFill>
              <a:schemeClr val="accent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dirty="0">
                <a:ln>
                  <a:noFill/>
                </a:ln>
                <a:solidFill>
                  <a:srgbClr val="000000"/>
                </a:solidFill>
                <a:effectLst/>
                <a:uFillTx/>
                <a:ea typeface="+mn-ea"/>
                <a:cs typeface="+mn-cs"/>
                <a:sym typeface="Calibri"/>
              </a:rPr>
              <a:t>2027</a:t>
            </a:r>
          </a:p>
        </p:txBody>
      </p:sp>
      <p:cxnSp>
        <p:nvCxnSpPr>
          <p:cNvPr id="58" name="Straight Connector 57">
            <a:extLst>
              <a:ext uri="{FF2B5EF4-FFF2-40B4-BE49-F238E27FC236}">
                <a16:creationId xmlns:a16="http://schemas.microsoft.com/office/drawing/2014/main" id="{2C5BD35A-2411-388C-2740-68B834FBA872}"/>
              </a:ext>
            </a:extLst>
          </p:cNvPr>
          <p:cNvCxnSpPr>
            <a:cxnSpLocks/>
          </p:cNvCxnSpPr>
          <p:nvPr/>
        </p:nvCxnSpPr>
        <p:spPr>
          <a:xfrm>
            <a:off x="6379881" y="4692437"/>
            <a:ext cx="0" cy="268600"/>
          </a:xfrm>
          <a:prstGeom prst="line">
            <a:avLst/>
          </a:prstGeom>
          <a:noFill/>
          <a:ln w="12700" cap="flat">
            <a:solidFill>
              <a:schemeClr val="accent2"/>
            </a:solidFill>
            <a:prstDash val="solid"/>
            <a:miter lim="800000"/>
          </a:ln>
          <a:effectLst/>
          <a:sp3d/>
        </p:spPr>
        <p:style>
          <a:lnRef idx="0">
            <a:scrgbClr r="0" g="0" b="0"/>
          </a:lnRef>
          <a:fillRef idx="0">
            <a:scrgbClr r="0" g="0" b="0"/>
          </a:fillRef>
          <a:effectRef idx="0">
            <a:scrgbClr r="0" g="0" b="0"/>
          </a:effectRef>
          <a:fontRef idx="none"/>
        </p:style>
      </p:cxnSp>
      <p:sp>
        <p:nvSpPr>
          <p:cNvPr id="7" name="TextBox 6">
            <a:extLst>
              <a:ext uri="{FF2B5EF4-FFF2-40B4-BE49-F238E27FC236}">
                <a16:creationId xmlns:a16="http://schemas.microsoft.com/office/drawing/2014/main" id="{82AE90EB-0FCD-6A68-EE9D-2B57280CBED2}"/>
              </a:ext>
            </a:extLst>
          </p:cNvPr>
          <p:cNvSpPr txBox="1"/>
          <p:nvPr/>
        </p:nvSpPr>
        <p:spPr>
          <a:xfrm>
            <a:off x="213115" y="3617542"/>
            <a:ext cx="2548295" cy="769441"/>
          </a:xfrm>
          <a:prstGeom prst="rect">
            <a:avLst/>
          </a:prstGeom>
          <a:noFill/>
        </p:spPr>
        <p:txBody>
          <a:bodyPr wrap="square" lIns="0" rtlCol="0">
            <a:spAutoFit/>
          </a:bodyPr>
          <a:lstStyle/>
          <a:p>
            <a:pPr>
              <a:lnSpc>
                <a:spcPct val="100000"/>
              </a:lnSpc>
              <a:spcBef>
                <a:spcPts val="0"/>
              </a:spcBef>
            </a:pPr>
            <a:r>
              <a:rPr lang="en-US" sz="1100" dirty="0">
                <a:sym typeface="Arial"/>
              </a:rPr>
              <a:t>Preparations needed for:</a:t>
            </a:r>
          </a:p>
          <a:p>
            <a:pPr indent="-171450">
              <a:lnSpc>
                <a:spcPct val="100000"/>
              </a:lnSpc>
              <a:spcBef>
                <a:spcPts val="0"/>
              </a:spcBef>
              <a:buFont typeface="Arial" panose="020B0604020202020204" pitchFamily="34" charset="0"/>
              <a:buChar char="•"/>
            </a:pPr>
            <a:r>
              <a:rPr lang="en-US" sz="1100" dirty="0">
                <a:sym typeface="Arial"/>
              </a:rPr>
              <a:t>Emissions footprinting </a:t>
            </a:r>
          </a:p>
          <a:p>
            <a:pPr indent="-171450">
              <a:lnSpc>
                <a:spcPct val="100000"/>
              </a:lnSpc>
              <a:spcBef>
                <a:spcPts val="0"/>
              </a:spcBef>
              <a:buFont typeface="Arial" panose="020B0604020202020204" pitchFamily="34" charset="0"/>
              <a:buChar char="•"/>
            </a:pPr>
            <a:r>
              <a:rPr lang="en-US" sz="1100" dirty="0">
                <a:sym typeface="Arial"/>
              </a:rPr>
              <a:t>Climate risk assessments </a:t>
            </a:r>
          </a:p>
          <a:p>
            <a:pPr indent="-171450">
              <a:lnSpc>
                <a:spcPct val="100000"/>
              </a:lnSpc>
              <a:spcBef>
                <a:spcPts val="0"/>
              </a:spcBef>
              <a:buFont typeface="Arial" panose="020B0604020202020204" pitchFamily="34" charset="0"/>
              <a:buChar char="•"/>
            </a:pPr>
            <a:r>
              <a:rPr lang="en-US" sz="1100" dirty="0">
                <a:sym typeface="Arial"/>
              </a:rPr>
              <a:t>Risk report development</a:t>
            </a:r>
          </a:p>
        </p:txBody>
      </p:sp>
      <p:sp>
        <p:nvSpPr>
          <p:cNvPr id="2" name="Rectangle: Rounded Corners 103">
            <a:extLst>
              <a:ext uri="{FF2B5EF4-FFF2-40B4-BE49-F238E27FC236}">
                <a16:creationId xmlns:a16="http://schemas.microsoft.com/office/drawing/2014/main" id="{13404E60-AC51-A7F5-DA71-3DE6F7B05DD6}"/>
              </a:ext>
            </a:extLst>
          </p:cNvPr>
          <p:cNvSpPr/>
          <p:nvPr/>
        </p:nvSpPr>
        <p:spPr>
          <a:xfrm>
            <a:off x="219075" y="4522475"/>
            <a:ext cx="2468880" cy="182880"/>
          </a:xfrm>
          <a:prstGeom prst="rect">
            <a:avLst/>
          </a:prstGeom>
          <a:solidFill>
            <a:schemeClr val="accent3">
              <a:lumMod val="40000"/>
              <a:lumOff val="6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a typeface="+mn-ea"/>
              <a:cs typeface="+mn-cs"/>
              <a:sym typeface="Calibri"/>
            </a:endParaRPr>
          </a:p>
        </p:txBody>
      </p:sp>
      <p:sp>
        <p:nvSpPr>
          <p:cNvPr id="8" name="Oval 7">
            <a:extLst>
              <a:ext uri="{FF2B5EF4-FFF2-40B4-BE49-F238E27FC236}">
                <a16:creationId xmlns:a16="http://schemas.microsoft.com/office/drawing/2014/main" id="{E9BC0882-0778-A74F-A77D-50487C71B0B6}"/>
              </a:ext>
            </a:extLst>
          </p:cNvPr>
          <p:cNvSpPr/>
          <p:nvPr/>
        </p:nvSpPr>
        <p:spPr>
          <a:xfrm>
            <a:off x="1183424" y="4938803"/>
            <a:ext cx="652528" cy="646067"/>
          </a:xfrm>
          <a:prstGeom prst="ellipse">
            <a:avLst/>
          </a:prstGeom>
          <a:solidFill>
            <a:srgbClr val="FFFFFF"/>
          </a:solidFill>
          <a:ln w="28575" cap="flat">
            <a:solidFill>
              <a:schemeClr val="accent3">
                <a:lumMod val="60000"/>
                <a:lumOff val="4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dirty="0">
                <a:ln>
                  <a:noFill/>
                </a:ln>
                <a:solidFill>
                  <a:srgbClr val="000000"/>
                </a:solidFill>
                <a:effectLst/>
                <a:uFillTx/>
                <a:ea typeface="+mn-ea"/>
                <a:cs typeface="+mn-cs"/>
                <a:sym typeface="Calibri"/>
              </a:rPr>
              <a:t>202</a:t>
            </a:r>
            <a:r>
              <a:rPr lang="en-US" sz="1050" b="1" dirty="0">
                <a:solidFill>
                  <a:srgbClr val="000000"/>
                </a:solidFill>
                <a:sym typeface="Calibri"/>
              </a:rPr>
              <a:t>5</a:t>
            </a:r>
            <a:endParaRPr kumimoji="0" lang="en-US" sz="1050" b="1" i="0" u="none" strike="noStrike" cap="none" spc="0" normalizeH="0" baseline="0" dirty="0">
              <a:ln>
                <a:noFill/>
              </a:ln>
              <a:solidFill>
                <a:srgbClr val="000000"/>
              </a:solidFill>
              <a:effectLst/>
              <a:uFillTx/>
              <a:ea typeface="+mn-ea"/>
              <a:cs typeface="+mn-cs"/>
              <a:sym typeface="Calibri"/>
            </a:endParaRPr>
          </a:p>
        </p:txBody>
      </p:sp>
      <p:cxnSp>
        <p:nvCxnSpPr>
          <p:cNvPr id="9" name="Straight Connector 8">
            <a:extLst>
              <a:ext uri="{FF2B5EF4-FFF2-40B4-BE49-F238E27FC236}">
                <a16:creationId xmlns:a16="http://schemas.microsoft.com/office/drawing/2014/main" id="{0A672625-1FC2-55A0-850D-1A39016AF01D}"/>
              </a:ext>
            </a:extLst>
          </p:cNvPr>
          <p:cNvCxnSpPr>
            <a:cxnSpLocks/>
          </p:cNvCxnSpPr>
          <p:nvPr/>
        </p:nvCxnSpPr>
        <p:spPr>
          <a:xfrm>
            <a:off x="1492755" y="4692437"/>
            <a:ext cx="0" cy="252063"/>
          </a:xfrm>
          <a:prstGeom prst="line">
            <a:avLst/>
          </a:prstGeom>
          <a:noFill/>
          <a:ln w="12700" cap="flat">
            <a:solidFill>
              <a:schemeClr val="accent3">
                <a:lumMod val="60000"/>
                <a:lumOff val="40000"/>
              </a:schemeClr>
            </a:solidFill>
            <a:prstDash val="solid"/>
            <a:miter lim="800000"/>
          </a:ln>
          <a:effectLst/>
          <a:sp3d/>
        </p:spPr>
        <p:style>
          <a:lnRef idx="0">
            <a:scrgbClr r="0" g="0" b="0"/>
          </a:lnRef>
          <a:fillRef idx="0">
            <a:scrgbClr r="0" g="0" b="0"/>
          </a:fillRef>
          <a:effectRef idx="0">
            <a:scrgbClr r="0" g="0" b="0"/>
          </a:effectRef>
          <a:fontRef idx="none"/>
        </p:style>
      </p:cxnSp>
      <p:sp>
        <p:nvSpPr>
          <p:cNvPr id="10" name="Slide Number Placeholder 54">
            <a:extLst>
              <a:ext uri="{FF2B5EF4-FFF2-40B4-BE49-F238E27FC236}">
                <a16:creationId xmlns:a16="http://schemas.microsoft.com/office/drawing/2014/main" id="{76E33F3D-9CF3-2FCC-2445-E9A26D2EAAA8}"/>
              </a:ext>
            </a:extLst>
          </p:cNvPr>
          <p:cNvSpPr txBox="1">
            <a:spLocks/>
          </p:cNvSpPr>
          <p:nvPr/>
        </p:nvSpPr>
        <p:spPr>
          <a:xfrm>
            <a:off x="11774658" y="6537960"/>
            <a:ext cx="339207" cy="237744"/>
          </a:xfrm>
          <a:prstGeom prst="rect">
            <a:avLst/>
          </a:prstGeom>
          <a:ln w="12700">
            <a:miter lim="400000"/>
          </a:ln>
        </p:spPr>
        <p:txBody>
          <a:bodyPr wrap="none" lIns="0" tIns="0" rIns="0" bIns="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lvl="0" indent="0" fontAlgn="auto">
              <a:buClr>
                <a:srgbClr val="000000"/>
              </a:buClr>
              <a:buNone/>
              <a:defRPr kumimoji="0" sz="700" b="1" kern="0" normalizeH="0">
                <a:ln>
                  <a:noFill/>
                </a:ln>
                <a:solidFill>
                  <a:srgbClr val="888888"/>
                </a:solidFill>
                <a:effectLst/>
                <a:uLnTx/>
                <a:cs typeface="Arial" panose="020B0604020202020204" pitchFamily="34" charset="0"/>
              </a:defRPr>
            </a:lvl1pPr>
            <a:lvl2pPr marL="365760" marR="0" indent="-182880" algn="l" defTabSz="914400" rtl="0" eaLnBrk="1" latinLnBrk="0" hangingPunct="1">
              <a:lnSpc>
                <a:spcPct val="120000"/>
              </a:lnSpc>
              <a:spcBef>
                <a:spcPts val="300"/>
              </a:spcBef>
              <a:spcAft>
                <a:spcPts val="0"/>
              </a:spcAft>
              <a:buClr>
                <a:schemeClr val="tx1"/>
              </a:buClr>
              <a:buSzPct val="100000"/>
              <a:buFont typeface="Inter"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2pPr>
            <a:lvl3pPr marL="548640" marR="0" indent="-182880" algn="l" defTabSz="914400" rtl="0" eaLnBrk="1" latinLnBrk="0" hangingPunct="1">
              <a:lnSpc>
                <a:spcPct val="120000"/>
              </a:lnSpc>
              <a:spcBef>
                <a:spcPts val="300"/>
              </a:spcBef>
              <a:spcAft>
                <a:spcPts val="0"/>
              </a:spcAft>
              <a:buClr>
                <a:schemeClr val="tx1"/>
              </a:buClr>
              <a:buSzPct val="100000"/>
              <a:buFont typeface="Inte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3pPr>
            <a:lvl4pPr marL="731520" marR="0" indent="-182880" algn="l" defTabSz="914400" rtl="0" eaLnBrk="1" latinLnBrk="0" hangingPunct="1">
              <a:lnSpc>
                <a:spcPct val="120000"/>
              </a:lnSpc>
              <a:spcBef>
                <a:spcPts val="300"/>
              </a:spcBef>
              <a:spcAft>
                <a:spcPts val="0"/>
              </a:spcAft>
              <a:buClr>
                <a:schemeClr val="tx1"/>
              </a:buClr>
              <a:buSzPct val="100000"/>
              <a:buFont typeface="Inter"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4pPr>
            <a:lvl5pPr marL="914400" marR="0" indent="-182880" algn="l" defTabSz="914400" rtl="0" eaLnBrk="1" latinLnBrk="0" hangingPunct="1">
              <a:lnSpc>
                <a:spcPct val="120000"/>
              </a:lnSpc>
              <a:spcBef>
                <a:spcPts val="300"/>
              </a:spcBef>
              <a:spcAft>
                <a:spcPts val="0"/>
              </a:spcAft>
              <a:buClr>
                <a:schemeClr val="tx1"/>
              </a:buClr>
              <a:buSzPct val="100000"/>
              <a:buFont typeface="Inte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Inter"/>
                <a:sym typeface="Inter"/>
              </a:defRPr>
            </a:lvl5pPr>
            <a:lvl6pPr marL="109728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6pPr>
            <a:lvl7pPr marL="128016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7pPr>
            <a:lvl8pPr marL="146304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8pPr>
            <a:lvl9pPr marL="1645920" marR="0" indent="-182880" algn="l" defTabSz="914400" rtl="0" eaLnBrk="1" latinLnBrk="0" hangingPunct="1">
              <a:lnSpc>
                <a:spcPct val="120000"/>
              </a:lnSpc>
              <a:spcBef>
                <a:spcPts val="300"/>
              </a:spcBef>
              <a:spcAft>
                <a:spcPts val="0"/>
              </a:spcAft>
              <a:buClrTx/>
              <a:buSzPct val="100000"/>
              <a:buFont typeface="Inter"/>
              <a:buChar char="•"/>
              <a:tabLst/>
              <a:defRPr sz="1400" b="0" i="0" u="none" strike="noStrike" cap="none" spc="0" baseline="0">
                <a:solidFill>
                  <a:srgbClr val="000000"/>
                </a:solidFill>
                <a:uFillTx/>
                <a:latin typeface="Inter" panose="02000503000000020004" pitchFamily="2" charset="0"/>
                <a:ea typeface="Inter" panose="02000503000000020004" pitchFamily="2" charset="0"/>
                <a:cs typeface="Inter"/>
                <a:sym typeface="Inter"/>
              </a:defRPr>
            </a:lvl9pPr>
          </a:lstStyle>
          <a:p>
            <a:fld id="{86CB4B4D-7CA3-9044-876B-883B54F8677D}" type="slidenum">
              <a:rPr lang="en-US"/>
              <a:pPr/>
              <a:t>5</a:t>
            </a:fld>
            <a:endParaRPr lang="en-US" dirty="0"/>
          </a:p>
        </p:txBody>
      </p:sp>
      <p:sp>
        <p:nvSpPr>
          <p:cNvPr id="12" name="TextBox 11">
            <a:extLst>
              <a:ext uri="{FF2B5EF4-FFF2-40B4-BE49-F238E27FC236}">
                <a16:creationId xmlns:a16="http://schemas.microsoft.com/office/drawing/2014/main" id="{B9E3E198-9C12-371E-38EB-5609F9090482}"/>
              </a:ext>
            </a:extLst>
          </p:cNvPr>
          <p:cNvSpPr txBox="1"/>
          <p:nvPr/>
        </p:nvSpPr>
        <p:spPr>
          <a:xfrm>
            <a:off x="237073" y="837062"/>
            <a:ext cx="11696031" cy="4998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lvl="0">
              <a:lnSpc>
                <a:spcPct val="120000"/>
              </a:lnSpc>
              <a:spcBef>
                <a:spcPts val="300"/>
              </a:spcBef>
              <a:defRPr/>
            </a:pPr>
            <a:r>
              <a:rPr lang="en-US" sz="1400" dirty="0">
                <a:solidFill>
                  <a:srgbClr val="000000"/>
                </a:solidFill>
                <a:latin typeface="Inter"/>
                <a:ea typeface="Calibri"/>
                <a:cs typeface="Calibri"/>
                <a:sym typeface="Open Sans Regular"/>
              </a:rPr>
              <a:t>New California legislation establishes climate disclosure requirements for firms, with deadlines approaching in 2026. </a:t>
            </a:r>
            <a:r>
              <a:rPr lang="en-US" sz="1400" dirty="0">
                <a:latin typeface="Inter"/>
                <a:ea typeface="Calibri"/>
                <a:cs typeface="Calibri"/>
                <a:sym typeface="Open Sans Regular"/>
              </a:rPr>
              <a:t>Climate risk r</a:t>
            </a:r>
            <a:r>
              <a:rPr lang="en-US" sz="1400" dirty="0">
                <a:solidFill>
                  <a:srgbClr val="000000"/>
                </a:solidFill>
                <a:latin typeface="Inter"/>
                <a:ea typeface="Calibri"/>
                <a:cs typeface="Calibri"/>
                <a:sym typeface="Open Sans Regular"/>
              </a:rPr>
              <a:t>equirements impact </a:t>
            </a:r>
            <a:r>
              <a:rPr lang="en-US" sz="1400" dirty="0"/>
              <a:t>U.S. public and private companies “doing business in California” with annual worldwide revenues exceeding $500M, with additional emissions disclosures at $1B.</a:t>
            </a:r>
            <a:endParaRPr lang="en-US" sz="1400" b="1" dirty="0">
              <a:solidFill>
                <a:srgbClr val="000000"/>
              </a:solidFill>
              <a:latin typeface="Inter"/>
              <a:ea typeface="Calibri"/>
              <a:cs typeface="Calibri"/>
              <a:sym typeface="Open Sans Regular"/>
            </a:endParaRPr>
          </a:p>
        </p:txBody>
      </p:sp>
      <p:sp>
        <p:nvSpPr>
          <p:cNvPr id="6" name="TextBox 5">
            <a:extLst>
              <a:ext uri="{FF2B5EF4-FFF2-40B4-BE49-F238E27FC236}">
                <a16:creationId xmlns:a16="http://schemas.microsoft.com/office/drawing/2014/main" id="{EF79DA3F-D88D-469D-B9E7-B8A7DAD98B4F}"/>
              </a:ext>
            </a:extLst>
          </p:cNvPr>
          <p:cNvSpPr txBox="1"/>
          <p:nvPr/>
        </p:nvSpPr>
        <p:spPr>
          <a:xfrm>
            <a:off x="213115" y="3383115"/>
            <a:ext cx="3485355" cy="261610"/>
          </a:xfrm>
          <a:prstGeom prst="rect">
            <a:avLst/>
          </a:prstGeom>
          <a:noFill/>
        </p:spPr>
        <p:txBody>
          <a:bodyPr wrap="square" lIns="0" rtlCol="0">
            <a:spAutoFit/>
          </a:bodyPr>
          <a:lstStyle/>
          <a:p>
            <a:pPr>
              <a:lnSpc>
                <a:spcPct val="100000"/>
              </a:lnSpc>
              <a:spcBef>
                <a:spcPts val="0"/>
              </a:spcBef>
            </a:pPr>
            <a:r>
              <a:rPr lang="en-US" sz="1100" b="1" dirty="0">
                <a:sym typeface="Arial"/>
              </a:rPr>
              <a:t>IMPLEMENTATION TIMELINE</a:t>
            </a:r>
          </a:p>
        </p:txBody>
      </p:sp>
      <p:sp>
        <p:nvSpPr>
          <p:cNvPr id="13" name="TextBox 12">
            <a:extLst>
              <a:ext uri="{FF2B5EF4-FFF2-40B4-BE49-F238E27FC236}">
                <a16:creationId xmlns:a16="http://schemas.microsoft.com/office/drawing/2014/main" id="{4D1C980C-F68D-3103-37F9-59159BB77877}"/>
              </a:ext>
            </a:extLst>
          </p:cNvPr>
          <p:cNvSpPr txBox="1"/>
          <p:nvPr/>
        </p:nvSpPr>
        <p:spPr>
          <a:xfrm>
            <a:off x="237073" y="1722626"/>
            <a:ext cx="11696031" cy="430887"/>
          </a:xfrm>
          <a:prstGeom prst="rect">
            <a:avLst/>
          </a:prstGeom>
          <a:solidFill>
            <a:schemeClr val="tx2"/>
          </a:solidFill>
        </p:spPr>
        <p:txBody>
          <a:bodyPr wrap="square" rtlCol="0">
            <a:spAutoFit/>
          </a:bodyPr>
          <a:lstStyle/>
          <a:p>
            <a:pPr>
              <a:lnSpc>
                <a:spcPct val="100000"/>
              </a:lnSpc>
              <a:spcBef>
                <a:spcPts val="0"/>
              </a:spcBef>
            </a:pPr>
            <a:r>
              <a:rPr lang="en-US" sz="1100" b="1" dirty="0">
                <a:solidFill>
                  <a:schemeClr val="bg1"/>
                </a:solidFill>
                <a:sym typeface="Arial"/>
              </a:rPr>
              <a:t>SB 253 – California Corporate Greenhouse Gas Reporting Program</a:t>
            </a:r>
          </a:p>
          <a:p>
            <a:pPr>
              <a:lnSpc>
                <a:spcPct val="100000"/>
              </a:lnSpc>
              <a:spcBef>
                <a:spcPts val="0"/>
              </a:spcBef>
            </a:pPr>
            <a:r>
              <a:rPr lang="en-US" sz="1100" b="1" dirty="0">
                <a:solidFill>
                  <a:schemeClr val="bg1"/>
                </a:solidFill>
                <a:sym typeface="Arial"/>
              </a:rPr>
              <a:t>SB 261 – Climate-related Financial Risk Disclosure Program</a:t>
            </a:r>
          </a:p>
        </p:txBody>
      </p:sp>
      <p:sp>
        <p:nvSpPr>
          <p:cNvPr id="14" name="TextBox 13">
            <a:extLst>
              <a:ext uri="{FF2B5EF4-FFF2-40B4-BE49-F238E27FC236}">
                <a16:creationId xmlns:a16="http://schemas.microsoft.com/office/drawing/2014/main" id="{266D913A-2C02-C166-1198-4754027BBC96}"/>
              </a:ext>
            </a:extLst>
          </p:cNvPr>
          <p:cNvSpPr txBox="1"/>
          <p:nvPr/>
        </p:nvSpPr>
        <p:spPr>
          <a:xfrm>
            <a:off x="237072" y="2226121"/>
            <a:ext cx="8592603" cy="1015663"/>
          </a:xfrm>
          <a:prstGeom prst="rect">
            <a:avLst/>
          </a:prstGeom>
          <a:noFill/>
        </p:spPr>
        <p:txBody>
          <a:bodyPr wrap="square" lIns="0" rtlCol="0">
            <a:spAutoFit/>
          </a:bodyPr>
          <a:lstStyle/>
          <a:p>
            <a:pPr>
              <a:lnSpc>
                <a:spcPct val="100000"/>
              </a:lnSpc>
              <a:spcBef>
                <a:spcPts val="0"/>
              </a:spcBef>
              <a:spcAft>
                <a:spcPts val="600"/>
              </a:spcAft>
            </a:pPr>
            <a:r>
              <a:rPr lang="en-US" sz="1100" b="1" dirty="0">
                <a:sym typeface="Arial"/>
              </a:rPr>
              <a:t>DETAILS</a:t>
            </a:r>
          </a:p>
          <a:p>
            <a:pPr indent="-171450">
              <a:lnSpc>
                <a:spcPct val="100000"/>
              </a:lnSpc>
              <a:spcBef>
                <a:spcPts val="0"/>
              </a:spcBef>
              <a:buFont typeface="Arial" panose="020B0604020202020204" pitchFamily="34" charset="0"/>
              <a:buChar char="•"/>
            </a:pPr>
            <a:r>
              <a:rPr lang="en-US" sz="1100" dirty="0">
                <a:sym typeface="Arial"/>
              </a:rPr>
              <a:t>Applies to public or private companies “doing business in California” with revenues exceeding the threshold</a:t>
            </a:r>
          </a:p>
          <a:p>
            <a:pPr indent="-171450">
              <a:lnSpc>
                <a:spcPct val="100000"/>
              </a:lnSpc>
              <a:spcBef>
                <a:spcPts val="0"/>
              </a:spcBef>
              <a:buFont typeface="Arial" panose="020B0604020202020204" pitchFamily="34" charset="0"/>
              <a:buChar char="•"/>
            </a:pPr>
            <a:r>
              <a:rPr lang="en-US" sz="1100" dirty="0">
                <a:sym typeface="Arial"/>
              </a:rPr>
              <a:t>Penalties for noncompliance range from $50,000 to $500,000</a:t>
            </a:r>
          </a:p>
          <a:p>
            <a:pPr indent="-171450">
              <a:lnSpc>
                <a:spcPct val="100000"/>
              </a:lnSpc>
              <a:spcBef>
                <a:spcPts val="0"/>
              </a:spcBef>
              <a:buFont typeface="Arial" panose="020B0604020202020204" pitchFamily="34" charset="0"/>
              <a:buChar char="•"/>
            </a:pPr>
            <a:r>
              <a:rPr lang="en-US" sz="1100" dirty="0">
                <a:sym typeface="Arial"/>
              </a:rPr>
              <a:t>Disclosures include greenhouse gas emissions footprints and climate risks</a:t>
            </a:r>
          </a:p>
          <a:p>
            <a:pPr indent="-171450">
              <a:lnSpc>
                <a:spcPct val="100000"/>
              </a:lnSpc>
              <a:spcBef>
                <a:spcPts val="0"/>
              </a:spcBef>
              <a:buFont typeface="Arial" panose="020B0604020202020204" pitchFamily="34" charset="0"/>
              <a:buChar char="•"/>
            </a:pPr>
            <a:r>
              <a:rPr lang="en-US" sz="1100" dirty="0">
                <a:sym typeface="Arial"/>
              </a:rPr>
              <a:t>The California Air Resources Board is targeting the end of 2025 for regulation but has provided </a:t>
            </a:r>
            <a:r>
              <a:rPr lang="en-US" sz="1100" dirty="0">
                <a:sym typeface="Arial"/>
                <a:hlinkClick r:id="rId3">
                  <a:extLst>
                    <a:ext uri="{A12FA001-AC4F-418D-AE19-62706E023703}">
                      <ahyp:hlinkClr xmlns:ahyp="http://schemas.microsoft.com/office/drawing/2018/hyperlinkcolor" val="tx"/>
                    </a:ext>
                  </a:extLst>
                </a:hlinkClick>
              </a:rPr>
              <a:t>initial guidance</a:t>
            </a:r>
            <a:r>
              <a:rPr lang="en-US" sz="1100" dirty="0">
                <a:sym typeface="Arial"/>
              </a:rPr>
              <a:t>, including checklists and templates</a:t>
            </a:r>
          </a:p>
        </p:txBody>
      </p:sp>
    </p:spTree>
    <p:extLst>
      <p:ext uri="{BB962C8B-B14F-4D97-AF65-F5344CB8AC3E}">
        <p14:creationId xmlns:p14="http://schemas.microsoft.com/office/powerpoint/2010/main" val="2633190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F7517-21B5-37CD-AA79-483B098BA779}"/>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9D80736-90C8-C784-4C2C-432ADFEAB061}"/>
              </a:ext>
            </a:extLst>
          </p:cNvPr>
          <p:cNvCxnSpPr/>
          <p:nvPr/>
        </p:nvCxnSpPr>
        <p:spPr>
          <a:xfrm>
            <a:off x="0" y="0"/>
            <a:ext cx="914400" cy="0"/>
          </a:xfrm>
          <a:prstGeom prst="line">
            <a:avLst/>
          </a:prstGeom>
          <a:noFill/>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graphicFrame>
        <p:nvGraphicFramePr>
          <p:cNvPr id="24" name="think-cell data - do not delete" hidden="1">
            <a:extLst>
              <a:ext uri="{FF2B5EF4-FFF2-40B4-BE49-F238E27FC236}">
                <a16:creationId xmlns:a16="http://schemas.microsoft.com/office/drawing/2014/main" id="{F885323B-D25F-F395-EFD0-19254E9441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4" name="think-cell data - do not delete" hidden="1">
                        <a:extLst>
                          <a:ext uri="{FF2B5EF4-FFF2-40B4-BE49-F238E27FC236}">
                            <a16:creationId xmlns:a16="http://schemas.microsoft.com/office/drawing/2014/main" id="{F885323B-D25F-F395-EFD0-19254E9441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5" name="Slide Number Placeholder 34">
            <a:extLst>
              <a:ext uri="{FF2B5EF4-FFF2-40B4-BE49-F238E27FC236}">
                <a16:creationId xmlns:a16="http://schemas.microsoft.com/office/drawing/2014/main" id="{673B2AFB-5503-07D8-F0F6-31440A0ACB29}"/>
              </a:ext>
            </a:extLst>
          </p:cNvPr>
          <p:cNvSpPr>
            <a:spLocks noGrp="1"/>
          </p:cNvSpPr>
          <p:nvPr>
            <p:ph type="sldNum" sz="quarter" idx="24"/>
          </p:nvPr>
        </p:nvSpPr>
        <p:spPr>
          <a:xfrm>
            <a:off x="11774658" y="6537960"/>
            <a:ext cx="339207" cy="237744"/>
          </a:xfr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700" b="1" i="0" u="none" strike="noStrike" kern="0" cap="none" spc="0" normalizeH="0" baseline="0" noProof="0" smtClean="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rPr>
              <a:pPr marL="0" marR="0" lvl="0" indent="0" algn="l" defTabSz="914400" rtl="0" eaLnBrk="1" fontAlgn="auto" latinLnBrk="0" hangingPunct="0">
                <a:lnSpc>
                  <a:spcPct val="100000"/>
                </a:lnSpc>
                <a:spcBef>
                  <a:spcPts val="0"/>
                </a:spcBef>
                <a:spcAft>
                  <a:spcPts val="0"/>
                </a:spcAft>
                <a:buClrTx/>
                <a:buSzTx/>
                <a:buFontTx/>
                <a:buNone/>
                <a:tabLst/>
                <a:defRPr/>
              </a:pPr>
              <a:t>6</a:t>
            </a:fld>
            <a:endParaRPr kumimoji="0" lang="en-US" sz="700" b="1" i="0" u="none" strike="noStrike" kern="0" cap="none" spc="0" normalizeH="0" baseline="0" noProof="0" dirty="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endParaRPr>
          </a:p>
        </p:txBody>
      </p:sp>
      <p:sp>
        <p:nvSpPr>
          <p:cNvPr id="3" name="Footer Placeholder 2">
            <a:extLst>
              <a:ext uri="{FF2B5EF4-FFF2-40B4-BE49-F238E27FC236}">
                <a16:creationId xmlns:a16="http://schemas.microsoft.com/office/drawing/2014/main" id="{F12710B9-78CD-CED9-0514-216B8411945A}"/>
              </a:ext>
            </a:extLst>
          </p:cNvPr>
          <p:cNvSpPr>
            <a:spLocks noGrp="1"/>
          </p:cNvSpPr>
          <p:nvPr>
            <p:ph type="ftr" sz="quarter" idx="23"/>
          </p:nvPr>
        </p:nvSpPr>
        <p:spPr>
          <a:xfrm>
            <a:off x="695802" y="6621448"/>
            <a:ext cx="2743200" cy="236552"/>
          </a:xfr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tint val="75000"/>
                  </a:srgbClr>
                </a:solidFill>
                <a:effectLst/>
                <a:uLnTx/>
                <a:uFillTx/>
                <a:latin typeface="Inter" panose="02000503000000020004" pitchFamily="2" charset="0"/>
                <a:ea typeface="Inter" panose="02000503000000020004" pitchFamily="2" charset="0"/>
                <a:cs typeface="Arial" panose="020B0604020202020204" pitchFamily="34" charset="0"/>
                <a:sym typeface="Calibri"/>
              </a:rPr>
              <a:t>Proprietary &amp; Confidential: Not for Distribution.</a:t>
            </a:r>
          </a:p>
        </p:txBody>
      </p:sp>
      <p:sp>
        <p:nvSpPr>
          <p:cNvPr id="20" name="Title 11">
            <a:extLst>
              <a:ext uri="{FF2B5EF4-FFF2-40B4-BE49-F238E27FC236}">
                <a16:creationId xmlns:a16="http://schemas.microsoft.com/office/drawing/2014/main" id="{DEAAD643-D717-8C59-116F-522B03BAF9C9}"/>
              </a:ext>
            </a:extLst>
          </p:cNvPr>
          <p:cNvSpPr>
            <a:spLocks noGrp="1"/>
          </p:cNvSpPr>
          <p:nvPr>
            <p:ph type="title"/>
          </p:nvPr>
        </p:nvSpPr>
        <p:spPr>
          <a:xfrm>
            <a:off x="609599" y="555170"/>
            <a:ext cx="10455798" cy="441291"/>
          </a:xfrm>
        </p:spPr>
        <p:txBody>
          <a:bodyPr/>
          <a:lstStyle/>
          <a:p>
            <a:r>
              <a:rPr lang="en-US" dirty="0"/>
              <a:t>What Is Required for SB 261?</a:t>
            </a:r>
          </a:p>
        </p:txBody>
      </p:sp>
      <p:sp>
        <p:nvSpPr>
          <p:cNvPr id="4" name="TextBox 3">
            <a:extLst>
              <a:ext uri="{FF2B5EF4-FFF2-40B4-BE49-F238E27FC236}">
                <a16:creationId xmlns:a16="http://schemas.microsoft.com/office/drawing/2014/main" id="{81072D67-288E-AF5E-AF98-19F15BC898A7}"/>
              </a:ext>
            </a:extLst>
          </p:cNvPr>
          <p:cNvSpPr txBox="1"/>
          <p:nvPr/>
        </p:nvSpPr>
        <p:spPr>
          <a:xfrm>
            <a:off x="609599" y="1304045"/>
            <a:ext cx="10952285" cy="30777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rIns="0">
            <a:spAutoFit/>
          </a:bodyPr>
          <a:lstStyle/>
          <a:p>
            <a:pPr marL="0" indent="0">
              <a:buNone/>
            </a:pPr>
            <a:endParaRPr lang="en-US" sz="1400" b="1" dirty="0">
              <a:latin typeface="Inter" panose="020B0502030000000004" pitchFamily="34" charset="0"/>
              <a:ea typeface="Inter" panose="020B0502030000000004" pitchFamily="34" charset="0"/>
            </a:endParaRPr>
          </a:p>
        </p:txBody>
      </p:sp>
      <p:graphicFrame>
        <p:nvGraphicFramePr>
          <p:cNvPr id="7" name="Content Placeholder 11">
            <a:extLst>
              <a:ext uri="{FF2B5EF4-FFF2-40B4-BE49-F238E27FC236}">
                <a16:creationId xmlns:a16="http://schemas.microsoft.com/office/drawing/2014/main" id="{C67B5F96-224A-B372-B69F-AD8464AB7C75}"/>
              </a:ext>
            </a:extLst>
          </p:cNvPr>
          <p:cNvGraphicFramePr>
            <a:graphicFrameLocks/>
          </p:cNvGraphicFramePr>
          <p:nvPr>
            <p:extLst>
              <p:ext uri="{D42A27DB-BD31-4B8C-83A1-F6EECF244321}">
                <p14:modId xmlns:p14="http://schemas.microsoft.com/office/powerpoint/2010/main" val="2459508868"/>
              </p:ext>
            </p:extLst>
          </p:nvPr>
        </p:nvGraphicFramePr>
        <p:xfrm>
          <a:off x="609599" y="2090952"/>
          <a:ext cx="11165059" cy="4386795"/>
        </p:xfrm>
        <a:graphic>
          <a:graphicData uri="http://schemas.openxmlformats.org/drawingml/2006/table">
            <a:tbl>
              <a:tblPr firstRow="1" bandRow="1">
                <a:tableStyleId>{5940675A-B579-460E-94D1-54222C63F5DA}</a:tableStyleId>
              </a:tblPr>
              <a:tblGrid>
                <a:gridCol w="1591734">
                  <a:extLst>
                    <a:ext uri="{9D8B030D-6E8A-4147-A177-3AD203B41FA5}">
                      <a16:colId xmlns:a16="http://schemas.microsoft.com/office/drawing/2014/main" val="4143355790"/>
                    </a:ext>
                  </a:extLst>
                </a:gridCol>
                <a:gridCol w="9573325">
                  <a:extLst>
                    <a:ext uri="{9D8B030D-6E8A-4147-A177-3AD203B41FA5}">
                      <a16:colId xmlns:a16="http://schemas.microsoft.com/office/drawing/2014/main" val="3407781034"/>
                    </a:ext>
                  </a:extLst>
                </a:gridCol>
              </a:tblGrid>
              <a:tr h="246520">
                <a:tc>
                  <a:txBody>
                    <a:bodyPr/>
                    <a:lstStyle/>
                    <a:p>
                      <a:pPr algn="l"/>
                      <a:r>
                        <a:rPr lang="en-US" sz="1400" b="1" dirty="0">
                          <a:solidFill>
                            <a:schemeClr val="bg1"/>
                          </a:solidFill>
                          <a:latin typeface="Inter" panose="020B0502030000000004" pitchFamily="34" charset="0"/>
                          <a:ea typeface="Inter" panose="020B0502030000000004" pitchFamily="34" charset="0"/>
                        </a:rPr>
                        <a:t>Pillar</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400" b="1" dirty="0">
                          <a:solidFill>
                            <a:schemeClr val="bg1"/>
                          </a:solidFill>
                          <a:latin typeface="Inter" panose="020B0502030000000004" pitchFamily="34" charset="0"/>
                          <a:ea typeface="Inter" panose="020B0502030000000004" pitchFamily="34" charset="0"/>
                        </a:rPr>
                        <a:t>Required Disclosures</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017416755"/>
                  </a:ext>
                </a:extLst>
              </a:tr>
              <a:tr h="232231">
                <a:tc rowSpan="2">
                  <a:txBody>
                    <a:bodyPr/>
                    <a:lstStyle/>
                    <a:p>
                      <a:pPr lvl="0" algn="l">
                        <a:lnSpc>
                          <a:spcPct val="120000"/>
                        </a:lnSpc>
                        <a:buNone/>
                      </a:pPr>
                      <a:r>
                        <a:rPr lang="en-US" sz="1400" b="1" i="0" u="none" strike="noStrike" cap="none" spc="0" baseline="0" noProof="0" dirty="0">
                          <a:solidFill>
                            <a:srgbClr val="000000"/>
                          </a:solidFill>
                          <a:effectLst/>
                          <a:uFillTx/>
                          <a:latin typeface="Inter" panose="020B0502030000000004" pitchFamily="34" charset="0"/>
                          <a:ea typeface="Inter" panose="020B0502030000000004" pitchFamily="34" charset="0"/>
                        </a:rPr>
                        <a:t>A. Governance</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dirty="0">
                          <a:solidFill>
                            <a:schemeClr val="tx1"/>
                          </a:solidFill>
                          <a:effectLst/>
                          <a:uFillTx/>
                          <a:latin typeface="Inter" panose="020B0502030000000004" pitchFamily="34" charset="0"/>
                          <a:ea typeface="Inter" panose="020B0502030000000004" pitchFamily="34" charset="0"/>
                          <a:cs typeface="+mn-cs"/>
                          <a:sym typeface="Arial"/>
                        </a:rPr>
                        <a:t>1. Describe the Board's oversight of climate-related risks and opportunities</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5623660"/>
                  </a:ext>
                </a:extLst>
              </a:tr>
              <a:tr h="232231">
                <a:tc vMerge="1">
                  <a:txBody>
                    <a:bodyPr/>
                    <a:lstStyle/>
                    <a:p>
                      <a:pPr lvl="0" algn="l">
                        <a:lnSpc>
                          <a:spcPct val="120000"/>
                        </a:lnSpc>
                        <a:buNone/>
                      </a:pPr>
                      <a:endParaRPr lang="en-US" sz="1050" b="1" i="0" u="none" strike="noStrike" cap="none" spc="0" baseline="0" noProof="0">
                        <a:solidFill>
                          <a:srgbClr val="000000"/>
                        </a:solidFill>
                        <a:effectLst/>
                        <a:uFillTx/>
                        <a:latin typeface="+mn-lt"/>
                      </a:endParaRPr>
                    </a:p>
                  </a:txBody>
                  <a:tcPr marL="182880" marR="18288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dirty="0">
                          <a:solidFill>
                            <a:schemeClr val="tx1"/>
                          </a:solidFill>
                          <a:effectLst/>
                          <a:uFillTx/>
                          <a:latin typeface="Inter" panose="020B0502030000000004" pitchFamily="34" charset="0"/>
                          <a:ea typeface="Inter" panose="020B0502030000000004" pitchFamily="34" charset="0"/>
                          <a:cs typeface="+mn-cs"/>
                          <a:sym typeface="Arial"/>
                        </a:rPr>
                        <a:t>2. Describe management's role in assessing and managing climate-related risks and opportunities</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5551883"/>
                  </a:ext>
                </a:extLst>
              </a:tr>
              <a:tr h="232231">
                <a:tc rowSpan="3">
                  <a:txBody>
                    <a:bodyPr/>
                    <a:lstStyle/>
                    <a:p>
                      <a:pPr lvl="0" algn="l">
                        <a:lnSpc>
                          <a:spcPct val="120000"/>
                        </a:lnSpc>
                        <a:buNone/>
                      </a:pPr>
                      <a:r>
                        <a:rPr lang="en-US" sz="1400" b="1" i="0" u="none" strike="noStrike" cap="none" spc="0" baseline="0" noProof="0" dirty="0">
                          <a:solidFill>
                            <a:srgbClr val="000000"/>
                          </a:solidFill>
                          <a:effectLst/>
                          <a:uFillTx/>
                          <a:latin typeface="Inter" panose="020B0502030000000004" pitchFamily="34" charset="0"/>
                          <a:ea typeface="Inter" panose="020B0502030000000004" pitchFamily="34" charset="0"/>
                        </a:rPr>
                        <a:t>B. Strategy</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dirty="0">
                          <a:solidFill>
                            <a:schemeClr val="tx1"/>
                          </a:solidFill>
                          <a:effectLst/>
                          <a:uFillTx/>
                          <a:latin typeface="Inter" panose="020B0502030000000004" pitchFamily="34" charset="0"/>
                          <a:ea typeface="Inter" panose="020B0502030000000004" pitchFamily="34" charset="0"/>
                          <a:cs typeface="+mn-cs"/>
                          <a:sym typeface="Arial"/>
                        </a:rPr>
                        <a:t>3. Describe the climate-related risks and opportunities the organization has identified over the short, medium, and long term</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2683722"/>
                  </a:ext>
                </a:extLst>
              </a:tr>
              <a:tr h="418842">
                <a:tc vMerge="1">
                  <a:txBody>
                    <a:bodyPr/>
                    <a:lstStyle/>
                    <a:p>
                      <a:pPr lvl="0" algn="l">
                        <a:lnSpc>
                          <a:spcPct val="120000"/>
                        </a:lnSpc>
                        <a:buNone/>
                      </a:pPr>
                      <a:endParaRPr lang="en-US" sz="1050" b="1" i="0" u="none" strike="noStrike" cap="none" spc="0" baseline="0" noProof="0">
                        <a:solidFill>
                          <a:srgbClr val="000000"/>
                        </a:solidFill>
                        <a:effectLst/>
                        <a:uFillTx/>
                        <a:latin typeface="+mn-lt"/>
                      </a:endParaRPr>
                    </a:p>
                  </a:txBody>
                  <a:tcPr marL="182880" marR="18288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dirty="0">
                          <a:solidFill>
                            <a:schemeClr val="tx1"/>
                          </a:solidFill>
                          <a:effectLst/>
                          <a:uFillTx/>
                          <a:latin typeface="Inter" panose="020B0502030000000004" pitchFamily="34" charset="0"/>
                          <a:ea typeface="Inter" panose="020B0502030000000004" pitchFamily="34" charset="0"/>
                          <a:cs typeface="+mn-cs"/>
                          <a:sym typeface="Arial"/>
                        </a:rPr>
                        <a:t>4. Describe the impact of climate-related risks and opportunities on the organization's businesses, strategy, and financial planning</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9201963"/>
                  </a:ext>
                </a:extLst>
              </a:tr>
              <a:tr h="418842">
                <a:tc vMerge="1">
                  <a:txBody>
                    <a:bodyPr/>
                    <a:lstStyle/>
                    <a:p>
                      <a:pPr lvl="0" algn="l">
                        <a:lnSpc>
                          <a:spcPct val="120000"/>
                        </a:lnSpc>
                        <a:buNone/>
                      </a:pPr>
                      <a:endParaRPr lang="en-US" sz="1050" b="1" i="0" u="none" strike="noStrike" cap="none" spc="0" baseline="0" noProof="0">
                        <a:solidFill>
                          <a:srgbClr val="000000"/>
                        </a:solidFill>
                        <a:effectLst/>
                        <a:uFillTx/>
                        <a:latin typeface="+mn-lt"/>
                      </a:endParaRPr>
                    </a:p>
                  </a:txBody>
                  <a:tcPr marL="182880" marR="18288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dirty="0">
                          <a:solidFill>
                            <a:schemeClr val="tx1"/>
                          </a:solidFill>
                          <a:effectLst/>
                          <a:uFillTx/>
                          <a:latin typeface="Inter" panose="020B0502030000000004" pitchFamily="34" charset="0"/>
                          <a:ea typeface="Inter" panose="020B0502030000000004" pitchFamily="34" charset="0"/>
                          <a:cs typeface="+mn-cs"/>
                          <a:sym typeface="Arial"/>
                        </a:rPr>
                        <a:t>5. Describe the resilience of the organization's strategy, taking into consideration different climate-related scenarios, including a 2 °C or lower scenario</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4993363"/>
                  </a:ext>
                </a:extLst>
              </a:tr>
              <a:tr h="232231">
                <a:tc rowSpan="3">
                  <a:txBody>
                    <a:bodyPr/>
                    <a:lstStyle/>
                    <a:p>
                      <a:pPr marL="0" marR="0" lvl="0" indent="0" algn="l">
                        <a:lnSpc>
                          <a:spcPct val="120000"/>
                        </a:lnSpc>
                        <a:spcBef>
                          <a:spcPts val="0"/>
                        </a:spcBef>
                        <a:spcAft>
                          <a:spcPts val="0"/>
                        </a:spcAft>
                        <a:buNone/>
                      </a:pPr>
                      <a:r>
                        <a:rPr lang="en-US" sz="1400" b="1" dirty="0">
                          <a:solidFill>
                            <a:schemeClr val="tx1"/>
                          </a:solidFill>
                          <a:latin typeface="Inter" panose="020B0502030000000004" pitchFamily="34" charset="0"/>
                          <a:ea typeface="Inter" panose="020B0502030000000004" pitchFamily="34" charset="0"/>
                        </a:rPr>
                        <a:t>C. Risk Management</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noProof="0" dirty="0">
                          <a:solidFill>
                            <a:schemeClr val="tx1"/>
                          </a:solidFill>
                          <a:effectLst/>
                          <a:uFillTx/>
                          <a:latin typeface="Inter" panose="020B0502030000000004" pitchFamily="34" charset="0"/>
                          <a:ea typeface="Inter" panose="020B0502030000000004" pitchFamily="34" charset="0"/>
                          <a:cs typeface="+mn-cs"/>
                          <a:sym typeface="Arial"/>
                        </a:rPr>
                        <a:t>6. Describe the organization's processes for identifying and assessing climate-related risks</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6230303"/>
                  </a:ext>
                </a:extLst>
              </a:tr>
              <a:tr h="232231">
                <a:tc vMerge="1">
                  <a:txBody>
                    <a:bodyPr/>
                    <a:lstStyle/>
                    <a:p>
                      <a:pPr marL="0" marR="0" lvl="0" indent="0" algn="l">
                        <a:lnSpc>
                          <a:spcPct val="120000"/>
                        </a:lnSpc>
                        <a:spcBef>
                          <a:spcPts val="0"/>
                        </a:spcBef>
                        <a:spcAft>
                          <a:spcPts val="0"/>
                        </a:spcAft>
                        <a:buNone/>
                      </a:pPr>
                      <a:endParaRPr lang="en-US" sz="1050" b="1">
                        <a:solidFill>
                          <a:schemeClr val="tx1"/>
                        </a:solidFill>
                        <a:latin typeface="+mn-lt"/>
                        <a:ea typeface="Inter" panose="02000503000000020004" pitchFamily="2" charset="0"/>
                      </a:endParaRPr>
                    </a:p>
                  </a:txBody>
                  <a:tcPr marL="182880" marR="18288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noProof="0" dirty="0">
                          <a:solidFill>
                            <a:schemeClr val="tx1"/>
                          </a:solidFill>
                          <a:effectLst/>
                          <a:uFillTx/>
                          <a:latin typeface="Inter" panose="020B0502030000000004" pitchFamily="34" charset="0"/>
                          <a:ea typeface="Inter" panose="020B0502030000000004" pitchFamily="34" charset="0"/>
                          <a:cs typeface="+mn-cs"/>
                          <a:sym typeface="Arial"/>
                        </a:rPr>
                        <a:t>7. Describe the organization's processes for managing climate-related risks</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926927"/>
                  </a:ext>
                </a:extLst>
              </a:tr>
              <a:tr h="418842">
                <a:tc vMerge="1">
                  <a:txBody>
                    <a:bodyPr/>
                    <a:lstStyle/>
                    <a:p>
                      <a:pPr marL="0" marR="0" lvl="0" indent="0" algn="l">
                        <a:lnSpc>
                          <a:spcPct val="120000"/>
                        </a:lnSpc>
                        <a:spcBef>
                          <a:spcPts val="0"/>
                        </a:spcBef>
                        <a:spcAft>
                          <a:spcPts val="0"/>
                        </a:spcAft>
                        <a:buNone/>
                      </a:pPr>
                      <a:endParaRPr lang="en-US" sz="1050" b="1">
                        <a:solidFill>
                          <a:schemeClr val="tx1"/>
                        </a:solidFill>
                        <a:latin typeface="+mn-lt"/>
                        <a:ea typeface="Inter" panose="02000503000000020004" pitchFamily="2" charset="0"/>
                      </a:endParaRPr>
                    </a:p>
                  </a:txBody>
                  <a:tcPr marL="182880" marR="18288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noProof="0" dirty="0">
                          <a:solidFill>
                            <a:schemeClr val="tx1"/>
                          </a:solidFill>
                          <a:effectLst/>
                          <a:uFillTx/>
                          <a:latin typeface="Inter" panose="020B0502030000000004" pitchFamily="34" charset="0"/>
                          <a:ea typeface="Inter" panose="020B0502030000000004" pitchFamily="34" charset="0"/>
                          <a:cs typeface="+mn-cs"/>
                          <a:sym typeface="Arial"/>
                        </a:rPr>
                        <a:t>8. Describe how processes for identifying, assessing, and managing climate-related risks are integrated into the organization's overall risk management</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7392266"/>
                  </a:ext>
                </a:extLst>
              </a:tr>
              <a:tr h="418842">
                <a:tc rowSpan="3">
                  <a:txBody>
                    <a:bodyPr/>
                    <a:lstStyle/>
                    <a:p>
                      <a:pPr marL="0" marR="0" lvl="0" indent="0" algn="l">
                        <a:lnSpc>
                          <a:spcPct val="120000"/>
                        </a:lnSpc>
                        <a:spcBef>
                          <a:spcPts val="0"/>
                        </a:spcBef>
                        <a:spcAft>
                          <a:spcPts val="0"/>
                        </a:spcAft>
                        <a:buNone/>
                      </a:pPr>
                      <a:r>
                        <a:rPr lang="en-US" sz="1400" b="1" dirty="0">
                          <a:solidFill>
                            <a:schemeClr val="tx1"/>
                          </a:solidFill>
                          <a:latin typeface="Inter" panose="020B0502030000000004" pitchFamily="34" charset="0"/>
                          <a:ea typeface="Inter" panose="020B0502030000000004" pitchFamily="34" charset="0"/>
                        </a:rPr>
                        <a:t>D. Metrics &amp; Targets</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noProof="0" dirty="0">
                          <a:solidFill>
                            <a:schemeClr val="tx1"/>
                          </a:solidFill>
                          <a:effectLst/>
                          <a:uFillTx/>
                          <a:latin typeface="Inter" panose="020B0502030000000004" pitchFamily="34" charset="0"/>
                          <a:ea typeface="Inter" panose="020B0502030000000004" pitchFamily="34" charset="0"/>
                          <a:cs typeface="+mn-cs"/>
                          <a:sym typeface="Arial"/>
                        </a:rPr>
                        <a:t>9. Disclose the metrics used by the organization to assess climate-related risks and opportunities in line with its strategy and risk management process</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4229472"/>
                  </a:ext>
                </a:extLst>
              </a:tr>
              <a:tr h="232231">
                <a:tc vMerge="1">
                  <a:txBody>
                    <a:bodyPr/>
                    <a:lstStyle/>
                    <a:p>
                      <a:pPr marL="0" marR="0" lvl="0" indent="0" algn="l">
                        <a:lnSpc>
                          <a:spcPct val="120000"/>
                        </a:lnSpc>
                        <a:spcBef>
                          <a:spcPts val="0"/>
                        </a:spcBef>
                        <a:spcAft>
                          <a:spcPts val="0"/>
                        </a:spcAft>
                        <a:buNone/>
                      </a:pPr>
                      <a:endParaRPr lang="en-US" sz="1050" b="1">
                        <a:solidFill>
                          <a:schemeClr val="tx1"/>
                        </a:solidFill>
                        <a:latin typeface="+mn-lt"/>
                        <a:ea typeface="Inter" panose="02000503000000020004" pitchFamily="2" charset="0"/>
                      </a:endParaRPr>
                    </a:p>
                  </a:txBody>
                  <a:tcPr marL="182880" marR="18288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noProof="0" dirty="0">
                          <a:solidFill>
                            <a:schemeClr val="tx1"/>
                          </a:solidFill>
                          <a:effectLst/>
                          <a:uFillTx/>
                          <a:latin typeface="Inter" panose="020B0502030000000004" pitchFamily="34" charset="0"/>
                          <a:ea typeface="Inter" panose="020B0502030000000004" pitchFamily="34" charset="0"/>
                          <a:cs typeface="+mn-cs"/>
                          <a:sym typeface="Arial"/>
                        </a:rPr>
                        <a:t>10. Disclose Scope 1, Scope 2, and, if appropriate, Scope 3 greenhouse gas (GHG) emissions, and the related risks</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6761784"/>
                  </a:ext>
                </a:extLst>
              </a:tr>
              <a:tr h="418842">
                <a:tc vMerge="1">
                  <a:txBody>
                    <a:bodyPr/>
                    <a:lstStyle/>
                    <a:p>
                      <a:pPr marL="0" marR="0" lvl="0" indent="0" algn="l">
                        <a:lnSpc>
                          <a:spcPct val="120000"/>
                        </a:lnSpc>
                        <a:spcBef>
                          <a:spcPts val="0"/>
                        </a:spcBef>
                        <a:spcAft>
                          <a:spcPts val="0"/>
                        </a:spcAft>
                        <a:buNone/>
                      </a:pPr>
                      <a:endParaRPr lang="en-US" sz="1050" b="1">
                        <a:solidFill>
                          <a:schemeClr val="tx1"/>
                        </a:solidFill>
                        <a:latin typeface="+mn-lt"/>
                        <a:ea typeface="Inter" panose="02000503000000020004" pitchFamily="2" charset="0"/>
                      </a:endParaRPr>
                    </a:p>
                  </a:txBody>
                  <a:tcPr marL="182880" marR="18288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b="0" i="0" u="none" strike="noStrike" cap="none" spc="0" baseline="0" noProof="0" dirty="0">
                          <a:solidFill>
                            <a:schemeClr val="tx1"/>
                          </a:solidFill>
                          <a:effectLst/>
                          <a:uFillTx/>
                          <a:latin typeface="Inter" panose="020B0502030000000004" pitchFamily="34" charset="0"/>
                          <a:ea typeface="Inter" panose="020B0502030000000004" pitchFamily="34" charset="0"/>
                          <a:cs typeface="+mn-cs"/>
                          <a:sym typeface="Arial"/>
                        </a:rPr>
                        <a:t>11. Describe the targets used by the organization to manage climate-related risks and opportunities, and performance against targets</a:t>
                      </a:r>
                    </a:p>
                  </a:txBody>
                  <a:tcPr marL="182880" marR="182880" marT="36000" marB="3600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5632080"/>
                  </a:ext>
                </a:extLst>
              </a:tr>
            </a:tbl>
          </a:graphicData>
        </a:graphic>
      </p:graphicFrame>
      <p:sp>
        <p:nvSpPr>
          <p:cNvPr id="15" name="Content Placeholder 12">
            <a:extLst>
              <a:ext uri="{FF2B5EF4-FFF2-40B4-BE49-F238E27FC236}">
                <a16:creationId xmlns:a16="http://schemas.microsoft.com/office/drawing/2014/main" id="{8D2ADC12-8649-0602-24C3-E55F313D558F}"/>
              </a:ext>
            </a:extLst>
          </p:cNvPr>
          <p:cNvSpPr txBox="1">
            <a:spLocks/>
          </p:cNvSpPr>
          <p:nvPr/>
        </p:nvSpPr>
        <p:spPr>
          <a:xfrm>
            <a:off x="609597" y="1313282"/>
            <a:ext cx="11165059" cy="606123"/>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p:spPr>
        <p:txBody>
          <a:bodyPr lIns="0"/>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Font typeface="System Font Regular"/>
              <a:buNone/>
            </a:pPr>
            <a:r>
              <a:rPr lang="en-US" sz="1600" kern="0" dirty="0"/>
              <a:t>SB 261 requires firms to report climate-related financial risk in accordance with the framework of the Task Force on Climate-related Financial Risks, successor, or equivalent. CARB’s </a:t>
            </a:r>
            <a:r>
              <a:rPr lang="en-US" sz="1600" kern="0" dirty="0">
                <a:solidFill>
                  <a:schemeClr val="tx2"/>
                </a:solidFill>
                <a:hlinkClick r:id="rId6">
                  <a:extLst>
                    <a:ext uri="{A12FA001-AC4F-418D-AE19-62706E023703}">
                      <ahyp:hlinkClr xmlns:ahyp="http://schemas.microsoft.com/office/drawing/2018/hyperlinkcolor" val="tx"/>
                    </a:ext>
                  </a:extLst>
                </a:hlinkClick>
              </a:rPr>
              <a:t>Draft Checklist </a:t>
            </a:r>
            <a:r>
              <a:rPr lang="en-US" sz="1600" kern="0" dirty="0"/>
              <a:t>aligns closely.</a:t>
            </a:r>
          </a:p>
        </p:txBody>
      </p:sp>
    </p:spTree>
    <p:extLst>
      <p:ext uri="{BB962C8B-B14F-4D97-AF65-F5344CB8AC3E}">
        <p14:creationId xmlns:p14="http://schemas.microsoft.com/office/powerpoint/2010/main" val="37744226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1F21D-5A10-E9B4-AB8C-51350A050551}"/>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4497DEB-F23F-733E-B556-0501810734F8}"/>
              </a:ext>
            </a:extLst>
          </p:cNvPr>
          <p:cNvCxnSpPr/>
          <p:nvPr/>
        </p:nvCxnSpPr>
        <p:spPr>
          <a:xfrm>
            <a:off x="0" y="0"/>
            <a:ext cx="914400" cy="0"/>
          </a:xfrm>
          <a:prstGeom prst="line">
            <a:avLst/>
          </a:prstGeom>
          <a:noFill/>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graphicFrame>
        <p:nvGraphicFramePr>
          <p:cNvPr id="24" name="think-cell data - do not delete" hidden="1">
            <a:extLst>
              <a:ext uri="{FF2B5EF4-FFF2-40B4-BE49-F238E27FC236}">
                <a16:creationId xmlns:a16="http://schemas.microsoft.com/office/drawing/2014/main" id="{BA70C66A-F6B8-6E7C-CDF5-4E77D2116ED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4" name="think-cell data - do not delete" hidden="1">
                        <a:extLst>
                          <a:ext uri="{FF2B5EF4-FFF2-40B4-BE49-F238E27FC236}">
                            <a16:creationId xmlns:a16="http://schemas.microsoft.com/office/drawing/2014/main" id="{BA70C66A-F6B8-6E7C-CDF5-4E77D2116ED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5" name="Slide Number Placeholder 34">
            <a:extLst>
              <a:ext uri="{FF2B5EF4-FFF2-40B4-BE49-F238E27FC236}">
                <a16:creationId xmlns:a16="http://schemas.microsoft.com/office/drawing/2014/main" id="{41F6A813-B9B9-D1ED-4148-EA852C2AF036}"/>
              </a:ext>
            </a:extLst>
          </p:cNvPr>
          <p:cNvSpPr>
            <a:spLocks noGrp="1"/>
          </p:cNvSpPr>
          <p:nvPr>
            <p:ph type="sldNum" sz="quarter" idx="24"/>
          </p:nvPr>
        </p:nvSpPr>
        <p:spPr>
          <a:xfrm>
            <a:off x="11774658" y="6537960"/>
            <a:ext cx="339207" cy="237744"/>
          </a:xfr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700" b="1" i="0" u="none" strike="noStrike" kern="0" cap="none" spc="0" normalizeH="0" baseline="0" noProof="0" smtClean="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rPr>
              <a:pPr marL="0" marR="0" lvl="0" indent="0" algn="l" defTabSz="914400" rtl="0" eaLnBrk="1" fontAlgn="auto" latinLnBrk="0" hangingPunct="0">
                <a:lnSpc>
                  <a:spcPct val="100000"/>
                </a:lnSpc>
                <a:spcBef>
                  <a:spcPts val="0"/>
                </a:spcBef>
                <a:spcAft>
                  <a:spcPts val="0"/>
                </a:spcAft>
                <a:buClrTx/>
                <a:buSzTx/>
                <a:buFontTx/>
                <a:buNone/>
                <a:tabLst/>
                <a:defRPr/>
              </a:pPr>
              <a:t>7</a:t>
            </a:fld>
            <a:endParaRPr kumimoji="0" lang="en-US" sz="700" b="1" i="0" u="none" strike="noStrike" kern="0" cap="none" spc="0" normalizeH="0" baseline="0" noProof="0" dirty="0">
              <a:ln>
                <a:noFill/>
              </a:ln>
              <a:solidFill>
                <a:srgbClr val="888888"/>
              </a:solidFill>
              <a:effectLst/>
              <a:uLnTx/>
              <a:uFillTx/>
              <a:latin typeface="Inter" panose="02000503000000020004" pitchFamily="2" charset="0"/>
              <a:ea typeface="Inter" panose="02000503000000020004" pitchFamily="2" charset="0"/>
              <a:cs typeface="Arial" panose="020B0604020202020204" pitchFamily="34" charset="0"/>
              <a:sym typeface="Arial"/>
            </a:endParaRPr>
          </a:p>
        </p:txBody>
      </p:sp>
      <p:sp>
        <p:nvSpPr>
          <p:cNvPr id="3" name="Footer Placeholder 2">
            <a:extLst>
              <a:ext uri="{FF2B5EF4-FFF2-40B4-BE49-F238E27FC236}">
                <a16:creationId xmlns:a16="http://schemas.microsoft.com/office/drawing/2014/main" id="{57DFA0F5-BDD6-E156-9C06-3EC21A53799B}"/>
              </a:ext>
            </a:extLst>
          </p:cNvPr>
          <p:cNvSpPr>
            <a:spLocks noGrp="1"/>
          </p:cNvSpPr>
          <p:nvPr>
            <p:ph type="ftr" sz="quarter" idx="23"/>
          </p:nvPr>
        </p:nvSpPr>
        <p:spPr>
          <a:xfrm>
            <a:off x="695802" y="6621448"/>
            <a:ext cx="2743200" cy="236552"/>
          </a:xfr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tint val="75000"/>
                  </a:srgbClr>
                </a:solidFill>
                <a:effectLst/>
                <a:uLnTx/>
                <a:uFillTx/>
                <a:latin typeface="Inter" panose="02000503000000020004" pitchFamily="2" charset="0"/>
                <a:ea typeface="Inter" panose="02000503000000020004" pitchFamily="2" charset="0"/>
                <a:cs typeface="Arial" panose="020B0604020202020204" pitchFamily="34" charset="0"/>
                <a:sym typeface="Calibri"/>
              </a:rPr>
              <a:t>Proprietary &amp; Confidential: Not for Distribution.</a:t>
            </a:r>
          </a:p>
        </p:txBody>
      </p:sp>
      <p:sp>
        <p:nvSpPr>
          <p:cNvPr id="20" name="Title 11">
            <a:extLst>
              <a:ext uri="{FF2B5EF4-FFF2-40B4-BE49-F238E27FC236}">
                <a16:creationId xmlns:a16="http://schemas.microsoft.com/office/drawing/2014/main" id="{2F3C1D75-5E2B-28F2-2D3B-85588FA0994B}"/>
              </a:ext>
            </a:extLst>
          </p:cNvPr>
          <p:cNvSpPr>
            <a:spLocks noGrp="1"/>
          </p:cNvSpPr>
          <p:nvPr>
            <p:ph type="title"/>
          </p:nvPr>
        </p:nvSpPr>
        <p:spPr>
          <a:xfrm>
            <a:off x="609599" y="555170"/>
            <a:ext cx="10455798" cy="441291"/>
          </a:xfrm>
        </p:spPr>
        <p:txBody>
          <a:bodyPr/>
          <a:lstStyle/>
          <a:p>
            <a:r>
              <a:rPr lang="en-US" dirty="0"/>
              <a:t>What Is Required for SB 253?</a:t>
            </a:r>
          </a:p>
        </p:txBody>
      </p:sp>
      <p:sp>
        <p:nvSpPr>
          <p:cNvPr id="4" name="TextBox 3">
            <a:extLst>
              <a:ext uri="{FF2B5EF4-FFF2-40B4-BE49-F238E27FC236}">
                <a16:creationId xmlns:a16="http://schemas.microsoft.com/office/drawing/2014/main" id="{C7811BA8-050B-7359-2F57-FEEA6629AF85}"/>
              </a:ext>
            </a:extLst>
          </p:cNvPr>
          <p:cNvSpPr txBox="1"/>
          <p:nvPr/>
        </p:nvSpPr>
        <p:spPr>
          <a:xfrm>
            <a:off x="609599" y="1304045"/>
            <a:ext cx="10952285" cy="30777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rIns="0">
            <a:spAutoFit/>
          </a:bodyPr>
          <a:lstStyle/>
          <a:p>
            <a:pPr marL="0" indent="0">
              <a:buNone/>
            </a:pPr>
            <a:endParaRPr lang="en-US" sz="1400" b="1" dirty="0">
              <a:latin typeface="Inter" panose="020B0502030000000004" pitchFamily="34" charset="0"/>
              <a:ea typeface="Inter" panose="020B0502030000000004" pitchFamily="34" charset="0"/>
            </a:endParaRPr>
          </a:p>
        </p:txBody>
      </p:sp>
      <p:sp>
        <p:nvSpPr>
          <p:cNvPr id="15" name="Content Placeholder 12">
            <a:extLst>
              <a:ext uri="{FF2B5EF4-FFF2-40B4-BE49-F238E27FC236}">
                <a16:creationId xmlns:a16="http://schemas.microsoft.com/office/drawing/2014/main" id="{187B2B04-C986-126B-CFB5-CD38C8F043E5}"/>
              </a:ext>
            </a:extLst>
          </p:cNvPr>
          <p:cNvSpPr txBox="1">
            <a:spLocks/>
          </p:cNvSpPr>
          <p:nvPr/>
        </p:nvSpPr>
        <p:spPr>
          <a:xfrm>
            <a:off x="609597" y="1313282"/>
            <a:ext cx="10823553" cy="606123"/>
          </a:xfrm>
          <a:custGeom>
            <a:avLst/>
            <a:gdLst>
              <a:gd name="connsiteX0" fmla="*/ 0 w 10972800"/>
              <a:gd name="connsiteY0" fmla="*/ 0 h 4402138"/>
              <a:gd name="connsiteX1" fmla="*/ 10972800 w 10972800"/>
              <a:gd name="connsiteY1" fmla="*/ 0 h 4402138"/>
              <a:gd name="connsiteX2" fmla="*/ 10972800 w 10972800"/>
              <a:gd name="connsiteY2" fmla="*/ 4402138 h 4402138"/>
              <a:gd name="connsiteX3" fmla="*/ 0 w 10972800"/>
              <a:gd name="connsiteY3" fmla="*/ 4402138 h 4402138"/>
            </a:gdLst>
            <a:ahLst/>
            <a:cxnLst>
              <a:cxn ang="0">
                <a:pos x="connsiteX0" y="connsiteY0"/>
              </a:cxn>
              <a:cxn ang="0">
                <a:pos x="connsiteX1" y="connsiteY1"/>
              </a:cxn>
              <a:cxn ang="0">
                <a:pos x="connsiteX2" y="connsiteY2"/>
              </a:cxn>
              <a:cxn ang="0">
                <a:pos x="connsiteX3" y="connsiteY3"/>
              </a:cxn>
            </a:cxnLst>
            <a:rect l="l" t="t" r="r" b="b"/>
            <a:pathLst>
              <a:path w="10972800" h="4402138">
                <a:moveTo>
                  <a:pt x="0" y="0"/>
                </a:moveTo>
                <a:lnTo>
                  <a:pt x="10972800" y="0"/>
                </a:lnTo>
                <a:lnTo>
                  <a:pt x="10972800" y="4402138"/>
                </a:lnTo>
                <a:lnTo>
                  <a:pt x="0" y="4402138"/>
                </a:lnTo>
                <a:close/>
              </a:path>
            </a:pathLst>
          </a:custGeom>
        </p:spPr>
        <p:txBody>
          <a:bodyPr/>
          <a:lstStyle>
            <a:lvl1pPr marL="182880" marR="0" indent="-182880" algn="l" defTabSz="914400" rtl="0" eaLnBrk="1" latinLnBrk="0" hangingPunct="1">
              <a:lnSpc>
                <a:spcPct val="120000"/>
              </a:lnSpc>
              <a:spcBef>
                <a:spcPts val="1000"/>
              </a:spcBef>
              <a:spcAft>
                <a:spcPts val="0"/>
              </a:spcAft>
              <a:buClr>
                <a:schemeClr val="tx1"/>
              </a:buClr>
              <a:buSzPct val="100000"/>
              <a:buFont typeface="System Font Regular"/>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1pPr>
            <a:lvl2pPr marL="36576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2pPr>
            <a:lvl3pPr marL="54864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3pPr>
            <a:lvl4pPr marL="731520" marR="0" indent="-182880" algn="l" defTabSz="914400" rtl="0" eaLnBrk="1" latinLnBrk="0" hangingPunct="1">
              <a:lnSpc>
                <a:spcPct val="120000"/>
              </a:lnSpc>
              <a:spcBef>
                <a:spcPts val="300"/>
              </a:spcBef>
              <a:spcAft>
                <a:spcPts val="0"/>
              </a:spcAft>
              <a:buClr>
                <a:schemeClr val="tx1"/>
              </a:buClr>
              <a:buSzPct val="100000"/>
              <a:buFont typeface="Arial" panose="020B0604020202020204" pitchFamily="34" charset="0"/>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4pPr>
            <a:lvl5pPr marL="914400" marR="0" indent="-182880" algn="l" defTabSz="914400" rtl="0" eaLnBrk="1" latinLnBrk="0" hangingPunct="1">
              <a:lnSpc>
                <a:spcPct val="120000"/>
              </a:lnSpc>
              <a:spcBef>
                <a:spcPts val="300"/>
              </a:spcBef>
              <a:spcAft>
                <a:spcPts val="0"/>
              </a:spcAft>
              <a:buClr>
                <a:schemeClr val="tx1"/>
              </a:buClr>
              <a:buSzPct val="100000"/>
              <a:buFont typeface="Arial"/>
              <a:buChar char="•"/>
              <a:tabLst/>
              <a:defRPr sz="1400" b="0" i="0" u="none" strike="noStrike" cap="none" spc="0" baseline="0">
                <a:solidFill>
                  <a:schemeClr val="tx1"/>
                </a:solidFill>
                <a:uFillTx/>
                <a:latin typeface="Inter" panose="02000503000000020004" pitchFamily="2" charset="0"/>
                <a:ea typeface="Inter" panose="02000503000000020004" pitchFamily="2" charset="0"/>
                <a:cs typeface="Arial"/>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Arial"/>
                <a:ea typeface="Arial"/>
                <a:cs typeface="Arial"/>
                <a:sym typeface="Arial"/>
              </a:defRPr>
            </a:lvl9pPr>
          </a:lstStyle>
          <a:p>
            <a:pPr marL="0" indent="0">
              <a:buFont typeface="System Font Regular"/>
              <a:buNone/>
            </a:pPr>
            <a:r>
              <a:rPr lang="en-US" sz="1600" kern="0" dirty="0"/>
              <a:t>SB 253 requires firms to annually report Scope 1 &amp; 2 emissions, and eventually Scope 3, pursuing varying degrees of assurance. CARB has released </a:t>
            </a:r>
            <a:r>
              <a:rPr lang="en-US" sz="1600" kern="0" dirty="0">
                <a:solidFill>
                  <a:schemeClr val="tx2"/>
                </a:solidFill>
                <a:hlinkClick r:id="rId6">
                  <a:extLst>
                    <a:ext uri="{A12FA001-AC4F-418D-AE19-62706E023703}">
                      <ahyp:hlinkClr xmlns:ahyp="http://schemas.microsoft.com/office/drawing/2018/hyperlinkcolor" val="tx"/>
                    </a:ext>
                  </a:extLst>
                </a:hlinkClick>
              </a:rPr>
              <a:t>a draft template </a:t>
            </a:r>
            <a:r>
              <a:rPr lang="en-US" sz="1600" kern="0" dirty="0"/>
              <a:t>of the requested information.</a:t>
            </a:r>
          </a:p>
        </p:txBody>
      </p:sp>
      <p:pic>
        <p:nvPicPr>
          <p:cNvPr id="5" name="Picture 2">
            <a:extLst>
              <a:ext uri="{FF2B5EF4-FFF2-40B4-BE49-F238E27FC236}">
                <a16:creationId xmlns:a16="http://schemas.microsoft.com/office/drawing/2014/main" id="{5B358288-2EBF-B000-17E1-7FC10BCDB2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14699" y="2264792"/>
            <a:ext cx="5562602" cy="3991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9524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B25A96-6309-C2F3-B8B5-B99A1F872EC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BE972B-1DD5-B7C7-1E47-F2DF6D78227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7CBE972B-1DD5-B7C7-1E47-F2DF6D78227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CFCACC4-E93C-762A-C841-2B0F3819DD84}"/>
              </a:ext>
            </a:extLst>
          </p:cNvPr>
          <p:cNvSpPr>
            <a:spLocks noGrp="1"/>
          </p:cNvSpPr>
          <p:nvPr>
            <p:ph type="title"/>
          </p:nvPr>
        </p:nvSpPr>
        <p:spPr>
          <a:xfrm>
            <a:off x="609600" y="555170"/>
            <a:ext cx="10972800" cy="441291"/>
          </a:xfrm>
        </p:spPr>
        <p:txBody>
          <a:bodyPr vert="horz"/>
          <a:lstStyle/>
          <a:p>
            <a:pPr>
              <a:buNone/>
            </a:pPr>
            <a:r>
              <a:rPr lang="en-US" dirty="0"/>
              <a:t>Our Roadmap for SB 261 Compliance</a:t>
            </a:r>
            <a:endParaRPr lang="en-US" b="1" dirty="0"/>
          </a:p>
        </p:txBody>
      </p:sp>
      <p:sp>
        <p:nvSpPr>
          <p:cNvPr id="16" name="Slide Number Placeholder 15">
            <a:extLst>
              <a:ext uri="{FF2B5EF4-FFF2-40B4-BE49-F238E27FC236}">
                <a16:creationId xmlns:a16="http://schemas.microsoft.com/office/drawing/2014/main" id="{67B34AE6-B1D1-49D3-C7F4-23CAF18B4561}"/>
              </a:ext>
            </a:extLst>
          </p:cNvPr>
          <p:cNvSpPr>
            <a:spLocks noGrp="1"/>
          </p:cNvSpPr>
          <p:nvPr>
            <p:ph type="sldNum" sz="quarter" idx="28"/>
          </p:nvPr>
        </p:nvSpPr>
        <p:spPr>
          <a:xfrm>
            <a:off x="11774658" y="6537960"/>
            <a:ext cx="339207" cy="237744"/>
          </a:xfrm>
        </p:spPr>
        <p:txBody>
          <a:bodyPr/>
          <a:lstStyle/>
          <a:p>
            <a:fld id="{8FA36BF0-F6E7-4838-BA02-50111582EAFB}" type="slidenum">
              <a:rPr lang="en-US" smtClean="0"/>
              <a:pPr/>
              <a:t>8</a:t>
            </a:fld>
            <a:endParaRPr lang="en-US" dirty="0"/>
          </a:p>
        </p:txBody>
      </p:sp>
      <p:cxnSp>
        <p:nvCxnSpPr>
          <p:cNvPr id="5" name="Straight Connector 4">
            <a:extLst>
              <a:ext uri="{FF2B5EF4-FFF2-40B4-BE49-F238E27FC236}">
                <a16:creationId xmlns:a16="http://schemas.microsoft.com/office/drawing/2014/main" id="{B71BA4A9-6571-1909-ED4E-1352747A1A27}"/>
              </a:ext>
            </a:extLst>
          </p:cNvPr>
          <p:cNvCxnSpPr>
            <a:cxnSpLocks/>
          </p:cNvCxnSpPr>
          <p:nvPr/>
        </p:nvCxnSpPr>
        <p:spPr>
          <a:xfrm>
            <a:off x="918634" y="1477432"/>
            <a:ext cx="0" cy="5095956"/>
          </a:xfrm>
          <a:prstGeom prst="line">
            <a:avLst/>
          </a:prstGeom>
          <a:noFill/>
          <a:ln w="19050" cap="flat">
            <a:gradFill flip="none" rotWithShape="1">
              <a:gsLst>
                <a:gs pos="0">
                  <a:schemeClr val="accent6">
                    <a:alpha val="0"/>
                  </a:schemeClr>
                </a:gs>
                <a:gs pos="15000">
                  <a:schemeClr val="accent6"/>
                </a:gs>
                <a:gs pos="85000">
                  <a:schemeClr val="accent6"/>
                </a:gs>
                <a:gs pos="100000">
                  <a:schemeClr val="accent6">
                    <a:alpha val="0"/>
                  </a:schemeClr>
                </a:gs>
              </a:gsLst>
              <a:lin ang="16200000" scaled="1"/>
              <a:tileRect/>
            </a:gradFill>
            <a:prstDash val="dash"/>
            <a:miter lim="800000"/>
          </a:ln>
          <a:effectLst/>
          <a:sp3d/>
        </p:spPr>
        <p:style>
          <a:lnRef idx="0">
            <a:scrgbClr r="0" g="0" b="0"/>
          </a:lnRef>
          <a:fillRef idx="0">
            <a:scrgbClr r="0" g="0" b="0"/>
          </a:fillRef>
          <a:effectRef idx="0">
            <a:scrgbClr r="0" g="0" b="0"/>
          </a:effectRef>
          <a:fontRef idx="none"/>
        </p:style>
      </p:cxnSp>
      <p:sp>
        <p:nvSpPr>
          <p:cNvPr id="9" name="Oval 8">
            <a:extLst>
              <a:ext uri="{FF2B5EF4-FFF2-40B4-BE49-F238E27FC236}">
                <a16:creationId xmlns:a16="http://schemas.microsoft.com/office/drawing/2014/main" id="{4AE57B94-AAFD-32B6-8722-36EAE83FB8EF}"/>
              </a:ext>
            </a:extLst>
          </p:cNvPr>
          <p:cNvSpPr/>
          <p:nvPr/>
        </p:nvSpPr>
        <p:spPr>
          <a:xfrm>
            <a:off x="738634" y="1659467"/>
            <a:ext cx="360000" cy="360000"/>
          </a:xfrm>
          <a:prstGeom prst="ellipse">
            <a:avLst/>
          </a:prstGeom>
          <a:solidFill>
            <a:schemeClr val="bg1"/>
          </a:solidFill>
          <a:ln w="1270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45719" rIns="0"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CA" sz="1400" b="1" i="0" u="none" strike="noStrike" cap="none" spc="0" normalizeH="0" baseline="0" dirty="0">
                <a:ln>
                  <a:noFill/>
                </a:ln>
                <a:solidFill>
                  <a:srgbClr val="000000"/>
                </a:solidFill>
                <a:effectLst/>
                <a:uFillTx/>
                <a:latin typeface="+mn-lt"/>
                <a:ea typeface="+mn-ea"/>
                <a:cs typeface="+mn-cs"/>
                <a:sym typeface="Calibri"/>
              </a:rPr>
              <a:t>1</a:t>
            </a:r>
          </a:p>
        </p:txBody>
      </p:sp>
      <p:sp>
        <p:nvSpPr>
          <p:cNvPr id="10" name="Oval 9">
            <a:extLst>
              <a:ext uri="{FF2B5EF4-FFF2-40B4-BE49-F238E27FC236}">
                <a16:creationId xmlns:a16="http://schemas.microsoft.com/office/drawing/2014/main" id="{8EB81AB2-CA08-0EF2-64D0-9A8398AE397D}"/>
              </a:ext>
            </a:extLst>
          </p:cNvPr>
          <p:cNvSpPr/>
          <p:nvPr/>
        </p:nvSpPr>
        <p:spPr>
          <a:xfrm>
            <a:off x="738634" y="2618430"/>
            <a:ext cx="360000" cy="360000"/>
          </a:xfrm>
          <a:prstGeom prst="ellipse">
            <a:avLst/>
          </a:prstGeom>
          <a:solidFill>
            <a:schemeClr val="bg1"/>
          </a:solidFill>
          <a:ln w="127000"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45719" rIns="0"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lang="en-CA" sz="1400" b="1" dirty="0">
                <a:solidFill>
                  <a:schemeClr val="accent5"/>
                </a:solidFill>
                <a:sym typeface="Calibri"/>
              </a:rPr>
              <a:t>2</a:t>
            </a:r>
            <a:endParaRPr kumimoji="0" lang="en-CA" sz="1400" b="1" i="0" u="none" strike="noStrike" cap="none" spc="0" normalizeH="0" baseline="0" dirty="0">
              <a:ln>
                <a:noFill/>
              </a:ln>
              <a:solidFill>
                <a:schemeClr val="accent5"/>
              </a:solidFill>
              <a:effectLst/>
              <a:uFillTx/>
              <a:latin typeface="+mn-lt"/>
              <a:ea typeface="+mn-ea"/>
              <a:cs typeface="+mn-cs"/>
              <a:sym typeface="Calibri"/>
            </a:endParaRPr>
          </a:p>
        </p:txBody>
      </p:sp>
      <p:sp>
        <p:nvSpPr>
          <p:cNvPr id="11" name="Oval 10">
            <a:extLst>
              <a:ext uri="{FF2B5EF4-FFF2-40B4-BE49-F238E27FC236}">
                <a16:creationId xmlns:a16="http://schemas.microsoft.com/office/drawing/2014/main" id="{D57B81BD-E908-6BB2-EC5E-F6E64FE7F34B}"/>
              </a:ext>
            </a:extLst>
          </p:cNvPr>
          <p:cNvSpPr/>
          <p:nvPr/>
        </p:nvSpPr>
        <p:spPr>
          <a:xfrm>
            <a:off x="738634" y="3598178"/>
            <a:ext cx="360000" cy="360000"/>
          </a:xfrm>
          <a:prstGeom prst="ellipse">
            <a:avLst/>
          </a:prstGeom>
          <a:solidFill>
            <a:schemeClr val="bg1"/>
          </a:solidFill>
          <a:ln w="127000" cap="flat">
            <a:solidFill>
              <a:schemeClr val="accent4"/>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45719" rIns="0"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lang="en-CA" sz="1400" b="1" dirty="0">
                <a:solidFill>
                  <a:schemeClr val="accent4"/>
                </a:solidFill>
                <a:sym typeface="Calibri"/>
              </a:rPr>
              <a:t>3</a:t>
            </a:r>
            <a:endParaRPr kumimoji="0" lang="en-CA" sz="1400" b="1" i="0" u="none" strike="noStrike" cap="none" spc="0" normalizeH="0" baseline="0" dirty="0">
              <a:ln>
                <a:noFill/>
              </a:ln>
              <a:solidFill>
                <a:schemeClr val="accent4"/>
              </a:solidFill>
              <a:effectLst/>
              <a:uFillTx/>
              <a:latin typeface="+mn-lt"/>
              <a:ea typeface="+mn-ea"/>
              <a:cs typeface="+mn-cs"/>
              <a:sym typeface="Calibri"/>
            </a:endParaRPr>
          </a:p>
        </p:txBody>
      </p:sp>
      <p:sp>
        <p:nvSpPr>
          <p:cNvPr id="12" name="Oval 11">
            <a:extLst>
              <a:ext uri="{FF2B5EF4-FFF2-40B4-BE49-F238E27FC236}">
                <a16:creationId xmlns:a16="http://schemas.microsoft.com/office/drawing/2014/main" id="{6243BC11-6E6E-DF64-7626-657D5CC4673A}"/>
              </a:ext>
            </a:extLst>
          </p:cNvPr>
          <p:cNvSpPr/>
          <p:nvPr/>
        </p:nvSpPr>
        <p:spPr>
          <a:xfrm>
            <a:off x="738634" y="4778926"/>
            <a:ext cx="360000" cy="360000"/>
          </a:xfrm>
          <a:prstGeom prst="ellipse">
            <a:avLst/>
          </a:prstGeom>
          <a:solidFill>
            <a:schemeClr val="bg1"/>
          </a:solidFill>
          <a:ln w="127000" cap="flat">
            <a:solidFill>
              <a:schemeClr val="accent6"/>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45719" rIns="0"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lang="en-CA" sz="1400" b="1" dirty="0">
                <a:solidFill>
                  <a:schemeClr val="accent6"/>
                </a:solidFill>
                <a:sym typeface="Calibri"/>
              </a:rPr>
              <a:t>4</a:t>
            </a:r>
            <a:endParaRPr kumimoji="0" lang="en-CA" sz="1400" b="1" i="0" u="none" strike="noStrike" cap="none" spc="0" normalizeH="0" baseline="0" dirty="0">
              <a:ln>
                <a:noFill/>
              </a:ln>
              <a:solidFill>
                <a:schemeClr val="accent6"/>
              </a:solidFill>
              <a:effectLst/>
              <a:uFillTx/>
              <a:latin typeface="+mn-lt"/>
              <a:ea typeface="+mn-ea"/>
              <a:cs typeface="+mn-cs"/>
              <a:sym typeface="Calibri"/>
            </a:endParaRPr>
          </a:p>
        </p:txBody>
      </p:sp>
      <p:sp>
        <p:nvSpPr>
          <p:cNvPr id="13" name="Rectangle 12">
            <a:extLst>
              <a:ext uri="{FF2B5EF4-FFF2-40B4-BE49-F238E27FC236}">
                <a16:creationId xmlns:a16="http://schemas.microsoft.com/office/drawing/2014/main" id="{40BA1079-1E06-5715-B2AC-161324F16CD3}"/>
              </a:ext>
            </a:extLst>
          </p:cNvPr>
          <p:cNvSpPr/>
          <p:nvPr/>
        </p:nvSpPr>
        <p:spPr>
          <a:xfrm>
            <a:off x="1387729" y="1440717"/>
            <a:ext cx="9539714" cy="1149390"/>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nchorCtr="0">
            <a:noAutofit/>
          </a:bodyPr>
          <a:lstStyle/>
          <a:p>
            <a:pPr marL="0" marR="0" lvl="0" indent="0" algn="l" defTabSz="914400" rtl="0" eaLnBrk="1" fontAlgn="auto" latinLnBrk="0" hangingPunct="1">
              <a:lnSpc>
                <a:spcPct val="120000"/>
              </a:lnSpc>
              <a:spcBef>
                <a:spcPts val="600"/>
              </a:spcBef>
              <a:spcAft>
                <a:spcPts val="300"/>
              </a:spcAft>
              <a:buClr>
                <a:srgbClr val="000000"/>
              </a:buClr>
              <a:buSzPct val="100000"/>
              <a:buFont typeface="System Font Regular"/>
              <a:buNone/>
              <a:tabLst/>
              <a:defRPr/>
            </a:pPr>
            <a:r>
              <a:rPr kumimoji="0" lang="en-US" sz="1800" b="1" i="0" u="none" strike="noStrike" kern="0" cap="none" spc="0" normalizeH="0" baseline="0" noProof="0" dirty="0">
                <a:ln>
                  <a:noFill/>
                </a:ln>
                <a:solidFill>
                  <a:srgbClr val="1B4171"/>
                </a:solidFill>
                <a:effectLst/>
                <a:uLnTx/>
                <a:uFillTx/>
                <a:latin typeface="Inter" panose="02000503000000020004" pitchFamily="2" charset="0"/>
                <a:ea typeface="Inter" panose="02000503000000020004" pitchFamily="2" charset="0"/>
                <a:cs typeface="Arial"/>
                <a:sym typeface="Arial"/>
              </a:rPr>
              <a:t>SB 261 Readiness</a:t>
            </a:r>
            <a:r>
              <a:rPr kumimoji="0" lang="en-US" sz="1800" b="1" i="0" u="none" strike="noStrike" kern="0" cap="none" spc="0" normalizeH="0" noProof="0" dirty="0">
                <a:ln>
                  <a:noFill/>
                </a:ln>
                <a:solidFill>
                  <a:srgbClr val="1B4171"/>
                </a:solidFill>
                <a:effectLst/>
                <a:uLnTx/>
                <a:uFillTx/>
                <a:latin typeface="Inter" panose="02000503000000020004" pitchFamily="2" charset="0"/>
                <a:ea typeface="Inter" panose="02000503000000020004" pitchFamily="2" charset="0"/>
                <a:cs typeface="Arial"/>
                <a:sym typeface="Arial"/>
              </a:rPr>
              <a:t> Assessment</a:t>
            </a:r>
            <a:endParaRPr kumimoji="0" lang="en-US" sz="1800" b="0" i="0" u="none" strike="noStrike" kern="0" cap="none" spc="0" normalizeH="0" baseline="0" noProof="0" dirty="0">
              <a:ln>
                <a:noFill/>
              </a:ln>
              <a:solidFill>
                <a:srgbClr val="000000"/>
              </a:solidFill>
              <a:effectLst/>
              <a:uLnTx/>
              <a:uFillTx/>
              <a:latin typeface="Inter" panose="02000503000000020004" pitchFamily="2" charset="0"/>
              <a:ea typeface="Inter" panose="02000503000000020004" pitchFamily="2" charset="0"/>
              <a:cs typeface="Arial"/>
              <a:sym typeface="Arial"/>
            </a:endParaRPr>
          </a:p>
          <a:p>
            <a:pPr marL="182880" lvl="0" indent="-182880">
              <a:lnSpc>
                <a:spcPct val="120000"/>
              </a:lnSpc>
              <a:spcAft>
                <a:spcPts val="300"/>
              </a:spcAft>
              <a:buClr>
                <a:srgbClr val="000000"/>
              </a:buClr>
              <a:buSzPct val="100000"/>
              <a:buFont typeface="System Font Regular"/>
              <a:buChar char="+"/>
              <a:defRPr/>
            </a:pPr>
            <a:r>
              <a:rPr lang="en-US" sz="1400" kern="0" dirty="0">
                <a:solidFill>
                  <a:srgbClr val="000000"/>
                </a:solidFill>
                <a:latin typeface="Inter" panose="02000503000000020004" pitchFamily="2" charset="0"/>
                <a:ea typeface="Inter" panose="02000503000000020004" pitchFamily="2" charset="0"/>
                <a:cs typeface="Arial"/>
                <a:sym typeface="Arial"/>
              </a:rPr>
              <a:t>Evaluate current disclosures and governance processes against CARB and TCFD 2017 requirements to identify key gaps and priority actions for compliance.</a:t>
            </a:r>
            <a:endParaRPr kumimoji="0" lang="en-CA" sz="1800" i="0" u="none" strike="noStrike" cap="none" spc="0" normalizeH="0" baseline="0" dirty="0">
              <a:ln>
                <a:noFill/>
              </a:ln>
              <a:solidFill>
                <a:srgbClr val="000000"/>
              </a:solidFill>
              <a:effectLst/>
              <a:uFillTx/>
              <a:sym typeface="Calibri"/>
            </a:endParaRPr>
          </a:p>
        </p:txBody>
      </p:sp>
      <p:sp>
        <p:nvSpPr>
          <p:cNvPr id="14" name="Rectangle 13">
            <a:extLst>
              <a:ext uri="{FF2B5EF4-FFF2-40B4-BE49-F238E27FC236}">
                <a16:creationId xmlns:a16="http://schemas.microsoft.com/office/drawing/2014/main" id="{15806604-3A40-A38F-70CF-BF18BC0EE021}"/>
              </a:ext>
            </a:extLst>
          </p:cNvPr>
          <p:cNvSpPr/>
          <p:nvPr/>
        </p:nvSpPr>
        <p:spPr>
          <a:xfrm>
            <a:off x="1387729" y="2408478"/>
            <a:ext cx="9539714" cy="1149390"/>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nchorCtr="0">
            <a:noAutofit/>
          </a:bodyPr>
          <a:lstStyle/>
          <a:p>
            <a:pPr lvl="0">
              <a:lnSpc>
                <a:spcPct val="120000"/>
              </a:lnSpc>
              <a:spcBef>
                <a:spcPts val="600"/>
              </a:spcBef>
              <a:spcAft>
                <a:spcPts val="300"/>
              </a:spcAft>
              <a:buClr>
                <a:srgbClr val="000000"/>
              </a:buClr>
              <a:buSzPct val="100000"/>
              <a:defRPr/>
            </a:pPr>
            <a:r>
              <a:rPr lang="en-US" b="1" kern="0" dirty="0">
                <a:solidFill>
                  <a:schemeClr val="accent5"/>
                </a:solidFill>
                <a:latin typeface="Inter" panose="02000503000000020004" pitchFamily="2" charset="0"/>
                <a:ea typeface="Inter" panose="02000503000000020004" pitchFamily="2" charset="0"/>
                <a:cs typeface="Arial"/>
                <a:sym typeface="Arial"/>
              </a:rPr>
              <a:t>Climate Risks &amp; Opportunities Assessment</a:t>
            </a:r>
            <a:endParaRPr kumimoji="0" lang="en-US" sz="1800" b="0" i="0" u="none" strike="noStrike" kern="0" cap="none" spc="0" normalizeH="0" baseline="0" noProof="0" dirty="0">
              <a:ln>
                <a:noFill/>
              </a:ln>
              <a:solidFill>
                <a:schemeClr val="accent5"/>
              </a:solidFill>
              <a:effectLst/>
              <a:uLnTx/>
              <a:uFillTx/>
              <a:latin typeface="Inter" panose="02000503000000020004" pitchFamily="2" charset="0"/>
              <a:ea typeface="Inter" panose="02000503000000020004" pitchFamily="2" charset="0"/>
              <a:cs typeface="Arial"/>
              <a:sym typeface="Arial"/>
            </a:endParaRPr>
          </a:p>
          <a:p>
            <a:pPr marL="182880" lvl="0" indent="-182880">
              <a:lnSpc>
                <a:spcPct val="120000"/>
              </a:lnSpc>
              <a:spcAft>
                <a:spcPts val="300"/>
              </a:spcAft>
              <a:buClr>
                <a:srgbClr val="000000"/>
              </a:buClr>
              <a:buSzPct val="100000"/>
              <a:buFont typeface="System Font Regular"/>
              <a:buChar char="+"/>
              <a:defRPr/>
            </a:pPr>
            <a:r>
              <a:rPr lang="en-US" sz="1400" kern="0" dirty="0">
                <a:solidFill>
                  <a:srgbClr val="000000"/>
                </a:solidFill>
                <a:latin typeface="Inter" panose="02000503000000020004" pitchFamily="2" charset="0"/>
                <a:ea typeface="Inter" panose="02000503000000020004" pitchFamily="2" charset="0"/>
                <a:cs typeface="Arial"/>
                <a:sym typeface="Arial"/>
              </a:rPr>
              <a:t>Identify and prioritize material transition and physical risks using client data, peer benchmarks, and interviews — aligning results to TCFD categories.</a:t>
            </a:r>
            <a:endParaRPr kumimoji="0" lang="en-CA" sz="1800" i="0" u="none" strike="noStrike" cap="none" spc="0" normalizeH="0" baseline="0" dirty="0">
              <a:ln>
                <a:noFill/>
              </a:ln>
              <a:solidFill>
                <a:srgbClr val="000000"/>
              </a:solidFill>
              <a:effectLst/>
              <a:uFillTx/>
              <a:sym typeface="Calibri"/>
            </a:endParaRPr>
          </a:p>
        </p:txBody>
      </p:sp>
      <p:sp>
        <p:nvSpPr>
          <p:cNvPr id="15" name="Rectangle 14">
            <a:extLst>
              <a:ext uri="{FF2B5EF4-FFF2-40B4-BE49-F238E27FC236}">
                <a16:creationId xmlns:a16="http://schemas.microsoft.com/office/drawing/2014/main" id="{B70948A1-B060-4B4B-C781-F4D49943A5F6}"/>
              </a:ext>
            </a:extLst>
          </p:cNvPr>
          <p:cNvSpPr/>
          <p:nvPr/>
        </p:nvSpPr>
        <p:spPr>
          <a:xfrm>
            <a:off x="1387729" y="3385128"/>
            <a:ext cx="9539714" cy="1149390"/>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nchorCtr="0">
            <a:noAutofit/>
          </a:bodyPr>
          <a:lstStyle/>
          <a:p>
            <a:pPr lvl="0">
              <a:lnSpc>
                <a:spcPct val="120000"/>
              </a:lnSpc>
              <a:spcBef>
                <a:spcPts val="600"/>
              </a:spcBef>
              <a:spcAft>
                <a:spcPts val="300"/>
              </a:spcAft>
              <a:buClr>
                <a:srgbClr val="000000"/>
              </a:buClr>
              <a:buSzPct val="100000"/>
              <a:defRPr/>
            </a:pPr>
            <a:r>
              <a:rPr lang="en-US" b="1" kern="0" dirty="0">
                <a:solidFill>
                  <a:schemeClr val="accent4"/>
                </a:solidFill>
                <a:latin typeface="Inter" panose="02000503000000020004" pitchFamily="2" charset="0"/>
                <a:ea typeface="Inter" panose="02000503000000020004" pitchFamily="2" charset="0"/>
                <a:cs typeface="Arial"/>
                <a:sym typeface="Arial"/>
              </a:rPr>
              <a:t>Scenario Analysis</a:t>
            </a:r>
            <a:endParaRPr kumimoji="0" lang="en-US" sz="1800" b="0" i="0" u="none" strike="noStrike" kern="0" cap="none" spc="0" normalizeH="0" baseline="0" noProof="0" dirty="0">
              <a:ln>
                <a:noFill/>
              </a:ln>
              <a:solidFill>
                <a:schemeClr val="accent4"/>
              </a:solidFill>
              <a:effectLst/>
              <a:uLnTx/>
              <a:uFillTx/>
              <a:latin typeface="Inter" panose="02000503000000020004" pitchFamily="2" charset="0"/>
              <a:ea typeface="Inter" panose="02000503000000020004" pitchFamily="2" charset="0"/>
              <a:cs typeface="Arial"/>
              <a:sym typeface="Arial"/>
            </a:endParaRPr>
          </a:p>
          <a:p>
            <a:pPr marL="182880" lvl="0" indent="-182880">
              <a:lnSpc>
                <a:spcPct val="120000"/>
              </a:lnSpc>
              <a:spcAft>
                <a:spcPts val="300"/>
              </a:spcAft>
              <a:buClr>
                <a:srgbClr val="000000"/>
              </a:buClr>
              <a:buSzPct val="100000"/>
              <a:buFont typeface="System Font Regular"/>
              <a:buChar char="+"/>
              <a:defRPr/>
            </a:pPr>
            <a:r>
              <a:rPr lang="en-US" sz="1400" kern="0" dirty="0">
                <a:solidFill>
                  <a:srgbClr val="000000"/>
                </a:solidFill>
                <a:latin typeface="Inter" panose="02000503000000020004" pitchFamily="2" charset="0"/>
                <a:ea typeface="Inter" panose="02000503000000020004" pitchFamily="2" charset="0"/>
                <a:cs typeface="Arial"/>
                <a:sym typeface="Arial"/>
              </a:rPr>
              <a:t>Assess business resilience under multiple climate scenarios, evaluating potential financial and operational impacts in both low- and high-emission futures.</a:t>
            </a:r>
            <a:endParaRPr kumimoji="0" lang="en-CA" sz="1800" i="0" u="none" strike="noStrike" cap="none" spc="0" normalizeH="0" baseline="0" dirty="0">
              <a:ln>
                <a:noFill/>
              </a:ln>
              <a:solidFill>
                <a:srgbClr val="000000"/>
              </a:solidFill>
              <a:effectLst/>
              <a:uFillTx/>
              <a:sym typeface="Calibri"/>
            </a:endParaRPr>
          </a:p>
        </p:txBody>
      </p:sp>
      <p:sp>
        <p:nvSpPr>
          <p:cNvPr id="17" name="Rectangle 16">
            <a:extLst>
              <a:ext uri="{FF2B5EF4-FFF2-40B4-BE49-F238E27FC236}">
                <a16:creationId xmlns:a16="http://schemas.microsoft.com/office/drawing/2014/main" id="{A32059B5-9F17-F0BD-FC7A-05B2C6238C50}"/>
              </a:ext>
            </a:extLst>
          </p:cNvPr>
          <p:cNvSpPr/>
          <p:nvPr/>
        </p:nvSpPr>
        <p:spPr>
          <a:xfrm>
            <a:off x="1387729" y="4564248"/>
            <a:ext cx="9539714" cy="1149390"/>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nchorCtr="0">
            <a:noAutofit/>
          </a:bodyPr>
          <a:lstStyle/>
          <a:p>
            <a:pPr lvl="0">
              <a:lnSpc>
                <a:spcPct val="120000"/>
              </a:lnSpc>
              <a:spcBef>
                <a:spcPts val="600"/>
              </a:spcBef>
              <a:spcAft>
                <a:spcPts val="300"/>
              </a:spcAft>
              <a:buClr>
                <a:srgbClr val="000000"/>
              </a:buClr>
              <a:buSzPct val="100000"/>
              <a:defRPr/>
            </a:pPr>
            <a:r>
              <a:rPr lang="en-US" b="1" kern="0" dirty="0">
                <a:solidFill>
                  <a:schemeClr val="accent6"/>
                </a:solidFill>
                <a:latin typeface="Inter" panose="02000503000000020004" pitchFamily="2" charset="0"/>
                <a:ea typeface="Inter" panose="02000503000000020004" pitchFamily="2" charset="0"/>
                <a:cs typeface="Arial"/>
                <a:sym typeface="Arial"/>
              </a:rPr>
              <a:t>Climate Risk Report (Y2025)</a:t>
            </a:r>
            <a:endParaRPr kumimoji="0" lang="en-US" sz="1800" b="0" i="0" u="none" strike="noStrike" kern="0" cap="none" spc="0" normalizeH="0" baseline="0" noProof="0" dirty="0">
              <a:ln>
                <a:noFill/>
              </a:ln>
              <a:solidFill>
                <a:schemeClr val="accent6"/>
              </a:solidFill>
              <a:effectLst/>
              <a:uLnTx/>
              <a:uFillTx/>
              <a:latin typeface="Inter" panose="02000503000000020004" pitchFamily="2" charset="0"/>
              <a:ea typeface="Inter" panose="02000503000000020004" pitchFamily="2" charset="0"/>
              <a:cs typeface="Arial"/>
              <a:sym typeface="Arial"/>
            </a:endParaRPr>
          </a:p>
          <a:p>
            <a:pPr marL="182880" lvl="0" indent="-182880">
              <a:lnSpc>
                <a:spcPct val="120000"/>
              </a:lnSpc>
              <a:spcAft>
                <a:spcPts val="300"/>
              </a:spcAft>
              <a:buClr>
                <a:srgbClr val="000000"/>
              </a:buClr>
              <a:buSzPct val="100000"/>
              <a:buFont typeface="System Font Regular"/>
              <a:buChar char="+"/>
              <a:defRPr/>
            </a:pPr>
            <a:r>
              <a:rPr lang="en-US" sz="1400" kern="0" dirty="0">
                <a:solidFill>
                  <a:srgbClr val="000000"/>
                </a:solidFill>
                <a:latin typeface="Inter" panose="02000503000000020004" pitchFamily="2" charset="0"/>
                <a:ea typeface="Inter" panose="02000503000000020004" pitchFamily="2" charset="0"/>
                <a:cs typeface="Arial"/>
                <a:sym typeface="Arial"/>
              </a:rPr>
              <a:t>Develop a TCFD-aligned report that integrates assessment findings and scenario insights, ready for disclosure under California SB 261.</a:t>
            </a:r>
            <a:endParaRPr kumimoji="0" lang="en-CA" sz="1800" i="0" u="none" strike="noStrike" cap="none" spc="0" normalizeH="0" baseline="0" dirty="0">
              <a:ln>
                <a:noFill/>
              </a:ln>
              <a:solidFill>
                <a:srgbClr val="000000"/>
              </a:solidFill>
              <a:effectLst/>
              <a:uFillTx/>
              <a:sym typeface="Calibri"/>
            </a:endParaRPr>
          </a:p>
        </p:txBody>
      </p:sp>
      <p:sp>
        <p:nvSpPr>
          <p:cNvPr id="18" name="Isosceles Triangle 17">
            <a:extLst>
              <a:ext uri="{FF2B5EF4-FFF2-40B4-BE49-F238E27FC236}">
                <a16:creationId xmlns:a16="http://schemas.microsoft.com/office/drawing/2014/main" id="{202B2F5A-C436-A6E8-0A53-FD3604012DF2}"/>
              </a:ext>
            </a:extLst>
          </p:cNvPr>
          <p:cNvSpPr/>
          <p:nvPr/>
        </p:nvSpPr>
        <p:spPr>
          <a:xfrm rot="10800000">
            <a:off x="804519" y="5475422"/>
            <a:ext cx="228230" cy="196750"/>
          </a:xfrm>
          <a:prstGeom prst="triangle">
            <a:avLst/>
          </a:prstGeom>
          <a:solidFill>
            <a:schemeClr val="accent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sp>
        <p:nvSpPr>
          <p:cNvPr id="19" name="Isosceles Triangle 18">
            <a:extLst>
              <a:ext uri="{FF2B5EF4-FFF2-40B4-BE49-F238E27FC236}">
                <a16:creationId xmlns:a16="http://schemas.microsoft.com/office/drawing/2014/main" id="{4FBA34A4-62C3-1521-2017-6C4525477369}"/>
              </a:ext>
            </a:extLst>
          </p:cNvPr>
          <p:cNvSpPr/>
          <p:nvPr/>
        </p:nvSpPr>
        <p:spPr>
          <a:xfrm rot="10800000">
            <a:off x="804519" y="4314373"/>
            <a:ext cx="228230" cy="196750"/>
          </a:xfrm>
          <a:prstGeom prst="triangle">
            <a:avLst/>
          </a:prstGeom>
          <a:solidFill>
            <a:schemeClr val="accent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CA" sz="1800" b="0" i="0" u="none" strike="noStrike" cap="none" spc="0" normalizeH="0" baseline="0" dirty="0">
              <a:ln>
                <a:noFill/>
              </a:ln>
              <a:solidFill>
                <a:srgbClr val="000000"/>
              </a:solidFill>
              <a:effectLst/>
              <a:uFillTx/>
              <a:latin typeface="+mn-lt"/>
              <a:ea typeface="+mn-ea"/>
              <a:cs typeface="+mn-cs"/>
              <a:sym typeface="Calibri"/>
            </a:endParaRPr>
          </a:p>
        </p:txBody>
      </p:sp>
      <p:sp>
        <p:nvSpPr>
          <p:cNvPr id="23" name="Oval 22">
            <a:extLst>
              <a:ext uri="{FF2B5EF4-FFF2-40B4-BE49-F238E27FC236}">
                <a16:creationId xmlns:a16="http://schemas.microsoft.com/office/drawing/2014/main" id="{01554629-2694-C91D-CFE1-ECBEAA93A651}"/>
              </a:ext>
            </a:extLst>
          </p:cNvPr>
          <p:cNvSpPr/>
          <p:nvPr/>
        </p:nvSpPr>
        <p:spPr>
          <a:xfrm>
            <a:off x="738634" y="5963946"/>
            <a:ext cx="360000" cy="360000"/>
          </a:xfrm>
          <a:prstGeom prst="ellipse">
            <a:avLst/>
          </a:prstGeom>
          <a:solidFill>
            <a:schemeClr val="bg1"/>
          </a:solidFill>
          <a:ln w="127000"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45719" rIns="0"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lang="en-CA" sz="1400" b="1" dirty="0">
                <a:solidFill>
                  <a:schemeClr val="accent3"/>
                </a:solidFill>
                <a:sym typeface="Calibri"/>
              </a:rPr>
              <a:t>5</a:t>
            </a:r>
            <a:endParaRPr kumimoji="0" lang="en-CA" sz="1400" b="1" i="0" u="none" strike="noStrike" cap="none" spc="0" normalizeH="0" baseline="0" dirty="0">
              <a:ln>
                <a:noFill/>
              </a:ln>
              <a:solidFill>
                <a:schemeClr val="accent3"/>
              </a:solidFill>
              <a:effectLst/>
              <a:uFillTx/>
              <a:latin typeface="+mn-lt"/>
              <a:ea typeface="+mn-ea"/>
              <a:cs typeface="+mn-cs"/>
              <a:sym typeface="Calibri"/>
            </a:endParaRPr>
          </a:p>
        </p:txBody>
      </p:sp>
      <p:sp>
        <p:nvSpPr>
          <p:cNvPr id="24" name="Rectangle 23">
            <a:extLst>
              <a:ext uri="{FF2B5EF4-FFF2-40B4-BE49-F238E27FC236}">
                <a16:creationId xmlns:a16="http://schemas.microsoft.com/office/drawing/2014/main" id="{3962F299-EF15-DF58-D6DB-3D81EC729D49}"/>
              </a:ext>
            </a:extLst>
          </p:cNvPr>
          <p:cNvSpPr/>
          <p:nvPr/>
        </p:nvSpPr>
        <p:spPr>
          <a:xfrm>
            <a:off x="1387729" y="5745196"/>
            <a:ext cx="9539714" cy="1149390"/>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nchorCtr="0">
            <a:noAutofit/>
          </a:bodyPr>
          <a:lstStyle/>
          <a:p>
            <a:pPr marL="0" marR="0" lvl="0" indent="0" algn="l" defTabSz="914400" rtl="0" eaLnBrk="1" fontAlgn="auto" latinLnBrk="0" hangingPunct="1">
              <a:lnSpc>
                <a:spcPct val="120000"/>
              </a:lnSpc>
              <a:spcBef>
                <a:spcPts val="600"/>
              </a:spcBef>
              <a:spcAft>
                <a:spcPts val="300"/>
              </a:spcAft>
              <a:buClr>
                <a:srgbClr val="000000"/>
              </a:buClr>
              <a:buSzPct val="100000"/>
              <a:buFont typeface="System Font Regular"/>
              <a:buNone/>
              <a:tabLst/>
              <a:defRPr/>
            </a:pPr>
            <a:r>
              <a:rPr kumimoji="0" lang="en-US" sz="1800" b="1" i="0" u="none" strike="noStrike" kern="0" cap="none" spc="0" normalizeH="0" baseline="0" noProof="0" dirty="0">
                <a:ln>
                  <a:noFill/>
                </a:ln>
                <a:solidFill>
                  <a:schemeClr val="accent3"/>
                </a:solidFill>
                <a:effectLst/>
                <a:uLnTx/>
                <a:uFillTx/>
                <a:latin typeface="Inter" panose="02000503000000020004" pitchFamily="2" charset="0"/>
                <a:ea typeface="Inter" panose="02000503000000020004" pitchFamily="2" charset="0"/>
                <a:cs typeface="Arial"/>
                <a:sym typeface="Arial"/>
              </a:rPr>
              <a:t>SB 2</a:t>
            </a:r>
            <a:r>
              <a:rPr lang="en-US" b="1" kern="0" dirty="0">
                <a:solidFill>
                  <a:schemeClr val="accent3"/>
                </a:solidFill>
                <a:latin typeface="Inter" panose="02000503000000020004" pitchFamily="2" charset="0"/>
                <a:ea typeface="Inter" panose="02000503000000020004" pitchFamily="2" charset="0"/>
                <a:cs typeface="Arial"/>
                <a:sym typeface="Arial"/>
              </a:rPr>
              <a:t>5</a:t>
            </a:r>
            <a:r>
              <a:rPr kumimoji="0" lang="en-US" sz="1800" b="1" i="0" u="none" strike="noStrike" kern="0" cap="none" spc="0" normalizeH="0" baseline="0" noProof="0" dirty="0">
                <a:ln>
                  <a:noFill/>
                </a:ln>
                <a:solidFill>
                  <a:schemeClr val="accent3"/>
                </a:solidFill>
                <a:effectLst/>
                <a:uLnTx/>
                <a:uFillTx/>
                <a:latin typeface="Inter" panose="02000503000000020004" pitchFamily="2" charset="0"/>
                <a:ea typeface="Inter" panose="02000503000000020004" pitchFamily="2" charset="0"/>
                <a:cs typeface="Arial"/>
                <a:sym typeface="Arial"/>
              </a:rPr>
              <a:t>3</a:t>
            </a:r>
            <a:r>
              <a:rPr lang="en-US" b="1" kern="0" dirty="0">
                <a:solidFill>
                  <a:schemeClr val="accent3"/>
                </a:solidFill>
                <a:latin typeface="Inter" panose="02000503000000020004" pitchFamily="2" charset="0"/>
                <a:ea typeface="Inter" panose="02000503000000020004" pitchFamily="2" charset="0"/>
                <a:cs typeface="Arial"/>
                <a:sym typeface="Arial"/>
              </a:rPr>
              <a:t> Readiness and Compliance (Y2026)</a:t>
            </a:r>
            <a:endParaRPr kumimoji="0" lang="en-US" sz="1800" b="0" i="0" u="none" strike="noStrike" kern="0" cap="none" spc="0" normalizeH="0" baseline="0" noProof="0" dirty="0">
              <a:ln>
                <a:noFill/>
              </a:ln>
              <a:solidFill>
                <a:schemeClr val="accent3"/>
              </a:solidFill>
              <a:effectLst/>
              <a:uLnTx/>
              <a:uFillTx/>
              <a:latin typeface="Inter" panose="02000503000000020004" pitchFamily="2" charset="0"/>
              <a:ea typeface="Inter" panose="02000503000000020004" pitchFamily="2" charset="0"/>
              <a:cs typeface="Arial"/>
              <a:sym typeface="Arial"/>
            </a:endParaRPr>
          </a:p>
          <a:p>
            <a:pPr marL="182880" lvl="0" indent="-182880">
              <a:lnSpc>
                <a:spcPct val="120000"/>
              </a:lnSpc>
              <a:spcAft>
                <a:spcPts val="300"/>
              </a:spcAft>
              <a:buClr>
                <a:srgbClr val="000000"/>
              </a:buClr>
              <a:buSzPct val="100000"/>
              <a:buFont typeface="System Font Regular"/>
              <a:buChar char="+"/>
              <a:defRPr/>
            </a:pPr>
            <a:r>
              <a:rPr lang="en-US" sz="1400" kern="0" dirty="0">
                <a:solidFill>
                  <a:srgbClr val="000000"/>
                </a:solidFill>
                <a:latin typeface="Inter" panose="02000503000000020004" pitchFamily="2" charset="0"/>
                <a:ea typeface="Inter" panose="02000503000000020004" pitchFamily="2" charset="0"/>
                <a:cs typeface="Arial"/>
                <a:sym typeface="Arial"/>
              </a:rPr>
              <a:t>Conduct GHG foot printing exercise with verification</a:t>
            </a:r>
            <a:endParaRPr kumimoji="0" lang="en-CA" sz="1800" i="0" u="none" strike="noStrike" cap="none" spc="0" normalizeH="0" baseline="0" dirty="0">
              <a:ln>
                <a:noFill/>
              </a:ln>
              <a:solidFill>
                <a:srgbClr val="000000"/>
              </a:solidFill>
              <a:effectLst/>
              <a:uFillTx/>
              <a:sym typeface="Calibri"/>
            </a:endParaRPr>
          </a:p>
        </p:txBody>
      </p:sp>
      <p:sp>
        <p:nvSpPr>
          <p:cNvPr id="25" name="Rectangle 24">
            <a:extLst>
              <a:ext uri="{FF2B5EF4-FFF2-40B4-BE49-F238E27FC236}">
                <a16:creationId xmlns:a16="http://schemas.microsoft.com/office/drawing/2014/main" id="{85A58CFD-F629-318F-5D9D-39B12B439AF3}"/>
              </a:ext>
            </a:extLst>
          </p:cNvPr>
          <p:cNvSpPr/>
          <p:nvPr/>
        </p:nvSpPr>
        <p:spPr>
          <a:xfrm>
            <a:off x="265077" y="5346047"/>
            <a:ext cx="1008001" cy="574695"/>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nchorCtr="0">
            <a:noAutofit/>
          </a:bodyPr>
          <a:lstStyle/>
          <a:p>
            <a:pPr marL="0" marR="0" lvl="0" indent="0" algn="l" defTabSz="914400" rtl="0" eaLnBrk="1" fontAlgn="auto" latinLnBrk="0" hangingPunct="1">
              <a:lnSpc>
                <a:spcPct val="120000"/>
              </a:lnSpc>
              <a:spcBef>
                <a:spcPts val="600"/>
              </a:spcBef>
              <a:spcAft>
                <a:spcPts val="300"/>
              </a:spcAft>
              <a:buClr>
                <a:srgbClr val="000000"/>
              </a:buClr>
              <a:buSzPct val="100000"/>
              <a:buFont typeface="System Font Regular"/>
              <a:buNone/>
              <a:tabLst/>
              <a:defRPr/>
            </a:pPr>
            <a:r>
              <a:rPr kumimoji="0" lang="en-US" sz="1050" b="1" i="0" u="none" strike="noStrike" kern="0" cap="none" spc="0" normalizeH="0" baseline="0" noProof="0" dirty="0">
                <a:ln>
                  <a:noFill/>
                </a:ln>
                <a:solidFill>
                  <a:schemeClr val="accent3"/>
                </a:solidFill>
                <a:effectLst/>
                <a:uLnTx/>
                <a:uFillTx/>
                <a:latin typeface="Inter" panose="02000503000000020004" pitchFamily="2" charset="0"/>
                <a:ea typeface="Inter" panose="02000503000000020004" pitchFamily="2" charset="0"/>
                <a:cs typeface="Arial"/>
                <a:sym typeface="Arial"/>
              </a:rPr>
              <a:t>Future</a:t>
            </a:r>
            <a:endParaRPr kumimoji="0" lang="en-CA" sz="1050" i="0" u="none" strike="noStrike" cap="none" spc="0" normalizeH="0" baseline="0" dirty="0">
              <a:ln>
                <a:noFill/>
              </a:ln>
              <a:solidFill>
                <a:srgbClr val="000000"/>
              </a:solidFill>
              <a:effectLst/>
              <a:uFillTx/>
              <a:sym typeface="Calibri"/>
            </a:endParaRPr>
          </a:p>
        </p:txBody>
      </p:sp>
    </p:spTree>
    <p:extLst>
      <p:ext uri="{BB962C8B-B14F-4D97-AF65-F5344CB8AC3E}">
        <p14:creationId xmlns:p14="http://schemas.microsoft.com/office/powerpoint/2010/main" val="4210301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D0116-DFD4-A396-E3A3-380216E243F8}"/>
            </a:ext>
          </a:extLst>
        </p:cNvPr>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A2BC4371-B49A-5144-A4AE-3DEA1D1C5FF9}"/>
              </a:ext>
            </a:extLst>
          </p:cNvPr>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a:stretch/>
        </p:blipFill>
        <p:spPr>
          <a:xfrm>
            <a:off x="1" y="-7497"/>
            <a:ext cx="11961045" cy="6865497"/>
          </a:xfrm>
        </p:spPr>
      </p:pic>
      <p:sp>
        <p:nvSpPr>
          <p:cNvPr id="7" name="Title 6">
            <a:extLst>
              <a:ext uri="{FF2B5EF4-FFF2-40B4-BE49-F238E27FC236}">
                <a16:creationId xmlns:a16="http://schemas.microsoft.com/office/drawing/2014/main" id="{DFEBA63F-B496-51ED-B9F3-D80A2FFE17A3}"/>
              </a:ext>
            </a:extLst>
          </p:cNvPr>
          <p:cNvSpPr>
            <a:spLocks noGrp="1"/>
          </p:cNvSpPr>
          <p:nvPr>
            <p:ph type="ctrTitle"/>
          </p:nvPr>
        </p:nvSpPr>
        <p:spPr>
          <a:xfrm>
            <a:off x="-2" y="1929384"/>
            <a:ext cx="8312794" cy="2999232"/>
          </a:xfrm>
        </p:spPr>
        <p:txBody>
          <a:bodyPr vert="horz"/>
          <a:lstStyle/>
          <a:p>
            <a:r>
              <a:rPr lang="en-US" dirty="0"/>
              <a:t>Frequently Asked Questions</a:t>
            </a:r>
          </a:p>
        </p:txBody>
      </p:sp>
      <p:sp>
        <p:nvSpPr>
          <p:cNvPr id="3" name="Slide Number Placeholder 2">
            <a:extLst>
              <a:ext uri="{FF2B5EF4-FFF2-40B4-BE49-F238E27FC236}">
                <a16:creationId xmlns:a16="http://schemas.microsoft.com/office/drawing/2014/main" id="{59553034-BDEA-88E6-BA74-5D3350FD730D}"/>
              </a:ext>
            </a:extLst>
          </p:cNvPr>
          <p:cNvSpPr>
            <a:spLocks noGrp="1"/>
          </p:cNvSpPr>
          <p:nvPr>
            <p:ph type="sldNum" sz="quarter" idx="16"/>
          </p:nvPr>
        </p:nvSpPr>
        <p:spPr>
          <a:xfrm>
            <a:off x="11774658" y="6537960"/>
            <a:ext cx="339207" cy="237744"/>
          </a:xfrm>
        </p:spPr>
        <p:txBody>
          <a:bodyPr/>
          <a:lstStyle/>
          <a:p>
            <a:fld id="{86CB4B4D-7CA3-9044-876B-883B54F8677D}" type="slidenum">
              <a:rPr lang="en-US" smtClean="0"/>
              <a:pPr/>
              <a:t>9</a:t>
            </a:fld>
            <a:endParaRPr lang="en-US" dirty="0"/>
          </a:p>
        </p:txBody>
      </p:sp>
      <p:graphicFrame>
        <p:nvGraphicFramePr>
          <p:cNvPr id="5" name="think-cell data - do not delete" hidden="1">
            <a:extLst>
              <a:ext uri="{FF2B5EF4-FFF2-40B4-BE49-F238E27FC236}">
                <a16:creationId xmlns:a16="http://schemas.microsoft.com/office/drawing/2014/main" id="{353B48DF-C0A2-4F5F-A688-7AE4230C565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353B48DF-C0A2-4F5F-A688-7AE4230C565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4" name="Picture 6">
            <a:extLst>
              <a:ext uri="{FF2B5EF4-FFF2-40B4-BE49-F238E27FC236}">
                <a16:creationId xmlns:a16="http://schemas.microsoft.com/office/drawing/2014/main" id="{2FDD6622-94B7-1A8D-F088-17F3B27DE430}"/>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2" r="79146"/>
          <a:stretch/>
        </p:blipFill>
        <p:spPr>
          <a:xfrm>
            <a:off x="456942" y="3044600"/>
            <a:ext cx="819634" cy="703902"/>
          </a:xfrm>
          <a:prstGeom prst="rect">
            <a:avLst/>
          </a:prstGeom>
        </p:spPr>
      </p:pic>
      <p:sp>
        <p:nvSpPr>
          <p:cNvPr id="48" name="Freeform 47">
            <a:extLst>
              <a:ext uri="{FF2B5EF4-FFF2-40B4-BE49-F238E27FC236}">
                <a16:creationId xmlns:a16="http://schemas.microsoft.com/office/drawing/2014/main" id="{D4C3F9B2-B360-08D6-1AE9-7D007348DA79}"/>
              </a:ext>
            </a:extLst>
          </p:cNvPr>
          <p:cNvSpPr/>
          <p:nvPr/>
        </p:nvSpPr>
        <p:spPr>
          <a:xfrm>
            <a:off x="10527063" y="-7498"/>
            <a:ext cx="1433982" cy="6865498"/>
          </a:xfrm>
          <a:custGeom>
            <a:avLst/>
            <a:gdLst>
              <a:gd name="connsiteX0" fmla="*/ 0 w 1433982"/>
              <a:gd name="connsiteY0" fmla="*/ 0 h 6865498"/>
              <a:gd name="connsiteX1" fmla="*/ 936492 w 1433982"/>
              <a:gd name="connsiteY1" fmla="*/ 0 h 6865498"/>
              <a:gd name="connsiteX2" fmla="*/ 996166 w 1433982"/>
              <a:gd name="connsiteY2" fmla="*/ 197595 h 6865498"/>
              <a:gd name="connsiteX3" fmla="*/ 1433982 w 1433982"/>
              <a:gd name="connsiteY3" fmla="*/ 3436498 h 6865498"/>
              <a:gd name="connsiteX4" fmla="*/ 996166 w 1433982"/>
              <a:gd name="connsiteY4" fmla="*/ 6675401 h 6865498"/>
              <a:gd name="connsiteX5" fmla="*/ 938756 w 1433982"/>
              <a:gd name="connsiteY5" fmla="*/ 6865498 h 6865498"/>
              <a:gd name="connsiteX6" fmla="*/ 2113 w 1433982"/>
              <a:gd name="connsiteY6" fmla="*/ 6865498 h 6865498"/>
              <a:gd name="connsiteX7" fmla="*/ 109296 w 1433982"/>
              <a:gd name="connsiteY7" fmla="*/ 6485097 h 6865498"/>
              <a:gd name="connsiteX8" fmla="*/ 495519 w 1433982"/>
              <a:gd name="connsiteY8" fmla="*/ 3436498 h 6865498"/>
              <a:gd name="connsiteX9" fmla="*/ 109296 w 1433982"/>
              <a:gd name="connsiteY9" fmla="*/ 387900 h 686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982" h="6865498">
                <a:moveTo>
                  <a:pt x="0" y="0"/>
                </a:moveTo>
                <a:lnTo>
                  <a:pt x="936492" y="0"/>
                </a:lnTo>
                <a:lnTo>
                  <a:pt x="996166" y="197595"/>
                </a:lnTo>
                <a:cubicBezTo>
                  <a:pt x="1279405" y="1207537"/>
                  <a:pt x="1433982" y="2298450"/>
                  <a:pt x="1433982" y="3436498"/>
                </a:cubicBezTo>
                <a:cubicBezTo>
                  <a:pt x="1433982" y="4574547"/>
                  <a:pt x="1279405" y="5665460"/>
                  <a:pt x="996166" y="6675401"/>
                </a:cubicBezTo>
                <a:lnTo>
                  <a:pt x="938756" y="6865498"/>
                </a:lnTo>
                <a:lnTo>
                  <a:pt x="2113" y="6865498"/>
                </a:lnTo>
                <a:lnTo>
                  <a:pt x="109296" y="6485097"/>
                </a:lnTo>
                <a:cubicBezTo>
                  <a:pt x="359660" y="5528912"/>
                  <a:pt x="495519" y="4503419"/>
                  <a:pt x="495519" y="3436498"/>
                </a:cubicBezTo>
                <a:cubicBezTo>
                  <a:pt x="495519" y="2369578"/>
                  <a:pt x="359660" y="1344085"/>
                  <a:pt x="109296" y="38790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4207749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limeCo">
      <a:dk1>
        <a:srgbClr val="000000"/>
      </a:dk1>
      <a:lt1>
        <a:srgbClr val="FFFFFF"/>
      </a:lt1>
      <a:dk2>
        <a:srgbClr val="1B4171"/>
      </a:dk2>
      <a:lt2>
        <a:srgbClr val="E7E6E6"/>
      </a:lt2>
      <a:accent1>
        <a:srgbClr val="1A4170"/>
      </a:accent1>
      <a:accent2>
        <a:srgbClr val="00B293"/>
      </a:accent2>
      <a:accent3>
        <a:srgbClr val="5A535B"/>
      </a:accent3>
      <a:accent4>
        <a:srgbClr val="DFB014"/>
      </a:accent4>
      <a:accent5>
        <a:srgbClr val="007671"/>
      </a:accent5>
      <a:accent6>
        <a:srgbClr val="4D82C5"/>
      </a:accent6>
      <a:hlink>
        <a:srgbClr val="68F5DD"/>
      </a:hlink>
      <a:folHlink>
        <a:srgbClr val="7AABE8"/>
      </a:folHlink>
    </a:clrScheme>
    <a:fontScheme name="ClimeCo-2023">
      <a:majorFont>
        <a:latin typeface="Raleway"/>
        <a:ea typeface="Helvetica"/>
        <a:cs typeface="Helvetica"/>
      </a:majorFont>
      <a:minorFont>
        <a:latin typeface="Inter"/>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noFill/>
          <a:prstDash val="solid"/>
          <a:miter lim="800000"/>
        </a:ln>
        <a:effectLst/>
        <a:sp3d/>
      </a:spPr>
      <a:bodyPr rot="0" spcFirstLastPara="1" vertOverflow="overflow" horzOverflow="overflow" vert="horz" wrap="square" lIns="45719" tIns="45719" rIns="45719" bIns="45719" numCol="1" spcCol="38100" rtlCol="0" anchor="ctr">
        <a:no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182880" indent="-182880" algn="l">
          <a:lnSpc>
            <a:spcPct val="120000"/>
          </a:lnSpc>
          <a:spcBef>
            <a:spcPts val="300"/>
          </a:spcBef>
          <a:buFont typeface="Inter" panose="02000503000000020004" pitchFamily="2" charset="0"/>
          <a:buChar char="+"/>
          <a:defRPr sz="1400" dirty="0" smtClean="0">
            <a:sym typeface="Open Sans Regular"/>
          </a:defRPr>
        </a:defPPr>
      </a:lstStyle>
    </a:txDef>
  </a:objectDefaults>
  <a:extraClrSchemeLst/>
  <a:extLst>
    <a:ext uri="{05A4C25C-085E-4340-85A3-A5531E510DB2}">
      <thm15:themeFamily xmlns:thm15="http://schemas.microsoft.com/office/thememl/2012/main" name="Presentation3" id="{E8A273FA-1894-45E2-AD90-5307C7EAF42E}" vid="{C5FA75A5-345F-4737-B03D-1023514FC4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30451555-c52e-41e7-951f-95941041765f">
      <Terms xmlns="http://schemas.microsoft.com/office/infopath/2007/PartnerControls"/>
    </lcf76f155ced4ddcb4097134ff3c332f>
    <TaxCatchAll xmlns="a58d044e-081a-4ad3-aa65-47d79dd05137"/>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EAE3A6278726F4FB6E03FFCD954CD3F" ma:contentTypeVersion="21" ma:contentTypeDescription="Create a new document." ma:contentTypeScope="" ma:versionID="b18bb697f9d0420b998dee491e841035">
  <xsd:schema xmlns:xsd="http://www.w3.org/2001/XMLSchema" xmlns:xs="http://www.w3.org/2001/XMLSchema" xmlns:p="http://schemas.microsoft.com/office/2006/metadata/properties" xmlns:ns1="http://schemas.microsoft.com/sharepoint/v3" xmlns:ns2="30451555-c52e-41e7-951f-95941041765f" xmlns:ns3="a58d044e-081a-4ad3-aa65-47d79dd05137" targetNamespace="http://schemas.microsoft.com/office/2006/metadata/properties" ma:root="true" ma:fieldsID="69ccd32e72e9689a599d12441e1faa4c" ns1:_="" ns2:_="" ns3:_="">
    <xsd:import namespace="http://schemas.microsoft.com/sharepoint/v3"/>
    <xsd:import namespace="30451555-c52e-41e7-951f-95941041765f"/>
    <xsd:import namespace="a58d044e-081a-4ad3-aa65-47d79dd0513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451555-c52e-41e7-951f-9594104176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85e4c06d-933f-4a7b-80f6-d9cbe1d2fab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58d044e-081a-4ad3-aa65-47d79dd05137"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bbe9cd1b-3047-4d12-b9dd-2bb3b3558e67}" ma:internalName="TaxCatchAll" ma:showField="CatchAllData" ma:web="a58d044e-081a-4ad3-aa65-47d79dd0513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CE0DA0-FE9E-4247-807E-8DF4E527D666}">
  <ds:schemaRefs>
    <ds:schemaRef ds:uri="http://schemas.microsoft.com/sharepoint/v3/contenttype/forms"/>
  </ds:schemaRefs>
</ds:datastoreItem>
</file>

<file path=customXml/itemProps2.xml><?xml version="1.0" encoding="utf-8"?>
<ds:datastoreItem xmlns:ds="http://schemas.openxmlformats.org/officeDocument/2006/customXml" ds:itemID="{8CD038A4-067C-4293-8F51-F5CCA1F95E82}">
  <ds:schemaRefs>
    <ds:schemaRef ds:uri="http://purl.org/dc/elements/1.1/"/>
    <ds:schemaRef ds:uri="http://purl.org/dc/dcmitype/"/>
    <ds:schemaRef ds:uri="http://schemas.microsoft.com/office/2006/metadata/properties"/>
    <ds:schemaRef ds:uri="http://www.w3.org/XML/1998/namespace"/>
    <ds:schemaRef ds:uri="30451555-c52e-41e7-951f-95941041765f"/>
    <ds:schemaRef ds:uri="http://schemas.microsoft.com/office/2006/documentManagement/types"/>
    <ds:schemaRef ds:uri="a58d044e-081a-4ad3-aa65-47d79dd05137"/>
    <ds:schemaRef ds:uri="http://schemas.microsoft.com/sharepoint/v3"/>
    <ds:schemaRef ds:uri="http://schemas.openxmlformats.org/package/2006/metadata/core-properties"/>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50A70BA1-F6BF-416F-A8E6-A7E7A9EFDB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0451555-c52e-41e7-951f-95941041765f"/>
    <ds:schemaRef ds:uri="a58d044e-081a-4ad3-aa65-47d79dd051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174</TotalTime>
  <Words>4400</Words>
  <Application>Microsoft Office PowerPoint</Application>
  <PresentationFormat>Widescreen</PresentationFormat>
  <Paragraphs>432</Paragraphs>
  <Slides>17</Slides>
  <Notes>15</Notes>
  <HiddenSlides>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pple-system</vt:lpstr>
      <vt:lpstr>Aptos</vt:lpstr>
      <vt:lpstr>Arial</vt:lpstr>
      <vt:lpstr>Calibri</vt:lpstr>
      <vt:lpstr>Inter</vt:lpstr>
      <vt:lpstr>Open Sans Regular</vt:lpstr>
      <vt:lpstr>Raleway</vt:lpstr>
      <vt:lpstr>System Font Regular</vt:lpstr>
      <vt:lpstr>Wingdings</vt:lpstr>
      <vt:lpstr>1_Office Theme</vt:lpstr>
      <vt:lpstr>think-cell Slide</vt:lpstr>
      <vt:lpstr>PowerPoint Presentation</vt:lpstr>
      <vt:lpstr>PowerPoint Presentation</vt:lpstr>
      <vt:lpstr>Speakers &amp; Agenda</vt:lpstr>
      <vt:lpstr>SB 261 and SB 253 Overview</vt:lpstr>
      <vt:lpstr>Deadlines Under California Climate Requirements - Senate Bills 253, 261, 219</vt:lpstr>
      <vt:lpstr>What Is Required for SB 261?</vt:lpstr>
      <vt:lpstr>What Is Required for SB 253?</vt:lpstr>
      <vt:lpstr>Our Roadmap for SB 261 Compliance</vt:lpstr>
      <vt:lpstr>Frequently Asked Questions</vt:lpstr>
      <vt:lpstr>What Are the Minimum Requirements?</vt:lpstr>
      <vt:lpstr>How Can I Coordinate Global Reporting Efforts?</vt:lpstr>
      <vt:lpstr>How Can I Be Sure My Footprint Is Ready for Verification? </vt:lpstr>
      <vt:lpstr>What’s on the Horizon?</vt:lpstr>
      <vt:lpstr>Can Reporting Insights Add Business Value?</vt:lpstr>
      <vt:lpstr>PowerPoint Presentation</vt:lpstr>
      <vt:lpstr>Disclosure Roadmap Optimization &amp; Implementation</vt:lpstr>
      <vt:lpstr>How Can I be Sure My Footprint is Ready for Verifica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mayani</dc:creator>
  <cp:lastModifiedBy>David Townsend</cp:lastModifiedBy>
  <cp:revision>5</cp:revision>
  <dcterms:created xsi:type="dcterms:W3CDTF">2024-09-12T17:35:49Z</dcterms:created>
  <dcterms:modified xsi:type="dcterms:W3CDTF">2025-11-05T20:4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AE3A6278726F4FB6E03FFCD954CD3F</vt:lpwstr>
  </property>
  <property fmtid="{D5CDD505-2E9C-101B-9397-08002B2CF9AE}" pid="3" name="MediaServiceImageTags">
    <vt:lpwstr/>
  </property>
</Properties>
</file>